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1.xml" ContentType="application/vnd.openxmlformats-officedocument.drawingml.chart+xml"/>
  <Override PartName="/ppt/tags/tag46.xml" ContentType="application/vnd.openxmlformats-officedocument.presentationml.tags+xml"/>
  <Override PartName="/ppt/notesSlides/notesSlide1.xml" ContentType="application/vnd.openxmlformats-officedocument.presentationml.notesSlide+xml"/>
  <Override PartName="/ppt/tags/tag47.xml" ContentType="application/vnd.openxmlformats-officedocument.presentationml.tags+xml"/>
  <Override PartName="/ppt/notesSlides/notesSlide2.xml" ContentType="application/vnd.openxmlformats-officedocument.presentationml.notesSlide+xml"/>
  <Override PartName="/ppt/tags/tag48.xml" ContentType="application/vnd.openxmlformats-officedocument.presentationml.tags+xml"/>
  <Override PartName="/ppt/notesSlides/notesSlide3.xml" ContentType="application/vnd.openxmlformats-officedocument.presentationml.notesSlide+xml"/>
  <Override PartName="/ppt/tags/tag49.xml" ContentType="application/vnd.openxmlformats-officedocument.presentationml.tags+xml"/>
  <Override PartName="/ppt/notesSlides/notesSlide4.xml" ContentType="application/vnd.openxmlformats-officedocument.presentationml.notesSlide+xml"/>
  <Override PartName="/ppt/tags/tag50.xml" ContentType="application/vnd.openxmlformats-officedocument.presentationml.tags+xml"/>
  <Override PartName="/ppt/notesSlides/notesSlide5.xml" ContentType="application/vnd.openxmlformats-officedocument.presentationml.notesSlide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ags/tag52.xml" ContentType="application/vnd.openxmlformats-officedocument.presentationml.tags+xml"/>
  <Override PartName="/ppt/notesSlides/notesSlide7.xml" ContentType="application/vnd.openxmlformats-officedocument.presentationml.notesSlide+xml"/>
  <Override PartName="/ppt/tags/tag5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54.xml" ContentType="application/vnd.openxmlformats-officedocument.presentationml.tags+xml"/>
  <Override PartName="/ppt/notesSlides/notesSlide12.xml" ContentType="application/vnd.openxmlformats-officedocument.presentationml.notesSlide+xml"/>
  <Override PartName="/ppt/tags/tag55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0" r:id="rId4"/>
    <p:sldMasterId id="2147483681" r:id="rId5"/>
  </p:sldMasterIdLst>
  <p:notesMasterIdLst>
    <p:notesMasterId r:id="rId34"/>
  </p:notesMasterIdLst>
  <p:sldIdLst>
    <p:sldId id="312" r:id="rId6"/>
    <p:sldId id="313" r:id="rId7"/>
    <p:sldId id="340" r:id="rId8"/>
    <p:sldId id="626" r:id="rId9"/>
    <p:sldId id="627" r:id="rId10"/>
    <p:sldId id="633" r:id="rId11"/>
    <p:sldId id="634" r:id="rId12"/>
    <p:sldId id="606" r:id="rId13"/>
    <p:sldId id="610" r:id="rId14"/>
    <p:sldId id="611" r:id="rId15"/>
    <p:sldId id="608" r:id="rId16"/>
    <p:sldId id="615" r:id="rId17"/>
    <p:sldId id="616" r:id="rId18"/>
    <p:sldId id="625" r:id="rId19"/>
    <p:sldId id="619" r:id="rId20"/>
    <p:sldId id="639" r:id="rId21"/>
    <p:sldId id="575" r:id="rId22"/>
    <p:sldId id="640" r:id="rId23"/>
    <p:sldId id="263" r:id="rId24"/>
    <p:sldId id="337" r:id="rId25"/>
    <p:sldId id="638" r:id="rId26"/>
    <p:sldId id="623" r:id="rId27"/>
    <p:sldId id="624" r:id="rId28"/>
    <p:sldId id="267" r:id="rId29"/>
    <p:sldId id="268" r:id="rId30"/>
    <p:sldId id="269" r:id="rId31"/>
    <p:sldId id="343" r:id="rId32"/>
    <p:sldId id="345" r:id="rId33"/>
  </p:sldIdLst>
  <p:sldSz cx="9144000" cy="5143500" type="screen16x9"/>
  <p:notesSz cx="6797675" cy="9928225"/>
  <p:embeddedFontLst>
    <p:embeddedFont>
      <p:font typeface="Libre Franklin" pitchFamily="2" charset="0"/>
      <p:regular r:id="rId35"/>
      <p:bold r:id="rId36"/>
      <p:italic r:id="rId37"/>
      <p:boldItalic r:id="rId38"/>
    </p:embeddedFont>
    <p:embeddedFont>
      <p:font typeface="Open Sans" panose="020B0606030504020204" pitchFamily="34" charset="0"/>
      <p:regular r:id="rId39"/>
      <p:bold r:id="rId40"/>
      <p:italic r:id="rId41"/>
      <p:boldItalic r:id="rId42"/>
    </p:embeddedFont>
    <p:embeddedFont>
      <p:font typeface="Poppins ExtraBold" panose="00000900000000000000" pitchFamily="2" charset="0"/>
      <p:bold r:id="rId43"/>
      <p:boldItalic r:id="rId44"/>
    </p:embeddedFont>
    <p:embeddedFont>
      <p:font typeface="Raleway Black" pitchFamily="2" charset="0"/>
      <p:bold r:id="rId45"/>
      <p:boldItalic r:id="rId46"/>
    </p:embeddedFont>
    <p:embeddedFont>
      <p:font typeface="Titillium Web" panose="00000500000000000000" pitchFamily="2" charset="0"/>
      <p:regular r:id="rId47"/>
      <p:bold r:id="rId48"/>
      <p:italic r:id="rId49"/>
      <p:boldItalic r:id="rId50"/>
    </p:embeddedFont>
    <p:embeddedFont>
      <p:font typeface="Titillium Web Bold" panose="00000800000000000000" charset="0"/>
      <p:bold r:id="rId51"/>
    </p:embeddedFont>
  </p:embeddedFontLst>
  <p:custDataLst>
    <p:tags r:id="rId5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tandardabschnitt" id="{FB5DC230-4815-4822-A414-D5219EB584C6}">
          <p14:sldIdLst>
            <p14:sldId id="312"/>
            <p14:sldId id="313"/>
            <p14:sldId id="340"/>
            <p14:sldId id="626"/>
            <p14:sldId id="627"/>
            <p14:sldId id="633"/>
            <p14:sldId id="634"/>
            <p14:sldId id="606"/>
            <p14:sldId id="610"/>
            <p14:sldId id="611"/>
            <p14:sldId id="608"/>
            <p14:sldId id="615"/>
            <p14:sldId id="616"/>
            <p14:sldId id="625"/>
            <p14:sldId id="619"/>
            <p14:sldId id="639"/>
            <p14:sldId id="575"/>
            <p14:sldId id="640"/>
            <p14:sldId id="263"/>
            <p14:sldId id="337"/>
            <p14:sldId id="638"/>
          </p14:sldIdLst>
        </p14:section>
        <p14:section name="Appendix" id="{9AC08F69-9D19-4951-BBFC-97BDE6BC7B47}">
          <p14:sldIdLst>
            <p14:sldId id="623"/>
            <p14:sldId id="624"/>
            <p14:sldId id="267"/>
            <p14:sldId id="268"/>
            <p14:sldId id="269"/>
            <p14:sldId id="343"/>
          </p14:sldIdLst>
        </p14:section>
        <p14:section name="Standardabschnitt" id="{2025474F-FD7B-4C09-97C2-6AC0FD1E312C}">
          <p14:sldIdLst>
            <p14:sldId id="34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2669"/>
    <a:srgbClr val="CAC0F6"/>
    <a:srgbClr val="0097A7"/>
    <a:srgbClr val="808080"/>
    <a:srgbClr val="36338C"/>
    <a:srgbClr val="B6CA00"/>
    <a:srgbClr val="8C75F3"/>
    <a:srgbClr val="8C7BFF"/>
    <a:srgbClr val="AFA3EF"/>
    <a:srgbClr val="2A19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2446" autoAdjust="0"/>
  </p:normalViewPr>
  <p:slideViewPr>
    <p:cSldViewPr snapToGrid="0">
      <p:cViewPr varScale="1">
        <p:scale>
          <a:sx n="120" d="100"/>
          <a:sy n="120" d="100"/>
        </p:scale>
        <p:origin x="1344" y="10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font" Target="fonts/font5.fntdata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42" Type="http://schemas.openxmlformats.org/officeDocument/2006/relationships/font" Target="fonts/font8.fntdata"/><Relationship Id="rId47" Type="http://schemas.openxmlformats.org/officeDocument/2006/relationships/font" Target="fonts/font13.fntdata"/><Relationship Id="rId50" Type="http://schemas.openxmlformats.org/officeDocument/2006/relationships/font" Target="fonts/font16.fntdata"/><Relationship Id="rId55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font" Target="fonts/font3.fntdata"/><Relationship Id="rId40" Type="http://schemas.openxmlformats.org/officeDocument/2006/relationships/font" Target="fonts/font6.fntdata"/><Relationship Id="rId45" Type="http://schemas.openxmlformats.org/officeDocument/2006/relationships/font" Target="fonts/font11.fntdata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font" Target="fonts/font10.fntdata"/><Relationship Id="rId52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font" Target="fonts/font1.fntdata"/><Relationship Id="rId43" Type="http://schemas.openxmlformats.org/officeDocument/2006/relationships/font" Target="fonts/font9.fntdata"/><Relationship Id="rId48" Type="http://schemas.openxmlformats.org/officeDocument/2006/relationships/font" Target="fonts/font14.fntdata"/><Relationship Id="rId56" Type="http://schemas.openxmlformats.org/officeDocument/2006/relationships/tableStyles" Target="tableStyles.xml"/><Relationship Id="rId8" Type="http://schemas.openxmlformats.org/officeDocument/2006/relationships/slide" Target="slides/slide3.xml"/><Relationship Id="rId51" Type="http://schemas.openxmlformats.org/officeDocument/2006/relationships/font" Target="fonts/font17.fntdata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font" Target="fonts/font4.fntdata"/><Relationship Id="rId46" Type="http://schemas.openxmlformats.org/officeDocument/2006/relationships/font" Target="fonts/font12.fntdata"/><Relationship Id="rId20" Type="http://schemas.openxmlformats.org/officeDocument/2006/relationships/slide" Target="slides/slide15.xml"/><Relationship Id="rId41" Type="http://schemas.openxmlformats.org/officeDocument/2006/relationships/font" Target="fonts/font7.fntdata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font" Target="fonts/font2.fntdata"/><Relationship Id="rId49" Type="http://schemas.openxmlformats.org/officeDocument/2006/relationships/font" Target="fonts/font15.fntdata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142690739662202E-2"/>
          <c:y val="2.1830394626364401E-2"/>
          <c:w val="0.96971461852067564"/>
          <c:h val="0.9563392107472712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fol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165-4C42-9666-D207A4B62C2A}"/>
              </c:ext>
            </c:extLst>
          </c:dPt>
          <c:dPt>
            <c:idx val="2"/>
            <c:invertIfNegative val="0"/>
            <c:bubble3D val="0"/>
            <c:spPr>
              <a:solidFill>
                <a:srgbClr val="B6CA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165-4C42-9666-D207A4B62C2A}"/>
              </c:ext>
            </c:extLst>
          </c:dPt>
          <c:dPt>
            <c:idx val="4"/>
            <c:invertIfNegative val="0"/>
            <c:bubble3D val="0"/>
            <c:spPr>
              <a:solidFill>
                <a:schemeClr val="fol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165-4C42-9666-D207A4B62C2A}"/>
              </c:ext>
            </c:extLst>
          </c:dPt>
          <c:dPt>
            <c:idx val="5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165-4C42-9666-D207A4B62C2A}"/>
              </c:ext>
            </c:extLst>
          </c:dPt>
          <c:dPt>
            <c:idx val="6"/>
            <c:invertIfNegative val="0"/>
            <c:bubble3D val="0"/>
            <c:spPr>
              <a:solidFill>
                <a:schemeClr val="fol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C165-4C42-9666-D207A4B62C2A}"/>
              </c:ext>
            </c:extLst>
          </c:dPt>
          <c:dPt>
            <c:idx val="7"/>
            <c:invertIfNegative val="0"/>
            <c:bubble3D val="0"/>
            <c:spPr>
              <a:solidFill>
                <a:schemeClr val="fol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C165-4C42-9666-D207A4B62C2A}"/>
              </c:ext>
            </c:extLst>
          </c:dPt>
          <c:dPt>
            <c:idx val="8"/>
            <c:invertIfNegative val="0"/>
            <c:bubble3D val="0"/>
            <c:spPr>
              <a:solidFill>
                <a:schemeClr val="fol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C165-4C42-9666-D207A4B62C2A}"/>
              </c:ext>
            </c:extLst>
          </c:dPt>
          <c:dPt>
            <c:idx val="9"/>
            <c:invertIfNegative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C165-4C42-9666-D207A4B62C2A}"/>
              </c:ext>
            </c:extLst>
          </c:dPt>
          <c:dPt>
            <c:idx val="10"/>
            <c:invertIfNegative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C165-4C42-9666-D207A4B62C2A}"/>
              </c:ext>
            </c:extLst>
          </c:dPt>
          <c:dPt>
            <c:idx val="11"/>
            <c:invertIfNegative val="0"/>
            <c:bubble3D val="0"/>
            <c:spPr>
              <a:solidFill>
                <a:srgbClr val="B6CA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C165-4C42-9666-D207A4B62C2A}"/>
              </c:ext>
            </c:extLst>
          </c:dPt>
          <c:dPt>
            <c:idx val="12"/>
            <c:invertIfNegative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C165-4C42-9666-D207A4B62C2A}"/>
              </c:ext>
            </c:extLst>
          </c:dPt>
          <c:dPt>
            <c:idx val="13"/>
            <c:invertIfNegative val="0"/>
            <c:bubble3D val="0"/>
            <c:spPr>
              <a:solidFill>
                <a:srgbClr val="B6CA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C165-4C42-9666-D207A4B62C2A}"/>
              </c:ext>
            </c:extLst>
          </c:dPt>
          <c:dPt>
            <c:idx val="18"/>
            <c:invertIfNegative val="0"/>
            <c:bubble3D val="0"/>
            <c:spPr>
              <a:solidFill>
                <a:srgbClr val="B6CA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C165-4C42-9666-D207A4B62C2A}"/>
              </c:ext>
            </c:extLst>
          </c:dPt>
          <c:dPt>
            <c:idx val="19"/>
            <c:invertIfNegative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C165-4C42-9666-D207A4B62C2A}"/>
              </c:ext>
            </c:extLst>
          </c:dPt>
          <c:val>
            <c:numRef>
              <c:f>Sheet1!$A$1:$T$1</c:f>
              <c:numCache>
                <c:formatCode>General</c:formatCode>
                <c:ptCount val="20"/>
                <c:pt idx="0">
                  <c:v>42</c:v>
                </c:pt>
                <c:pt idx="1">
                  <c:v>28.999999999999996</c:v>
                </c:pt>
                <c:pt idx="2">
                  <c:v>23</c:v>
                </c:pt>
                <c:pt idx="3">
                  <c:v>19</c:v>
                </c:pt>
                <c:pt idx="4">
                  <c:v>18</c:v>
                </c:pt>
                <c:pt idx="5">
                  <c:v>17</c:v>
                </c:pt>
                <c:pt idx="6">
                  <c:v>17</c:v>
                </c:pt>
                <c:pt idx="7">
                  <c:v>14.000000000000002</c:v>
                </c:pt>
                <c:pt idx="8">
                  <c:v>14.000000000000002</c:v>
                </c:pt>
                <c:pt idx="9">
                  <c:v>13</c:v>
                </c:pt>
                <c:pt idx="10">
                  <c:v>13</c:v>
                </c:pt>
                <c:pt idx="11">
                  <c:v>13</c:v>
                </c:pt>
                <c:pt idx="12">
                  <c:v>10</c:v>
                </c:pt>
                <c:pt idx="13">
                  <c:v>9</c:v>
                </c:pt>
                <c:pt idx="14">
                  <c:v>9</c:v>
                </c:pt>
                <c:pt idx="15">
                  <c:v>8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7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C165-4C42-9666-D207A4B62C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38174383"/>
        <c:axId val="1"/>
      </c:barChart>
      <c:catAx>
        <c:axId val="23817438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381743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9F57FF-C19F-4C13-8D33-E3160A304BC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0885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200259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7" name="Google Shape;867;g2157e93a457_0_1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8" name="Google Shape;868;g2157e93a457_0_1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8453140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6" name="Google Shape;796;g2157e93a457_0_8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97" name="Google Shape;797;g2157e93a457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9F57FF-C19F-4C13-8D33-E3160A304BC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0885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38944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9F57FF-C19F-4C13-8D33-E3160A304BC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0885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03464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Google Shape;884;g2157e93a457_0_16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5" name="Google Shape;885;g2157e93a457_0_16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" name="Google Shape;901;g2157e93a457_0_18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2" name="Google Shape;902;g2157e93a457_0_18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3" name="Google Shape;923;g2157e93a457_0_26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4" name="Google Shape;924;g2157e93a457_0_26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3" name="Google Shape;923;g2157e93a457_0_26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4" name="Google Shape;924;g2157e93a457_0_26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86677023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0" name="Google Shape;850;g2157e93a457_0_1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1" name="Google Shape;851;g2157e93a457_0_1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0836026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9F57FF-C19F-4C13-8D33-E3160A304BC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0885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680732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9F57FF-C19F-4C13-8D33-E3160A304BC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0885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341565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9F57FF-C19F-4C13-8D33-E3160A304BC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0885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18767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9F57FF-C19F-4C13-8D33-E3160A304BC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0885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695030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9F57FF-C19F-4C13-8D33-E3160A304BC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0885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764926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9F57FF-C19F-4C13-8D33-E3160A304BC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0885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83963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9F57FF-C19F-4C13-8D33-E3160A304BC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0885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765403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9F57FF-C19F-4C13-8D33-E3160A304BC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0885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5862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aticon.com/" TargetMode="External"/><Relationship Id="rId2" Type="http://schemas.openxmlformats.org/officeDocument/2006/relationships/hyperlink" Target="https://slidesgo.com/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freepik.com/" TargetMode="Externa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5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" name="Google Shape;43;p5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5"/>
          <p:cNvSpPr txBox="1">
            <a:spLocks noGrp="1"/>
          </p:cNvSpPr>
          <p:nvPr>
            <p:ph type="subTitle" idx="1"/>
          </p:nvPr>
        </p:nvSpPr>
        <p:spPr>
          <a:xfrm>
            <a:off x="4845495" y="2489492"/>
            <a:ext cx="29736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45" name="Google Shape;45;p5"/>
          <p:cNvSpPr txBox="1">
            <a:spLocks noGrp="1"/>
          </p:cNvSpPr>
          <p:nvPr>
            <p:ph type="body" idx="2"/>
          </p:nvPr>
        </p:nvSpPr>
        <p:spPr>
          <a:xfrm>
            <a:off x="1301075" y="2889700"/>
            <a:ext cx="2931300" cy="74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600"/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400">
                <a:solidFill>
                  <a:srgbClr val="FFFFFF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400">
                <a:solidFill>
                  <a:srgbClr val="FFFFFF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6" name="Google Shape;46;p5"/>
          <p:cNvSpPr txBox="1">
            <a:spLocks noGrp="1"/>
          </p:cNvSpPr>
          <p:nvPr>
            <p:ph type="body" idx="3"/>
          </p:nvPr>
        </p:nvSpPr>
        <p:spPr>
          <a:xfrm>
            <a:off x="4845500" y="2881750"/>
            <a:ext cx="2973600" cy="762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600"/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400">
                <a:solidFill>
                  <a:srgbClr val="FFFFFF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400">
                <a:solidFill>
                  <a:srgbClr val="FFFFFF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7" name="Google Shape;47;p5"/>
          <p:cNvSpPr txBox="1"/>
          <p:nvPr/>
        </p:nvSpPr>
        <p:spPr>
          <a:xfrm>
            <a:off x="1331069" y="3012575"/>
            <a:ext cx="2871300" cy="53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None/>
            </a:pPr>
            <a:endParaRPr sz="1800">
              <a:solidFill>
                <a:srgbClr val="FFFFFF"/>
              </a:solidFill>
              <a:latin typeface="Raleway Black"/>
              <a:ea typeface="Raleway Black"/>
              <a:cs typeface="Raleway Black"/>
              <a:sym typeface="Raleway Black"/>
            </a:endParaRPr>
          </a:p>
        </p:txBody>
      </p:sp>
      <p:sp>
        <p:nvSpPr>
          <p:cNvPr id="48" name="Google Shape;48;p5"/>
          <p:cNvSpPr txBox="1">
            <a:spLocks noGrp="1"/>
          </p:cNvSpPr>
          <p:nvPr>
            <p:ph type="subTitle" idx="4"/>
          </p:nvPr>
        </p:nvSpPr>
        <p:spPr>
          <a:xfrm>
            <a:off x="1331069" y="2489492"/>
            <a:ext cx="28713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grpSp>
        <p:nvGrpSpPr>
          <p:cNvPr id="49" name="Google Shape;49;p5"/>
          <p:cNvGrpSpPr/>
          <p:nvPr/>
        </p:nvGrpSpPr>
        <p:grpSpPr>
          <a:xfrm>
            <a:off x="366700" y="730650"/>
            <a:ext cx="8208688" cy="1841088"/>
            <a:chOff x="404800" y="730650"/>
            <a:chExt cx="8208688" cy="1841088"/>
          </a:xfrm>
        </p:grpSpPr>
        <p:sp>
          <p:nvSpPr>
            <p:cNvPr id="50" name="Google Shape;50;p5"/>
            <p:cNvSpPr/>
            <p:nvPr/>
          </p:nvSpPr>
          <p:spPr>
            <a:xfrm>
              <a:off x="536175" y="73065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1;p5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5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53;p5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4" name="Google Shape;54;p5"/>
          <p:cNvGrpSpPr/>
          <p:nvPr/>
        </p:nvGrpSpPr>
        <p:grpSpPr>
          <a:xfrm rot="-2700000" flipH="1">
            <a:off x="861334" y="3359918"/>
            <a:ext cx="596919" cy="896417"/>
            <a:chOff x="8358300" y="3550499"/>
            <a:chExt cx="596925" cy="896426"/>
          </a:xfrm>
        </p:grpSpPr>
        <p:sp>
          <p:nvSpPr>
            <p:cNvPr id="55" name="Google Shape;55;p5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6;p5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1">
  <p:cSld name="CUSTOM_26"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17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" name="Google Shape;181;p17"/>
          <p:cNvSpPr txBox="1">
            <a:spLocks noGrp="1"/>
          </p:cNvSpPr>
          <p:nvPr>
            <p:ph type="subTitle" idx="1"/>
          </p:nvPr>
        </p:nvSpPr>
        <p:spPr>
          <a:xfrm>
            <a:off x="2680650" y="2075675"/>
            <a:ext cx="1874400" cy="47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2" name="Google Shape;182;p17"/>
          <p:cNvSpPr txBox="1">
            <a:spLocks noGrp="1"/>
          </p:cNvSpPr>
          <p:nvPr>
            <p:ph type="subTitle" idx="2"/>
          </p:nvPr>
        </p:nvSpPr>
        <p:spPr>
          <a:xfrm>
            <a:off x="2566350" y="1676917"/>
            <a:ext cx="2103000" cy="44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3" name="Google Shape;183;p17"/>
          <p:cNvSpPr txBox="1">
            <a:spLocks noGrp="1"/>
          </p:cNvSpPr>
          <p:nvPr>
            <p:ph type="subTitle" idx="3"/>
          </p:nvPr>
        </p:nvSpPr>
        <p:spPr>
          <a:xfrm>
            <a:off x="6332025" y="1676917"/>
            <a:ext cx="2103000" cy="44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4" name="Google Shape;184;p17"/>
          <p:cNvSpPr txBox="1">
            <a:spLocks noGrp="1"/>
          </p:cNvSpPr>
          <p:nvPr>
            <p:ph type="subTitle" idx="4"/>
          </p:nvPr>
        </p:nvSpPr>
        <p:spPr>
          <a:xfrm>
            <a:off x="708975" y="2741125"/>
            <a:ext cx="2103000" cy="44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5" name="Google Shape;185;p17"/>
          <p:cNvSpPr txBox="1">
            <a:spLocks noGrp="1"/>
          </p:cNvSpPr>
          <p:nvPr>
            <p:ph type="subTitle" idx="5"/>
          </p:nvPr>
        </p:nvSpPr>
        <p:spPr>
          <a:xfrm>
            <a:off x="4446075" y="2742409"/>
            <a:ext cx="2103000" cy="44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6" name="Google Shape;186;p17"/>
          <p:cNvSpPr txBox="1">
            <a:spLocks noGrp="1"/>
          </p:cNvSpPr>
          <p:nvPr>
            <p:ph type="subTitle" idx="6"/>
          </p:nvPr>
        </p:nvSpPr>
        <p:spPr>
          <a:xfrm>
            <a:off x="6446325" y="2075675"/>
            <a:ext cx="1874400" cy="47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7" name="Google Shape;187;p17"/>
          <p:cNvSpPr txBox="1">
            <a:spLocks noGrp="1"/>
          </p:cNvSpPr>
          <p:nvPr>
            <p:ph type="subTitle" idx="7"/>
          </p:nvPr>
        </p:nvSpPr>
        <p:spPr>
          <a:xfrm>
            <a:off x="823275" y="3136256"/>
            <a:ext cx="1874400" cy="47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8" name="Google Shape;188;p17"/>
          <p:cNvSpPr txBox="1">
            <a:spLocks noGrp="1"/>
          </p:cNvSpPr>
          <p:nvPr>
            <p:ph type="subTitle" idx="8"/>
          </p:nvPr>
        </p:nvSpPr>
        <p:spPr>
          <a:xfrm>
            <a:off x="4560375" y="3136256"/>
            <a:ext cx="1874400" cy="47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9" name="Google Shape;189;p17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90" name="Google Shape;190;p17"/>
          <p:cNvGrpSpPr/>
          <p:nvPr/>
        </p:nvGrpSpPr>
        <p:grpSpPr>
          <a:xfrm>
            <a:off x="270750" y="305956"/>
            <a:ext cx="7172425" cy="3514294"/>
            <a:chOff x="270750" y="305956"/>
            <a:chExt cx="7172425" cy="3514294"/>
          </a:xfrm>
        </p:grpSpPr>
        <p:sp>
          <p:nvSpPr>
            <p:cNvPr id="191" name="Google Shape;191;p17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2" name="Google Shape;192;p17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3" name="Google Shape;193;p17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SECTION_TITLE_AND_DESCRIPTION_1_1_3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19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19"/>
          <p:cNvSpPr txBox="1">
            <a:spLocks noGrp="1"/>
          </p:cNvSpPr>
          <p:nvPr>
            <p:ph type="title"/>
          </p:nvPr>
        </p:nvSpPr>
        <p:spPr>
          <a:xfrm>
            <a:off x="923550" y="1265863"/>
            <a:ext cx="2190900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3" name="Google Shape;213;p19"/>
          <p:cNvSpPr txBox="1">
            <a:spLocks noGrp="1"/>
          </p:cNvSpPr>
          <p:nvPr>
            <p:ph type="subTitle" idx="1"/>
          </p:nvPr>
        </p:nvSpPr>
        <p:spPr>
          <a:xfrm>
            <a:off x="790650" y="1713125"/>
            <a:ext cx="2323800" cy="564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4" name="Google Shape;214;p19"/>
          <p:cNvSpPr txBox="1">
            <a:spLocks noGrp="1"/>
          </p:cNvSpPr>
          <p:nvPr>
            <p:ph type="title" idx="2"/>
          </p:nvPr>
        </p:nvSpPr>
        <p:spPr>
          <a:xfrm>
            <a:off x="923550" y="2668141"/>
            <a:ext cx="2190900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5" name="Google Shape;215;p19"/>
          <p:cNvSpPr txBox="1">
            <a:spLocks noGrp="1"/>
          </p:cNvSpPr>
          <p:nvPr>
            <p:ph type="subTitle" idx="3"/>
          </p:nvPr>
        </p:nvSpPr>
        <p:spPr>
          <a:xfrm>
            <a:off x="790650" y="3115418"/>
            <a:ext cx="2323800" cy="564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6" name="Google Shape;216;p19"/>
          <p:cNvSpPr txBox="1">
            <a:spLocks noGrp="1"/>
          </p:cNvSpPr>
          <p:nvPr>
            <p:ph type="title" idx="4"/>
          </p:nvPr>
        </p:nvSpPr>
        <p:spPr>
          <a:xfrm>
            <a:off x="6029625" y="1265863"/>
            <a:ext cx="2190900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7" name="Google Shape;217;p19"/>
          <p:cNvSpPr txBox="1">
            <a:spLocks noGrp="1"/>
          </p:cNvSpPr>
          <p:nvPr>
            <p:ph type="subTitle" idx="5"/>
          </p:nvPr>
        </p:nvSpPr>
        <p:spPr>
          <a:xfrm>
            <a:off x="6029625" y="1713125"/>
            <a:ext cx="2323800" cy="564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8" name="Google Shape;218;p19"/>
          <p:cNvSpPr txBox="1">
            <a:spLocks noGrp="1"/>
          </p:cNvSpPr>
          <p:nvPr>
            <p:ph type="title" idx="6"/>
          </p:nvPr>
        </p:nvSpPr>
        <p:spPr>
          <a:xfrm>
            <a:off x="6029625" y="2668143"/>
            <a:ext cx="2190900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9" name="Google Shape;219;p19"/>
          <p:cNvSpPr txBox="1">
            <a:spLocks noGrp="1"/>
          </p:cNvSpPr>
          <p:nvPr>
            <p:ph type="subTitle" idx="7"/>
          </p:nvPr>
        </p:nvSpPr>
        <p:spPr>
          <a:xfrm>
            <a:off x="6029625" y="3115418"/>
            <a:ext cx="2323800" cy="564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20" name="Google Shape;220;p19"/>
          <p:cNvSpPr txBox="1">
            <a:spLocks noGrp="1"/>
          </p:cNvSpPr>
          <p:nvPr>
            <p:ph type="title" idx="8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21" name="Google Shape;221;p19"/>
          <p:cNvGrpSpPr/>
          <p:nvPr/>
        </p:nvGrpSpPr>
        <p:grpSpPr>
          <a:xfrm>
            <a:off x="270750" y="-561264"/>
            <a:ext cx="8627325" cy="2190739"/>
            <a:chOff x="270750" y="-561264"/>
            <a:chExt cx="8627325" cy="2190739"/>
          </a:xfrm>
        </p:grpSpPr>
        <p:grpSp>
          <p:nvGrpSpPr>
            <p:cNvPr id="222" name="Google Shape;222;p19"/>
            <p:cNvGrpSpPr/>
            <p:nvPr/>
          </p:nvGrpSpPr>
          <p:grpSpPr>
            <a:xfrm rot="10800000" flipH="1">
              <a:off x="270750" y="253149"/>
              <a:ext cx="8627325" cy="1376326"/>
              <a:chOff x="270750" y="2965824"/>
              <a:chExt cx="8627325" cy="1376326"/>
            </a:xfrm>
          </p:grpSpPr>
          <p:sp>
            <p:nvSpPr>
              <p:cNvPr id="223" name="Google Shape;223;p19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4" name="Google Shape;224;p19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5" name="Google Shape;225;p19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26" name="Google Shape;226;p19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>
  <p:cSld name="TITLE_ONLY_2"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p20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9" name="Google Shape;229;p20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0" name="Google Shape;230;p20"/>
          <p:cNvGrpSpPr/>
          <p:nvPr/>
        </p:nvGrpSpPr>
        <p:grpSpPr>
          <a:xfrm>
            <a:off x="193224" y="250521"/>
            <a:ext cx="8719077" cy="4083144"/>
            <a:chOff x="193224" y="250521"/>
            <a:chExt cx="8719077" cy="4083144"/>
          </a:xfrm>
        </p:grpSpPr>
        <p:sp>
          <p:nvSpPr>
            <p:cNvPr id="231" name="Google Shape;231;p20"/>
            <p:cNvSpPr/>
            <p:nvPr/>
          </p:nvSpPr>
          <p:spPr>
            <a:xfrm>
              <a:off x="1717228" y="1859301"/>
              <a:ext cx="470400" cy="4704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32;p20"/>
            <p:cNvSpPr/>
            <p:nvPr/>
          </p:nvSpPr>
          <p:spPr>
            <a:xfrm>
              <a:off x="8291625" y="4138665"/>
              <a:ext cx="194700" cy="195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20"/>
            <p:cNvSpPr/>
            <p:nvPr/>
          </p:nvSpPr>
          <p:spPr>
            <a:xfrm>
              <a:off x="8490521" y="250521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20"/>
            <p:cNvSpPr/>
            <p:nvPr/>
          </p:nvSpPr>
          <p:spPr>
            <a:xfrm>
              <a:off x="193224" y="1617493"/>
              <a:ext cx="241500" cy="241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35;p20"/>
            <p:cNvSpPr/>
            <p:nvPr/>
          </p:nvSpPr>
          <p:spPr>
            <a:xfrm>
              <a:off x="8532801" y="3929875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36" name="Google Shape;236;p20"/>
          <p:cNvSpPr txBox="1">
            <a:spLocks noGrp="1"/>
          </p:cNvSpPr>
          <p:nvPr>
            <p:ph type="subTitle" idx="1"/>
          </p:nvPr>
        </p:nvSpPr>
        <p:spPr>
          <a:xfrm>
            <a:off x="2522250" y="1086450"/>
            <a:ext cx="4099500" cy="285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Titillium Web"/>
              <a:buChar char="●"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7" name="Google Shape;237;p20"/>
          <p:cNvGrpSpPr/>
          <p:nvPr/>
        </p:nvGrpSpPr>
        <p:grpSpPr>
          <a:xfrm rot="10800000" flipH="1">
            <a:off x="604125" y="1056775"/>
            <a:ext cx="8370150" cy="3635150"/>
            <a:chOff x="604125" y="-96626"/>
            <a:chExt cx="8370150" cy="3635150"/>
          </a:xfrm>
        </p:grpSpPr>
        <p:sp>
          <p:nvSpPr>
            <p:cNvPr id="238" name="Google Shape;238;p20"/>
            <p:cNvSpPr/>
            <p:nvPr/>
          </p:nvSpPr>
          <p:spPr>
            <a:xfrm>
              <a:off x="604125" y="25814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20"/>
            <p:cNvSpPr/>
            <p:nvPr/>
          </p:nvSpPr>
          <p:spPr>
            <a:xfrm>
              <a:off x="8063025" y="27908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20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20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42;p20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20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_ONLY_1"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21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6" name="Google Shape;246;p21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47" name="Google Shape;247;p21"/>
          <p:cNvGrpSpPr/>
          <p:nvPr/>
        </p:nvGrpSpPr>
        <p:grpSpPr>
          <a:xfrm flipH="1">
            <a:off x="466113" y="283325"/>
            <a:ext cx="8310488" cy="4058138"/>
            <a:chOff x="270750" y="369050"/>
            <a:chExt cx="8310488" cy="4058138"/>
          </a:xfrm>
        </p:grpSpPr>
        <p:sp>
          <p:nvSpPr>
            <p:cNvPr id="248" name="Google Shape;248;p21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49;p21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21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21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21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21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21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21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TITLE_ONLY_1_1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22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8" name="Google Shape;258;p22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59" name="Google Shape;259;p22"/>
          <p:cNvGrpSpPr/>
          <p:nvPr/>
        </p:nvGrpSpPr>
        <p:grpSpPr>
          <a:xfrm flipH="1">
            <a:off x="366000" y="253149"/>
            <a:ext cx="8563397" cy="4105938"/>
            <a:chOff x="536166" y="253149"/>
            <a:chExt cx="8563397" cy="4105938"/>
          </a:xfrm>
        </p:grpSpPr>
        <p:sp>
          <p:nvSpPr>
            <p:cNvPr id="260" name="Google Shape;260;p22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" name="Google Shape;261;p22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" name="Google Shape;262;p22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" name="Google Shape;263;p22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" name="Google Shape;264;p22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" name="Google Shape;265;p22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" name="Google Shape;266;p22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" name="Google Shape;267;p22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_ONLY_1_1_1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23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0" name="Google Shape;270;p23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71" name="Google Shape;271;p23"/>
          <p:cNvGrpSpPr/>
          <p:nvPr/>
        </p:nvGrpSpPr>
        <p:grpSpPr>
          <a:xfrm flipH="1">
            <a:off x="290300" y="219124"/>
            <a:ext cx="8687224" cy="4649838"/>
            <a:chOff x="412338" y="27249"/>
            <a:chExt cx="8687224" cy="4649838"/>
          </a:xfrm>
        </p:grpSpPr>
        <p:sp>
          <p:nvSpPr>
            <p:cNvPr id="272" name="Google Shape;272;p23"/>
            <p:cNvSpPr/>
            <p:nvPr/>
          </p:nvSpPr>
          <p:spPr>
            <a:xfrm>
              <a:off x="412338" y="904050"/>
              <a:ext cx="687300" cy="6873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" name="Google Shape;273;p23"/>
            <p:cNvSpPr/>
            <p:nvPr/>
          </p:nvSpPr>
          <p:spPr>
            <a:xfrm>
              <a:off x="959150" y="39782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" name="Google Shape;274;p23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" name="Google Shape;275;p23"/>
            <p:cNvSpPr/>
            <p:nvPr/>
          </p:nvSpPr>
          <p:spPr>
            <a:xfrm>
              <a:off x="7399500" y="272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" name="Google Shape;276;p23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" name="Google Shape;277;p23"/>
            <p:cNvSpPr/>
            <p:nvPr/>
          </p:nvSpPr>
          <p:spPr>
            <a:xfrm>
              <a:off x="6661875" y="41562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" name="Google Shape;278;p23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1_1_1_1"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24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1" name="Google Shape;281;p24"/>
          <p:cNvSpPr txBox="1">
            <a:spLocks noGrp="1"/>
          </p:cNvSpPr>
          <p:nvPr>
            <p:ph type="title"/>
          </p:nvPr>
        </p:nvSpPr>
        <p:spPr>
          <a:xfrm>
            <a:off x="2676900" y="745875"/>
            <a:ext cx="3790200" cy="716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282" name="Google Shape;282;p24"/>
          <p:cNvSpPr txBox="1">
            <a:spLocks noGrp="1"/>
          </p:cNvSpPr>
          <p:nvPr>
            <p:ph type="subTitle" idx="1"/>
          </p:nvPr>
        </p:nvSpPr>
        <p:spPr>
          <a:xfrm>
            <a:off x="2983301" y="1546125"/>
            <a:ext cx="3177300" cy="109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24"/>
          <p:cNvSpPr txBox="1"/>
          <p:nvPr/>
        </p:nvSpPr>
        <p:spPr>
          <a:xfrm>
            <a:off x="2905650" y="3292575"/>
            <a:ext cx="3332700" cy="71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REDITS: This presentation template was created by </a:t>
            </a:r>
            <a:r>
              <a:rPr lang="en-GB" sz="12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-GB" sz="12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cluding icons by </a:t>
            </a:r>
            <a:r>
              <a:rPr lang="en-GB" sz="12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-GB" sz="12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fographics &amp; images by </a:t>
            </a:r>
            <a:r>
              <a:rPr lang="en-GB" sz="12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200" b="1">
              <a:solidFill>
                <a:schemeClr val="dk1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284" name="Google Shape;284;p24"/>
          <p:cNvSpPr/>
          <p:nvPr/>
        </p:nvSpPr>
        <p:spPr>
          <a:xfrm>
            <a:off x="6648388" y="2571750"/>
            <a:ext cx="1189800" cy="1189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5" name="Google Shape;285;p24"/>
          <p:cNvSpPr/>
          <p:nvPr/>
        </p:nvSpPr>
        <p:spPr>
          <a:xfrm>
            <a:off x="2206275" y="3477100"/>
            <a:ext cx="572100" cy="5721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6" name="Google Shape;286;p24"/>
          <p:cNvSpPr/>
          <p:nvPr/>
        </p:nvSpPr>
        <p:spPr>
          <a:xfrm>
            <a:off x="8301150" y="4048150"/>
            <a:ext cx="293700" cy="294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7" name="Google Shape;287;p24"/>
          <p:cNvSpPr/>
          <p:nvPr/>
        </p:nvSpPr>
        <p:spPr>
          <a:xfrm>
            <a:off x="6435375" y="272899"/>
            <a:ext cx="572100" cy="5727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8" name="Google Shape;288;p24"/>
          <p:cNvSpPr/>
          <p:nvPr/>
        </p:nvSpPr>
        <p:spPr>
          <a:xfrm>
            <a:off x="886950" y="1064474"/>
            <a:ext cx="572100" cy="5727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9" name="Google Shape;289;p24"/>
          <p:cNvSpPr/>
          <p:nvPr/>
        </p:nvSpPr>
        <p:spPr>
          <a:xfrm>
            <a:off x="1409475" y="2378025"/>
            <a:ext cx="520200" cy="520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0" name="Google Shape;290;p24"/>
          <p:cNvSpPr/>
          <p:nvPr/>
        </p:nvSpPr>
        <p:spPr>
          <a:xfrm>
            <a:off x="8168788" y="1677663"/>
            <a:ext cx="520200" cy="520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1" name="Google Shape;291;p24"/>
          <p:cNvSpPr/>
          <p:nvPr/>
        </p:nvSpPr>
        <p:spPr>
          <a:xfrm>
            <a:off x="632520" y="1546131"/>
            <a:ext cx="293700" cy="294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TITLE_ONLY_1_2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25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94" name="Google Shape;294;p25"/>
          <p:cNvGrpSpPr/>
          <p:nvPr/>
        </p:nvGrpSpPr>
        <p:grpSpPr>
          <a:xfrm flipH="1">
            <a:off x="466113" y="283325"/>
            <a:ext cx="8310488" cy="4058138"/>
            <a:chOff x="270750" y="369050"/>
            <a:chExt cx="8310488" cy="4058138"/>
          </a:xfrm>
        </p:grpSpPr>
        <p:sp>
          <p:nvSpPr>
            <p:cNvPr id="295" name="Google Shape;295;p25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" name="Google Shape;296;p25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" name="Google Shape;297;p25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" name="Google Shape;298;p25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" name="Google Shape;299;p25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00;p25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" name="Google Shape;301;p25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" name="Google Shape;302;p25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TITLE_ONLY_1_1_2"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p26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05" name="Google Shape;305;p26"/>
          <p:cNvGrpSpPr/>
          <p:nvPr/>
        </p:nvGrpSpPr>
        <p:grpSpPr>
          <a:xfrm flipH="1">
            <a:off x="366000" y="253149"/>
            <a:ext cx="8563397" cy="4105938"/>
            <a:chOff x="536166" y="253149"/>
            <a:chExt cx="8563397" cy="4105938"/>
          </a:xfrm>
        </p:grpSpPr>
        <p:sp>
          <p:nvSpPr>
            <p:cNvPr id="306" name="Google Shape;306;p26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" name="Google Shape;307;p26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" name="Google Shape;308;p26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" name="Google Shape;309;p26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" name="Google Shape;310;p26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" name="Google Shape;311;p26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" name="Google Shape;312;p26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" name="Google Shape;313;p26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4">
  <p:cSld name="CUSTOM_2_1"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28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26" name="Google Shape;326;p28"/>
          <p:cNvGrpSpPr/>
          <p:nvPr/>
        </p:nvGrpSpPr>
        <p:grpSpPr>
          <a:xfrm>
            <a:off x="270750" y="-561264"/>
            <a:ext cx="8627325" cy="4964025"/>
            <a:chOff x="270750" y="-561264"/>
            <a:chExt cx="8627325" cy="4964025"/>
          </a:xfrm>
        </p:grpSpPr>
        <p:grpSp>
          <p:nvGrpSpPr>
            <p:cNvPr id="327" name="Google Shape;327;p28"/>
            <p:cNvGrpSpPr/>
            <p:nvPr/>
          </p:nvGrpSpPr>
          <p:grpSpPr>
            <a:xfrm rot="10800000" flipH="1">
              <a:off x="270750" y="253149"/>
              <a:ext cx="8627325" cy="4149612"/>
              <a:chOff x="270750" y="192538"/>
              <a:chExt cx="8627325" cy="4149612"/>
            </a:xfrm>
          </p:grpSpPr>
          <p:sp>
            <p:nvSpPr>
              <p:cNvPr id="328" name="Google Shape;328;p28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9" name="Google Shape;329;p28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0" name="Google Shape;330;p28"/>
              <p:cNvSpPr/>
              <p:nvPr/>
            </p:nvSpPr>
            <p:spPr>
              <a:xfrm>
                <a:off x="7218275" y="36057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1" name="Google Shape;331;p28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2" name="Google Shape;332;p28"/>
              <p:cNvSpPr/>
              <p:nvPr/>
            </p:nvSpPr>
            <p:spPr>
              <a:xfrm>
                <a:off x="817013" y="192538"/>
                <a:ext cx="520200" cy="5208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3" name="Google Shape;333;p28"/>
              <p:cNvSpPr/>
              <p:nvPr/>
            </p:nvSpPr>
            <p:spPr>
              <a:xfrm>
                <a:off x="1337220" y="250706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34" name="Google Shape;334;p28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8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8" name="Google Shape;78;p8"/>
          <p:cNvSpPr txBox="1">
            <a:spLocks noGrp="1"/>
          </p:cNvSpPr>
          <p:nvPr>
            <p:ph type="title"/>
          </p:nvPr>
        </p:nvSpPr>
        <p:spPr>
          <a:xfrm>
            <a:off x="1388100" y="5263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79" name="Google Shape;79;p8"/>
          <p:cNvGrpSpPr/>
          <p:nvPr/>
        </p:nvGrpSpPr>
        <p:grpSpPr>
          <a:xfrm rot="10800000" flipH="1">
            <a:off x="1101156" y="253149"/>
            <a:ext cx="7611770" cy="2949179"/>
            <a:chOff x="404800" y="-890960"/>
            <a:chExt cx="8937149" cy="3462697"/>
          </a:xfrm>
        </p:grpSpPr>
        <p:sp>
          <p:nvSpPr>
            <p:cNvPr id="80" name="Google Shape;80;p8"/>
            <p:cNvSpPr/>
            <p:nvPr/>
          </p:nvSpPr>
          <p:spPr>
            <a:xfrm>
              <a:off x="8152149" y="-89096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81;p8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82;p8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83;p8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4" name="Google Shape;84;p8"/>
          <p:cNvSpPr/>
          <p:nvPr/>
        </p:nvSpPr>
        <p:spPr>
          <a:xfrm rot="10800000" flipH="1">
            <a:off x="4746823" y="3303353"/>
            <a:ext cx="1013400" cy="1013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5" name="Google Shape;85;p8"/>
          <p:cNvGrpSpPr/>
          <p:nvPr/>
        </p:nvGrpSpPr>
        <p:grpSpPr>
          <a:xfrm rot="10800000">
            <a:off x="270750" y="740109"/>
            <a:ext cx="8627325" cy="4089001"/>
            <a:chOff x="270750" y="253149"/>
            <a:chExt cx="8627325" cy="4089001"/>
          </a:xfrm>
        </p:grpSpPr>
        <p:sp>
          <p:nvSpPr>
            <p:cNvPr id="86" name="Google Shape;86;p8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87;p8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88;p8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" name="Google Shape;89;p8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8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ítulo y objetos" type="obj">
  <p:cSld name="OBJECT"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29"/>
          <p:cNvSpPr txBox="1">
            <a:spLocks noGrp="1"/>
          </p:cNvSpPr>
          <p:nvPr>
            <p:ph type="title"/>
          </p:nvPr>
        </p:nvSpPr>
        <p:spPr>
          <a:xfrm>
            <a:off x="0" y="0"/>
            <a:ext cx="8229600" cy="6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7" name="Google Shape;337;p29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39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lvl="5" indent="-342900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>
  <p:cSld name="TITLE_1"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p31"/>
          <p:cNvSpPr/>
          <p:nvPr/>
        </p:nvSpPr>
        <p:spPr>
          <a:xfrm>
            <a:off x="0" y="0"/>
            <a:ext cx="9144000" cy="12306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" name="Google Shape;343;p31"/>
          <p:cNvSpPr txBox="1">
            <a:spLocks noGrp="1"/>
          </p:cNvSpPr>
          <p:nvPr>
            <p:ph type="ctrTitle"/>
          </p:nvPr>
        </p:nvSpPr>
        <p:spPr>
          <a:xfrm>
            <a:off x="152400" y="-76200"/>
            <a:ext cx="8183700" cy="776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Titillium Web"/>
              <a:buNone/>
              <a:defRPr sz="32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44" name="Google Shape;344;p31"/>
          <p:cNvSpPr txBox="1">
            <a:spLocks noGrp="1"/>
          </p:cNvSpPr>
          <p:nvPr>
            <p:ph type="subTitle" idx="1"/>
          </p:nvPr>
        </p:nvSpPr>
        <p:spPr>
          <a:xfrm>
            <a:off x="135650" y="671875"/>
            <a:ext cx="8183700" cy="558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Titillium Web"/>
              <a:buNone/>
              <a:defRPr sz="13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198"/>
          <a:stretch/>
        </p:blipFill>
        <p:spPr>
          <a:xfrm>
            <a:off x="2" y="1707854"/>
            <a:ext cx="9143999" cy="3434717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11560" y="2085697"/>
            <a:ext cx="7920880" cy="1231031"/>
          </a:xfrm>
        </p:spPr>
        <p:txBody>
          <a:bodyPr anchor="b" anchorCtr="0">
            <a:normAutofit/>
          </a:bodyPr>
          <a:lstStyle>
            <a:lvl1pPr marL="0" indent="0">
              <a:lnSpc>
                <a:spcPts val="3124"/>
              </a:lnSpc>
              <a:buFontTx/>
              <a:buNone/>
              <a:defRPr sz="3749" b="1" spc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08079" indent="0">
              <a:buFontTx/>
              <a:buNone/>
              <a:defRPr/>
            </a:lvl2pPr>
            <a:lvl3pPr marL="816159" indent="0">
              <a:buFontTx/>
              <a:buNone/>
              <a:defRPr/>
            </a:lvl3pPr>
            <a:lvl4pPr marL="1224238" indent="0">
              <a:buFontTx/>
              <a:buNone/>
              <a:defRPr/>
            </a:lvl4pPr>
            <a:lvl5pPr marL="1632318" indent="0">
              <a:buFontTx/>
              <a:buNone/>
              <a:defRPr/>
            </a:lvl5pPr>
          </a:lstStyle>
          <a:p>
            <a:pPr lvl="0"/>
            <a:r>
              <a:rPr lang="de-DE" dirty="0"/>
              <a:t>Headline der Präsentatio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11563" y="3368131"/>
            <a:ext cx="7920879" cy="37746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725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Autor, Datum</a:t>
            </a:r>
          </a:p>
        </p:txBody>
      </p:sp>
    </p:spTree>
    <p:extLst>
      <p:ext uri="{BB962C8B-B14F-4D97-AF65-F5344CB8AC3E}">
        <p14:creationId xmlns:p14="http://schemas.microsoft.com/office/powerpoint/2010/main" val="242846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46"/>
          <a:stretch/>
        </p:blipFill>
        <p:spPr>
          <a:xfrm>
            <a:off x="4" y="789964"/>
            <a:ext cx="9143997" cy="4352606"/>
          </a:xfrm>
          <a:prstGeom prst="rect">
            <a:avLst/>
          </a:prstGeom>
        </p:spPr>
      </p:pic>
      <p:sp>
        <p:nvSpPr>
          <p:cNvPr id="6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11560" y="1556744"/>
            <a:ext cx="7920880" cy="1231031"/>
          </a:xfrm>
        </p:spPr>
        <p:txBody>
          <a:bodyPr anchor="b" anchorCtr="0">
            <a:normAutofit/>
          </a:bodyPr>
          <a:lstStyle>
            <a:lvl1pPr marL="0" indent="0" algn="l">
              <a:lnSpc>
                <a:spcPts val="3124"/>
              </a:lnSpc>
              <a:buFontTx/>
              <a:buNone/>
              <a:defRPr sz="3149" b="1" spc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08079" indent="0">
              <a:buFontTx/>
              <a:buNone/>
              <a:defRPr/>
            </a:lvl2pPr>
            <a:lvl3pPr marL="816159" indent="0">
              <a:buFontTx/>
              <a:buNone/>
              <a:defRPr/>
            </a:lvl3pPr>
            <a:lvl4pPr marL="1224238" indent="0">
              <a:buFontTx/>
              <a:buNone/>
              <a:defRPr/>
            </a:lvl4pPr>
            <a:lvl5pPr marL="1632318" indent="0">
              <a:buFontTx/>
              <a:buNone/>
              <a:defRPr/>
            </a:lvl5pPr>
          </a:lstStyle>
          <a:p>
            <a:pPr lvl="0"/>
            <a:r>
              <a:rPr lang="de-DE" dirty="0"/>
              <a:t>Headline der Präsentation</a:t>
            </a:r>
          </a:p>
        </p:txBody>
      </p:sp>
      <p:sp>
        <p:nvSpPr>
          <p:cNvPr id="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11563" y="2787775"/>
            <a:ext cx="7920879" cy="118813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5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zeile</a:t>
            </a:r>
          </a:p>
        </p:txBody>
      </p:sp>
    </p:spTree>
    <p:extLst>
      <p:ext uri="{BB962C8B-B14F-4D97-AF65-F5344CB8AC3E}">
        <p14:creationId xmlns:p14="http://schemas.microsoft.com/office/powerpoint/2010/main" val="2853899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930"/>
            <a:ext cx="9143996" cy="5141638"/>
          </a:xfrm>
          <a:prstGeom prst="rect">
            <a:avLst/>
          </a:prstGeom>
        </p:spPr>
      </p:pic>
      <p:sp>
        <p:nvSpPr>
          <p:cNvPr id="6" name="Textplatzhalt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12130" y="412010"/>
            <a:ext cx="3618669" cy="4318439"/>
          </a:xfrm>
          <a:prstGeom prst="round2DiagRect">
            <a:avLst>
              <a:gd name="adj1" fmla="val 13513"/>
              <a:gd name="adj2" fmla="val 0"/>
            </a:avLst>
          </a:prstGeom>
          <a:solidFill>
            <a:schemeClr val="bg1"/>
          </a:solidFill>
        </p:spPr>
        <p:txBody>
          <a:bodyPr lIns="252000" tIns="180000" rIns="252000">
            <a:normAutofit/>
          </a:bodyPr>
          <a:lstStyle>
            <a:lvl1pPr marL="0" indent="0">
              <a:buClr>
                <a:schemeClr val="bg1"/>
              </a:buClr>
              <a:buFont typeface="Wingdings" panose="05000000000000000000" pitchFamily="2" charset="2"/>
              <a:buNone/>
              <a:defRPr sz="1875" b="1">
                <a:solidFill>
                  <a:schemeClr val="accent1"/>
                </a:solidFill>
              </a:defRPr>
            </a:lvl1pPr>
            <a:lvl2pPr marL="323063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2pPr>
            <a:lvl3pPr marL="561109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3pPr>
            <a:lvl4pPr marL="799155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4pPr>
            <a:lvl5pPr marL="1037201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Überschrift Inhaltsverzeichnis</a:t>
            </a:r>
          </a:p>
        </p:txBody>
      </p:sp>
      <p:sp>
        <p:nvSpPr>
          <p:cNvPr id="8" name="Tabellenplatzhalter 7"/>
          <p:cNvSpPr>
            <a:spLocks noGrp="1"/>
          </p:cNvSpPr>
          <p:nvPr>
            <p:ph type="tbl" sz="quarter" idx="17"/>
          </p:nvPr>
        </p:nvSpPr>
        <p:spPr>
          <a:xfrm>
            <a:off x="5382195" y="1059410"/>
            <a:ext cx="3078743" cy="3402112"/>
          </a:xfrm>
        </p:spPr>
        <p:txBody>
          <a:bodyPr lIns="0" rIns="0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2778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9144000" cy="5143500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Flächiges Bild</a:t>
            </a:r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12130" y="412010"/>
            <a:ext cx="3618669" cy="4318439"/>
          </a:xfrm>
          <a:prstGeom prst="round2DiagRect">
            <a:avLst>
              <a:gd name="adj1" fmla="val 13513"/>
              <a:gd name="adj2" fmla="val 0"/>
            </a:avLst>
          </a:prstGeom>
          <a:solidFill>
            <a:schemeClr val="bg1"/>
          </a:solidFill>
        </p:spPr>
        <p:txBody>
          <a:bodyPr lIns="252000" tIns="180000" rIns="252000">
            <a:normAutofit/>
          </a:bodyPr>
          <a:lstStyle>
            <a:lvl1pPr marL="0" indent="0">
              <a:buClr>
                <a:schemeClr val="bg1"/>
              </a:buClr>
              <a:buFont typeface="Wingdings" panose="05000000000000000000" pitchFamily="2" charset="2"/>
              <a:buNone/>
              <a:defRPr sz="1875" b="1">
                <a:solidFill>
                  <a:schemeClr val="accent1"/>
                </a:solidFill>
              </a:defRPr>
            </a:lvl1pPr>
            <a:lvl2pPr marL="323063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2pPr>
            <a:lvl3pPr marL="561109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3pPr>
            <a:lvl4pPr marL="799155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4pPr>
            <a:lvl5pPr marL="1037201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Überschrift Inhaltsverzeichnis</a:t>
            </a:r>
          </a:p>
        </p:txBody>
      </p:sp>
      <p:sp>
        <p:nvSpPr>
          <p:cNvPr id="8" name="Tabellenplatzhalter 7"/>
          <p:cNvSpPr>
            <a:spLocks noGrp="1"/>
          </p:cNvSpPr>
          <p:nvPr>
            <p:ph type="tbl" sz="quarter" idx="17"/>
          </p:nvPr>
        </p:nvSpPr>
        <p:spPr>
          <a:xfrm>
            <a:off x="5382195" y="1059410"/>
            <a:ext cx="3078743" cy="3402112"/>
          </a:xfrm>
        </p:spPr>
        <p:txBody>
          <a:bodyPr lIns="0" rIns="0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8264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s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5536" y="789965"/>
            <a:ext cx="8335263" cy="243000"/>
          </a:xfrm>
        </p:spPr>
        <p:txBody>
          <a:bodyPr>
            <a:noAutofit/>
          </a:bodyPr>
          <a:lstStyle>
            <a:lvl1pPr marL="0" indent="0">
              <a:lnSpc>
                <a:spcPts val="2053"/>
              </a:lnSpc>
              <a:spcBef>
                <a:spcPts val="0"/>
              </a:spcBef>
              <a:buNone/>
              <a:defRPr sz="1500" b="1" baseline="0">
                <a:latin typeface="+mn-lt"/>
              </a:defRPr>
            </a:lvl1pPr>
            <a:lvl2pPr marL="399577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2pPr>
            <a:lvl3pPr marL="561109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3pPr>
            <a:lvl4pPr marL="722641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4pPr>
            <a:lvl5pPr marL="884172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95537" y="1"/>
            <a:ext cx="7147180" cy="77670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875" b="1"/>
            </a:lvl1pPr>
            <a:lvl2pPr marL="323063" indent="0">
              <a:buNone/>
              <a:defRPr sz="1875" b="1"/>
            </a:lvl2pPr>
            <a:lvl3pPr marL="561109" indent="0">
              <a:buNone/>
              <a:defRPr sz="1875" b="1"/>
            </a:lvl3pPr>
            <a:lvl4pPr marL="799155" indent="0">
              <a:buNone/>
              <a:defRPr sz="1875" b="1"/>
            </a:lvl4pPr>
            <a:lvl5pPr marL="1037201" indent="0">
              <a:buNone/>
              <a:defRPr sz="1875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13921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ninhalt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350001"/>
            <a:ext cx="4536000" cy="3105000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08000" y="1350001"/>
            <a:ext cx="4536000" cy="3105000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95537" y="1"/>
            <a:ext cx="6877115" cy="77670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875" b="1"/>
            </a:lvl1pPr>
            <a:lvl2pPr marL="323063" indent="0">
              <a:buNone/>
              <a:defRPr sz="1875" b="1"/>
            </a:lvl2pPr>
            <a:lvl3pPr marL="561109" indent="0">
              <a:buNone/>
              <a:defRPr sz="1875" b="1"/>
            </a:lvl3pPr>
            <a:lvl4pPr marL="799155" indent="0">
              <a:buNone/>
              <a:defRPr sz="1875" b="1"/>
            </a:lvl4pPr>
            <a:lvl5pPr marL="1037201" indent="0">
              <a:buNone/>
              <a:defRPr sz="1875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6DB26F2E-6C23-4C08-9A94-A5CC9F33AE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536" y="789965"/>
            <a:ext cx="8335263" cy="243000"/>
          </a:xfrm>
        </p:spPr>
        <p:txBody>
          <a:bodyPr>
            <a:noAutofit/>
          </a:bodyPr>
          <a:lstStyle>
            <a:lvl1pPr marL="0" indent="0">
              <a:lnSpc>
                <a:spcPts val="2053"/>
              </a:lnSpc>
              <a:spcBef>
                <a:spcPts val="0"/>
              </a:spcBef>
              <a:buNone/>
              <a:defRPr sz="1500" b="1" baseline="0">
                <a:latin typeface="+mn-lt"/>
              </a:defRPr>
            </a:lvl1pPr>
            <a:lvl2pPr marL="399577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2pPr>
            <a:lvl3pPr marL="561109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3pPr>
            <a:lvl4pPr marL="722641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4pPr>
            <a:lvl5pPr marL="884172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208774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395289" y="1350001"/>
            <a:ext cx="4068000" cy="3105000"/>
          </a:xfrm>
        </p:spPr>
        <p:txBody>
          <a:bodyPr>
            <a:normAutofit/>
          </a:bodyPr>
          <a:lstStyle>
            <a:lvl1pPr marL="224926" indent="-224926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1pPr>
            <a:lvl2pPr marL="399577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2pPr>
            <a:lvl3pPr marL="561109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3pPr>
            <a:lvl4pPr marL="722641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4pPr>
            <a:lvl5pPr marL="884172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680000" y="1350001"/>
            <a:ext cx="4050799" cy="3105000"/>
          </a:xfrm>
        </p:spPr>
        <p:txBody>
          <a:bodyPr>
            <a:normAutofit/>
          </a:bodyPr>
          <a:lstStyle>
            <a:lvl1pPr marL="224926" indent="-224926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1pPr>
            <a:lvl2pPr marL="399577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2pPr>
            <a:lvl3pPr marL="561109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3pPr>
            <a:lvl4pPr marL="722641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4pPr>
            <a:lvl5pPr marL="884172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95537" y="1"/>
            <a:ext cx="6877115" cy="77670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875" b="1"/>
            </a:lvl1pPr>
            <a:lvl2pPr marL="323063" indent="0">
              <a:buNone/>
              <a:defRPr sz="1875" b="1"/>
            </a:lvl2pPr>
            <a:lvl3pPr marL="561109" indent="0">
              <a:buNone/>
              <a:defRPr sz="1875" b="1"/>
            </a:lvl3pPr>
            <a:lvl4pPr marL="799155" indent="0">
              <a:buNone/>
              <a:defRPr sz="1875" b="1"/>
            </a:lvl4pPr>
            <a:lvl5pPr marL="1037201" indent="0">
              <a:buNone/>
              <a:defRPr sz="1875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10489EE5-31C1-41D3-9A38-3DEBFE6B35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536" y="789965"/>
            <a:ext cx="8335263" cy="243000"/>
          </a:xfrm>
        </p:spPr>
        <p:txBody>
          <a:bodyPr>
            <a:noAutofit/>
          </a:bodyPr>
          <a:lstStyle>
            <a:lvl1pPr marL="0" indent="0">
              <a:lnSpc>
                <a:spcPts val="2053"/>
              </a:lnSpc>
              <a:spcBef>
                <a:spcPts val="0"/>
              </a:spcBef>
              <a:buNone/>
              <a:defRPr sz="1500" b="1" baseline="0">
                <a:latin typeface="+mn-lt"/>
              </a:defRPr>
            </a:lvl1pPr>
            <a:lvl2pPr marL="399577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2pPr>
            <a:lvl3pPr marL="561109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3pPr>
            <a:lvl4pPr marL="722641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4pPr>
            <a:lvl5pPr marL="884172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815999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2"/>
          <p:cNvSpPr>
            <a:spLocks noGrp="1"/>
          </p:cNvSpPr>
          <p:nvPr>
            <p:ph idx="1" hasCustomPrompt="1"/>
          </p:nvPr>
        </p:nvSpPr>
        <p:spPr>
          <a:xfrm>
            <a:off x="396001" y="1350001"/>
            <a:ext cx="8334798" cy="3105000"/>
          </a:xfrm>
          <a:prstGeom prst="rect">
            <a:avLst/>
          </a:prstGeom>
        </p:spPr>
        <p:txBody>
          <a:bodyPr vert="horz" lIns="108850" tIns="54425" rIns="108850" bIns="54425" rtlCol="0">
            <a:normAutofit/>
          </a:bodyPr>
          <a:lstStyle>
            <a:lvl1pPr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1pPr>
            <a:lvl2pPr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2pPr>
            <a:lvl3pPr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3pPr>
            <a:lvl4pPr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4pPr>
            <a:lvl5pPr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95537" y="1"/>
            <a:ext cx="6877115" cy="77670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875" b="1"/>
            </a:lvl1pPr>
            <a:lvl2pPr marL="323063" indent="0">
              <a:buNone/>
              <a:defRPr sz="1875" b="1"/>
            </a:lvl2pPr>
            <a:lvl3pPr marL="561109" indent="0">
              <a:buNone/>
              <a:defRPr sz="1875" b="1"/>
            </a:lvl3pPr>
            <a:lvl4pPr marL="799155" indent="0">
              <a:buNone/>
              <a:defRPr sz="1875" b="1"/>
            </a:lvl4pPr>
            <a:lvl5pPr marL="1037201" indent="0">
              <a:buNone/>
              <a:defRPr sz="1875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FD9BD27-1F87-4142-ABA6-72E9C4A32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536" y="789965"/>
            <a:ext cx="8335263" cy="243000"/>
          </a:xfrm>
        </p:spPr>
        <p:txBody>
          <a:bodyPr>
            <a:noAutofit/>
          </a:bodyPr>
          <a:lstStyle>
            <a:lvl1pPr marL="0" indent="0">
              <a:lnSpc>
                <a:spcPts val="2053"/>
              </a:lnSpc>
              <a:spcBef>
                <a:spcPts val="0"/>
              </a:spcBef>
              <a:buNone/>
              <a:defRPr sz="1500" b="1" baseline="0">
                <a:latin typeface="+mn-lt"/>
              </a:defRPr>
            </a:lvl1pPr>
            <a:lvl2pPr marL="399577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2pPr>
            <a:lvl3pPr marL="561109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3pPr>
            <a:lvl4pPr marL="722641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4pPr>
            <a:lvl5pPr marL="884172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1852451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10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" name="Google Shape;103;p10"/>
          <p:cNvGrpSpPr/>
          <p:nvPr/>
        </p:nvGrpSpPr>
        <p:grpSpPr>
          <a:xfrm>
            <a:off x="270750" y="305956"/>
            <a:ext cx="7172425" cy="3514294"/>
            <a:chOff x="270750" y="305956"/>
            <a:chExt cx="7172425" cy="3514294"/>
          </a:xfrm>
        </p:grpSpPr>
        <p:sp>
          <p:nvSpPr>
            <p:cNvPr id="104" name="Google Shape;104;p10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" name="Google Shape;105;p10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" name="Google Shape;106;p10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7" name="Google Shape;107;p10"/>
          <p:cNvSpPr txBox="1">
            <a:spLocks noGrp="1"/>
          </p:cNvSpPr>
          <p:nvPr>
            <p:ph type="body" idx="1"/>
          </p:nvPr>
        </p:nvSpPr>
        <p:spPr>
          <a:xfrm>
            <a:off x="1064175" y="3620975"/>
            <a:ext cx="35079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sfolie 2 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agonal liegende Ecken des Rechtecks abrunden 7"/>
          <p:cNvSpPr/>
          <p:nvPr userDrawn="1"/>
        </p:nvSpPr>
        <p:spPr>
          <a:xfrm>
            <a:off x="4680000" y="1350001"/>
            <a:ext cx="4050799" cy="3105000"/>
          </a:xfrm>
          <a:prstGeom prst="round2DiagRect">
            <a:avLst>
              <a:gd name="adj1" fmla="val 6982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19" tIns="40809" rIns="81619" bIns="40809" rtlCol="0" anchor="ctr"/>
          <a:lstStyle/>
          <a:p>
            <a:pPr algn="ctr"/>
            <a:endParaRPr lang="de-DE" sz="1050"/>
          </a:p>
        </p:txBody>
      </p:sp>
      <p:sp>
        <p:nvSpPr>
          <p:cNvPr id="2" name="Diagonal liegende Ecken des Rechtecks abrunden 1"/>
          <p:cNvSpPr/>
          <p:nvPr userDrawn="1"/>
        </p:nvSpPr>
        <p:spPr>
          <a:xfrm>
            <a:off x="395536" y="1350001"/>
            <a:ext cx="4068000" cy="3105000"/>
          </a:xfrm>
          <a:prstGeom prst="round2DiagRect">
            <a:avLst>
              <a:gd name="adj1" fmla="val 6982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19" tIns="40809" rIns="81619" bIns="40809" rtlCol="0" anchor="ctr"/>
          <a:lstStyle/>
          <a:p>
            <a:pPr algn="ctr"/>
            <a:endParaRPr lang="de-DE" sz="105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576000" y="1485001"/>
            <a:ext cx="3708000" cy="2835000"/>
          </a:xfrm>
        </p:spPr>
        <p:txBody>
          <a:bodyPr>
            <a:normAutofit/>
          </a:bodyPr>
          <a:lstStyle>
            <a:lvl1pPr marL="224926" indent="-224926">
              <a:lnSpc>
                <a:spcPts val="2053"/>
              </a:lnSpc>
              <a:spcBef>
                <a:spcPts val="0"/>
              </a:spcBef>
              <a:buClr>
                <a:schemeClr val="bg1"/>
              </a:buClr>
              <a:defRPr sz="1500">
                <a:solidFill>
                  <a:schemeClr val="bg2"/>
                </a:solidFill>
                <a:latin typeface="+mn-lt"/>
              </a:defRPr>
            </a:lvl1pPr>
            <a:lvl2pPr marL="399577" indent="-161532">
              <a:lnSpc>
                <a:spcPts val="2053"/>
              </a:lnSpc>
              <a:spcBef>
                <a:spcPts val="0"/>
              </a:spcBef>
              <a:buClr>
                <a:schemeClr val="bg1"/>
              </a:buClr>
              <a:defRPr sz="1500">
                <a:solidFill>
                  <a:schemeClr val="bg2"/>
                </a:solidFill>
                <a:latin typeface="+mn-lt"/>
              </a:defRPr>
            </a:lvl2pPr>
            <a:lvl3pPr marL="561109" indent="-161532">
              <a:lnSpc>
                <a:spcPts val="2053"/>
              </a:lnSpc>
              <a:spcBef>
                <a:spcPts val="0"/>
              </a:spcBef>
              <a:buClr>
                <a:schemeClr val="bg1"/>
              </a:buClr>
              <a:defRPr sz="1500">
                <a:solidFill>
                  <a:schemeClr val="bg2"/>
                </a:solidFill>
                <a:latin typeface="+mn-lt"/>
              </a:defRPr>
            </a:lvl3pPr>
            <a:lvl4pPr marL="722641" indent="-161532">
              <a:lnSpc>
                <a:spcPts val="2053"/>
              </a:lnSpc>
              <a:spcBef>
                <a:spcPts val="0"/>
              </a:spcBef>
              <a:buClr>
                <a:schemeClr val="bg1"/>
              </a:buClr>
              <a:defRPr sz="1500">
                <a:solidFill>
                  <a:schemeClr val="bg2"/>
                </a:solidFill>
                <a:latin typeface="+mn-lt"/>
              </a:defRPr>
            </a:lvl4pPr>
            <a:lvl5pPr marL="884172" indent="-161532">
              <a:lnSpc>
                <a:spcPts val="2053"/>
              </a:lnSpc>
              <a:spcBef>
                <a:spcPts val="0"/>
              </a:spcBef>
              <a:buClr>
                <a:schemeClr val="bg1"/>
              </a:buClr>
              <a:defRPr sz="150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860000" y="1485001"/>
            <a:ext cx="3708000" cy="2835000"/>
          </a:xfrm>
        </p:spPr>
        <p:txBody>
          <a:bodyPr>
            <a:normAutofit/>
          </a:bodyPr>
          <a:lstStyle>
            <a:lvl1pPr marL="224926" indent="-224926">
              <a:lnSpc>
                <a:spcPts val="2053"/>
              </a:lnSpc>
              <a:spcBef>
                <a:spcPts val="0"/>
              </a:spcBef>
              <a:buClr>
                <a:schemeClr val="bg1"/>
              </a:buClr>
              <a:defRPr sz="1500">
                <a:solidFill>
                  <a:schemeClr val="bg2"/>
                </a:solidFill>
                <a:latin typeface="+mn-lt"/>
              </a:defRPr>
            </a:lvl1pPr>
            <a:lvl2pPr marL="399577" indent="-161532">
              <a:lnSpc>
                <a:spcPts val="2053"/>
              </a:lnSpc>
              <a:spcBef>
                <a:spcPts val="0"/>
              </a:spcBef>
              <a:buClr>
                <a:schemeClr val="bg1"/>
              </a:buClr>
              <a:defRPr sz="1500">
                <a:solidFill>
                  <a:schemeClr val="bg2"/>
                </a:solidFill>
                <a:latin typeface="+mn-lt"/>
              </a:defRPr>
            </a:lvl2pPr>
            <a:lvl3pPr marL="561109" indent="-161532">
              <a:lnSpc>
                <a:spcPts val="2053"/>
              </a:lnSpc>
              <a:spcBef>
                <a:spcPts val="0"/>
              </a:spcBef>
              <a:buClr>
                <a:schemeClr val="bg1"/>
              </a:buClr>
              <a:defRPr sz="1500">
                <a:solidFill>
                  <a:schemeClr val="bg2"/>
                </a:solidFill>
                <a:latin typeface="+mn-lt"/>
              </a:defRPr>
            </a:lvl3pPr>
            <a:lvl4pPr marL="722641" indent="-161532">
              <a:lnSpc>
                <a:spcPts val="2053"/>
              </a:lnSpc>
              <a:spcBef>
                <a:spcPts val="0"/>
              </a:spcBef>
              <a:buClr>
                <a:schemeClr val="bg1"/>
              </a:buClr>
              <a:defRPr sz="1500">
                <a:solidFill>
                  <a:schemeClr val="bg2"/>
                </a:solidFill>
                <a:latin typeface="+mn-lt"/>
              </a:defRPr>
            </a:lvl4pPr>
            <a:lvl5pPr marL="884172" indent="-161532">
              <a:lnSpc>
                <a:spcPts val="2053"/>
              </a:lnSpc>
              <a:spcBef>
                <a:spcPts val="0"/>
              </a:spcBef>
              <a:buClr>
                <a:schemeClr val="bg1"/>
              </a:buClr>
              <a:defRPr sz="150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95537" y="1"/>
            <a:ext cx="6877115" cy="77670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875" b="1"/>
            </a:lvl1pPr>
            <a:lvl2pPr marL="323063" indent="0">
              <a:buNone/>
              <a:defRPr sz="1875" b="1"/>
            </a:lvl2pPr>
            <a:lvl3pPr marL="561109" indent="0">
              <a:buNone/>
              <a:defRPr sz="1875" b="1"/>
            </a:lvl3pPr>
            <a:lvl4pPr marL="799155" indent="0">
              <a:buNone/>
              <a:defRPr sz="1875" b="1"/>
            </a:lvl4pPr>
            <a:lvl5pPr marL="1037201" indent="0">
              <a:buNone/>
              <a:defRPr sz="1875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8191BFA1-471A-468F-AEB8-6E9EA2BF88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536" y="789965"/>
            <a:ext cx="8335263" cy="243000"/>
          </a:xfrm>
        </p:spPr>
        <p:txBody>
          <a:bodyPr>
            <a:noAutofit/>
          </a:bodyPr>
          <a:lstStyle>
            <a:lvl1pPr marL="0" indent="0">
              <a:lnSpc>
                <a:spcPts val="2053"/>
              </a:lnSpc>
              <a:spcBef>
                <a:spcPts val="0"/>
              </a:spcBef>
              <a:buNone/>
              <a:defRPr sz="1500" b="1" baseline="0">
                <a:latin typeface="+mn-lt"/>
              </a:defRPr>
            </a:lvl1pPr>
            <a:lvl2pPr marL="399577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2pPr>
            <a:lvl3pPr marL="561109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3pPr>
            <a:lvl4pPr marL="722641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4pPr>
            <a:lvl5pPr marL="884172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275840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95537" y="1"/>
            <a:ext cx="6877115" cy="77670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875" b="1"/>
            </a:lvl1pPr>
            <a:lvl2pPr marL="323063" indent="0">
              <a:buNone/>
              <a:defRPr sz="1875" b="1"/>
            </a:lvl2pPr>
            <a:lvl3pPr marL="561109" indent="0">
              <a:buNone/>
              <a:defRPr sz="1875" b="1"/>
            </a:lvl3pPr>
            <a:lvl4pPr marL="799155" indent="0">
              <a:buNone/>
              <a:defRPr sz="1875" b="1"/>
            </a:lvl4pPr>
            <a:lvl5pPr marL="1037201" indent="0">
              <a:buNone/>
              <a:defRPr sz="1875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0" y="4407529"/>
            <a:ext cx="9144000" cy="7359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>
              <a:solidFill>
                <a:schemeClr val="bg1"/>
              </a:solidFill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778489"/>
            <a:ext cx="9144000" cy="4365012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über ganze Breite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5382326" y="2840174"/>
            <a:ext cx="3348473" cy="1890275"/>
          </a:xfrm>
          <a:prstGeom prst="round2DiagRect">
            <a:avLst>
              <a:gd name="adj1" fmla="val 13513"/>
              <a:gd name="adj2" fmla="val 0"/>
            </a:avLst>
          </a:prstGeom>
          <a:solidFill>
            <a:schemeClr val="accent2"/>
          </a:solidFill>
        </p:spPr>
        <p:txBody>
          <a:bodyPr/>
          <a:lstStyle>
            <a:lvl1pPr marL="257106" indent="-257106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 marL="537318" indent="-214255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2pPr>
            <a:lvl3pPr marL="775364" indent="-214255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013410" indent="-214255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4pPr>
            <a:lvl5pPr marL="1251457" indent="-214255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744221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Bild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395288" y="1350001"/>
            <a:ext cx="4068000" cy="3105000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de-DE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680000" y="1350001"/>
            <a:ext cx="4050799" cy="3105000"/>
          </a:xfrm>
        </p:spPr>
        <p:txBody>
          <a:bodyPr>
            <a:normAutofit/>
          </a:bodyPr>
          <a:lstStyle>
            <a:lvl1pPr marL="224926" indent="-224926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1pPr>
            <a:lvl2pPr marL="399577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2pPr>
            <a:lvl3pPr marL="561109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3pPr>
            <a:lvl4pPr marL="722641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4pPr>
            <a:lvl5pPr marL="884172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95537" y="1"/>
            <a:ext cx="6877115" cy="77670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875" b="1"/>
            </a:lvl1pPr>
            <a:lvl2pPr marL="323063" indent="0">
              <a:buNone/>
              <a:defRPr sz="1875" b="1"/>
            </a:lvl2pPr>
            <a:lvl3pPr marL="561109" indent="0">
              <a:buNone/>
              <a:defRPr sz="1875" b="1"/>
            </a:lvl3pPr>
            <a:lvl4pPr marL="799155" indent="0">
              <a:buNone/>
              <a:defRPr sz="1875" b="1"/>
            </a:lvl4pPr>
            <a:lvl5pPr marL="1037201" indent="0">
              <a:buNone/>
              <a:defRPr sz="1875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BCDCC0B3-CEC5-4577-B403-5DB9A40319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536" y="789965"/>
            <a:ext cx="8335263" cy="243000"/>
          </a:xfrm>
        </p:spPr>
        <p:txBody>
          <a:bodyPr>
            <a:noAutofit/>
          </a:bodyPr>
          <a:lstStyle>
            <a:lvl1pPr marL="0" indent="0">
              <a:lnSpc>
                <a:spcPts val="2053"/>
              </a:lnSpc>
              <a:spcBef>
                <a:spcPts val="0"/>
              </a:spcBef>
              <a:buNone/>
              <a:defRPr sz="1500" b="1" baseline="0">
                <a:latin typeface="+mn-lt"/>
              </a:defRPr>
            </a:lvl1pPr>
            <a:lvl2pPr marL="399577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2pPr>
            <a:lvl3pPr marL="561109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3pPr>
            <a:lvl4pPr marL="722641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4pPr>
            <a:lvl5pPr marL="884172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1577147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 (Bild/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95537" y="1"/>
            <a:ext cx="6877115" cy="77670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875" b="1"/>
            </a:lvl1pPr>
            <a:lvl2pPr marL="323063" indent="0">
              <a:buNone/>
              <a:defRPr sz="1875" b="1"/>
            </a:lvl2pPr>
            <a:lvl3pPr marL="561109" indent="0">
              <a:buNone/>
              <a:defRPr sz="1875" b="1"/>
            </a:lvl3pPr>
            <a:lvl4pPr marL="799155" indent="0">
              <a:buNone/>
              <a:defRPr sz="1875" b="1"/>
            </a:lvl4pPr>
            <a:lvl5pPr marL="1037201" indent="0">
              <a:buNone/>
              <a:defRPr sz="1875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400102" y="1437887"/>
            <a:ext cx="2605520" cy="1349687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5" name="Bildplatzhalter 3"/>
          <p:cNvSpPr>
            <a:spLocks noGrp="1"/>
          </p:cNvSpPr>
          <p:nvPr>
            <p:ph type="pic" sz="quarter" idx="16"/>
          </p:nvPr>
        </p:nvSpPr>
        <p:spPr>
          <a:xfrm>
            <a:off x="3262691" y="1437887"/>
            <a:ext cx="2605520" cy="1349687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3" name="Bildplatzhalter 3"/>
          <p:cNvSpPr>
            <a:spLocks noGrp="1"/>
          </p:cNvSpPr>
          <p:nvPr>
            <p:ph type="pic" sz="quarter" idx="17"/>
          </p:nvPr>
        </p:nvSpPr>
        <p:spPr>
          <a:xfrm>
            <a:off x="6125279" y="1437887"/>
            <a:ext cx="2605520" cy="1349687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00102" y="2841718"/>
            <a:ext cx="2605839" cy="1673798"/>
          </a:xfrm>
        </p:spPr>
        <p:txBody>
          <a:bodyPr>
            <a:normAutofit/>
          </a:bodyPr>
          <a:lstStyle>
            <a:lvl1pPr marL="224926" indent="-224926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1pPr>
            <a:lvl2pPr marL="399577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2pPr>
            <a:lvl3pPr marL="561109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3pPr>
            <a:lvl4pPr marL="722641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4pPr>
            <a:lvl5pPr marL="884172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3262531" y="2841718"/>
            <a:ext cx="2605839" cy="1673798"/>
          </a:xfrm>
        </p:spPr>
        <p:txBody>
          <a:bodyPr>
            <a:normAutofit/>
          </a:bodyPr>
          <a:lstStyle>
            <a:lvl1pPr marL="224926" indent="-224926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1pPr>
            <a:lvl2pPr marL="399577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2pPr>
            <a:lvl3pPr marL="561109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3pPr>
            <a:lvl4pPr marL="722641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4pPr>
            <a:lvl5pPr marL="884172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6124960" y="2841718"/>
            <a:ext cx="2605839" cy="1673798"/>
          </a:xfrm>
        </p:spPr>
        <p:txBody>
          <a:bodyPr>
            <a:normAutofit/>
          </a:bodyPr>
          <a:lstStyle>
            <a:lvl1pPr marL="224926" indent="-224926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1pPr>
            <a:lvl2pPr marL="399577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2pPr>
            <a:lvl3pPr marL="561109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3pPr>
            <a:lvl4pPr marL="722641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4pPr>
            <a:lvl5pPr marL="884172" indent="-161532">
              <a:lnSpc>
                <a:spcPts val="2053"/>
              </a:lnSpc>
              <a:spcBef>
                <a:spcPts val="0"/>
              </a:spcBef>
              <a:defRPr sz="1500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D87AD2DF-7C56-49EE-83F7-202DDA5C16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536" y="789965"/>
            <a:ext cx="8335263" cy="243000"/>
          </a:xfrm>
        </p:spPr>
        <p:txBody>
          <a:bodyPr>
            <a:noAutofit/>
          </a:bodyPr>
          <a:lstStyle>
            <a:lvl1pPr marL="0" indent="0">
              <a:lnSpc>
                <a:spcPts val="2053"/>
              </a:lnSpc>
              <a:spcBef>
                <a:spcPts val="0"/>
              </a:spcBef>
              <a:buNone/>
              <a:defRPr sz="1500" b="1" baseline="0">
                <a:latin typeface="+mn-lt"/>
              </a:defRPr>
            </a:lvl1pPr>
            <a:lvl2pPr marL="399577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2pPr>
            <a:lvl3pPr marL="561109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3pPr>
            <a:lvl4pPr marL="722641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4pPr>
            <a:lvl5pPr marL="884172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1307350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395288" y="1350001"/>
            <a:ext cx="8335511" cy="3105000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95537" y="1"/>
            <a:ext cx="6877115" cy="77670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875" b="1"/>
            </a:lvl1pPr>
            <a:lvl2pPr marL="323063" indent="0">
              <a:buNone/>
              <a:defRPr sz="1875" b="1"/>
            </a:lvl2pPr>
            <a:lvl3pPr marL="561109" indent="0">
              <a:buNone/>
              <a:defRPr sz="1875" b="1"/>
            </a:lvl3pPr>
            <a:lvl4pPr marL="799155" indent="0">
              <a:buNone/>
              <a:defRPr sz="1875" b="1"/>
            </a:lvl4pPr>
            <a:lvl5pPr marL="1037201" indent="0">
              <a:buNone/>
              <a:defRPr sz="1875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6900BB5A-A141-48A8-8142-4FDDA5CDA5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536" y="789965"/>
            <a:ext cx="8335263" cy="243000"/>
          </a:xfrm>
        </p:spPr>
        <p:txBody>
          <a:bodyPr>
            <a:noAutofit/>
          </a:bodyPr>
          <a:lstStyle>
            <a:lvl1pPr marL="0" indent="0">
              <a:lnSpc>
                <a:spcPts val="2053"/>
              </a:lnSpc>
              <a:spcBef>
                <a:spcPts val="0"/>
              </a:spcBef>
              <a:buNone/>
              <a:defRPr sz="1500" b="1" baseline="0">
                <a:latin typeface="+mn-lt"/>
              </a:defRPr>
            </a:lvl1pPr>
            <a:lvl2pPr marL="399577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2pPr>
            <a:lvl3pPr marL="561109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3pPr>
            <a:lvl4pPr marL="722641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4pPr>
            <a:lvl5pPr marL="884172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672405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-Vo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95537" y="1"/>
            <a:ext cx="6877115" cy="77670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875" b="1"/>
            </a:lvl1pPr>
            <a:lvl2pPr marL="323063" indent="0">
              <a:buNone/>
              <a:defRPr sz="1875" b="1"/>
            </a:lvl2pPr>
            <a:lvl3pPr marL="561109" indent="0">
              <a:buNone/>
              <a:defRPr sz="1875" b="1"/>
            </a:lvl3pPr>
            <a:lvl4pPr marL="799155" indent="0">
              <a:buNone/>
              <a:defRPr sz="1875" b="1"/>
            </a:lvl4pPr>
            <a:lvl5pPr marL="1037201" indent="0">
              <a:buNone/>
              <a:defRPr sz="1875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400102" y="1491880"/>
            <a:ext cx="1957755" cy="1957047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16"/>
          </p:nvPr>
        </p:nvSpPr>
        <p:spPr>
          <a:xfrm>
            <a:off x="2524416" y="1491880"/>
            <a:ext cx="1957755" cy="1957047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7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648730" y="1491880"/>
            <a:ext cx="1957755" cy="1957047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8" name="Bildplatzhalter 3"/>
          <p:cNvSpPr>
            <a:spLocks noGrp="1"/>
          </p:cNvSpPr>
          <p:nvPr>
            <p:ph type="pic" sz="quarter" idx="18"/>
          </p:nvPr>
        </p:nvSpPr>
        <p:spPr>
          <a:xfrm>
            <a:off x="6773044" y="1491880"/>
            <a:ext cx="1957755" cy="1957047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00102" y="3489640"/>
            <a:ext cx="1957363" cy="924516"/>
          </a:xfrm>
        </p:spPr>
        <p:txBody>
          <a:bodyPr>
            <a:noAutofit/>
          </a:bodyPr>
          <a:lstStyle>
            <a:lvl1pPr marL="0" indent="0">
              <a:lnSpc>
                <a:spcPts val="2053"/>
              </a:lnSpc>
              <a:spcBef>
                <a:spcPts val="0"/>
              </a:spcBef>
              <a:buNone/>
              <a:defRPr sz="1500" b="0">
                <a:latin typeface="+mn-lt"/>
              </a:defRPr>
            </a:lvl1pPr>
            <a:lvl2pPr marL="238046" indent="0">
              <a:lnSpc>
                <a:spcPts val="2053"/>
              </a:lnSpc>
              <a:spcBef>
                <a:spcPts val="0"/>
              </a:spcBef>
              <a:buNone/>
              <a:defRPr sz="1350">
                <a:latin typeface="+mn-lt"/>
              </a:defRPr>
            </a:lvl2pPr>
            <a:lvl3pPr marL="399577" indent="0">
              <a:lnSpc>
                <a:spcPts val="2053"/>
              </a:lnSpc>
              <a:spcBef>
                <a:spcPts val="0"/>
              </a:spcBef>
              <a:buNone/>
              <a:defRPr sz="1350">
                <a:latin typeface="+mn-lt"/>
              </a:defRPr>
            </a:lvl3pPr>
            <a:lvl4pPr marL="561109" indent="0">
              <a:lnSpc>
                <a:spcPts val="2053"/>
              </a:lnSpc>
              <a:spcBef>
                <a:spcPts val="0"/>
              </a:spcBef>
              <a:buNone/>
              <a:defRPr sz="1350">
                <a:latin typeface="+mn-lt"/>
              </a:defRPr>
            </a:lvl4pPr>
            <a:lvl5pPr marL="722640" indent="0">
              <a:lnSpc>
                <a:spcPts val="2053"/>
              </a:lnSpc>
              <a:spcBef>
                <a:spcPts val="0"/>
              </a:spcBef>
              <a:buNone/>
              <a:defRPr sz="1350">
                <a:latin typeface="+mn-lt"/>
              </a:defRPr>
            </a:lvl5pPr>
          </a:lstStyle>
          <a:p>
            <a:pPr lvl="0"/>
            <a:r>
              <a:rPr lang="de-DE" dirty="0"/>
              <a:t>Vor- und Nachname</a:t>
            </a:r>
          </a:p>
          <a:p>
            <a:pPr lvl="0"/>
            <a:r>
              <a:rPr lang="de-DE" dirty="0"/>
              <a:t>Position</a:t>
            </a:r>
          </a:p>
          <a:p>
            <a:pPr lvl="0"/>
            <a:r>
              <a:rPr lang="de-DE" dirty="0"/>
              <a:t>E-Mail</a:t>
            </a:r>
            <a:br>
              <a:rPr lang="de-DE" dirty="0"/>
            </a:br>
            <a:endParaRPr lang="de-DE" dirty="0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2524547" y="3489640"/>
            <a:ext cx="1957363" cy="924516"/>
          </a:xfrm>
        </p:spPr>
        <p:txBody>
          <a:bodyPr>
            <a:noAutofit/>
          </a:bodyPr>
          <a:lstStyle>
            <a:lvl1pPr marL="0" indent="0">
              <a:lnSpc>
                <a:spcPts val="2053"/>
              </a:lnSpc>
              <a:spcBef>
                <a:spcPts val="0"/>
              </a:spcBef>
              <a:buNone/>
              <a:defRPr sz="1500" b="0">
                <a:latin typeface="+mn-lt"/>
              </a:defRPr>
            </a:lvl1pPr>
            <a:lvl2pPr marL="238046" indent="0">
              <a:lnSpc>
                <a:spcPts val="2053"/>
              </a:lnSpc>
              <a:spcBef>
                <a:spcPts val="0"/>
              </a:spcBef>
              <a:buNone/>
              <a:defRPr sz="1350">
                <a:latin typeface="+mn-lt"/>
              </a:defRPr>
            </a:lvl2pPr>
            <a:lvl3pPr marL="399577" indent="0">
              <a:lnSpc>
                <a:spcPts val="2053"/>
              </a:lnSpc>
              <a:spcBef>
                <a:spcPts val="0"/>
              </a:spcBef>
              <a:buNone/>
              <a:defRPr sz="1350">
                <a:latin typeface="+mn-lt"/>
              </a:defRPr>
            </a:lvl3pPr>
            <a:lvl4pPr marL="561109" indent="0">
              <a:lnSpc>
                <a:spcPts val="2053"/>
              </a:lnSpc>
              <a:spcBef>
                <a:spcPts val="0"/>
              </a:spcBef>
              <a:buNone/>
              <a:defRPr sz="1350">
                <a:latin typeface="+mn-lt"/>
              </a:defRPr>
            </a:lvl4pPr>
            <a:lvl5pPr marL="722640" indent="0">
              <a:lnSpc>
                <a:spcPts val="2053"/>
              </a:lnSpc>
              <a:spcBef>
                <a:spcPts val="0"/>
              </a:spcBef>
              <a:buNone/>
              <a:defRPr sz="1350">
                <a:latin typeface="+mn-lt"/>
              </a:defRPr>
            </a:lvl5pPr>
          </a:lstStyle>
          <a:p>
            <a:pPr lvl="0"/>
            <a:r>
              <a:rPr lang="de-DE" dirty="0"/>
              <a:t>Vor- und Nachname</a:t>
            </a:r>
          </a:p>
          <a:p>
            <a:pPr lvl="0"/>
            <a:r>
              <a:rPr lang="de-DE" dirty="0"/>
              <a:t>Position</a:t>
            </a:r>
          </a:p>
          <a:p>
            <a:pPr lvl="0"/>
            <a:r>
              <a:rPr lang="de-DE" dirty="0"/>
              <a:t>E-Mail</a:t>
            </a:r>
            <a:br>
              <a:rPr lang="de-DE" dirty="0"/>
            </a:br>
            <a:endParaRPr lang="de-DE" dirty="0"/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648991" y="3489640"/>
            <a:ext cx="1957363" cy="924516"/>
          </a:xfrm>
        </p:spPr>
        <p:txBody>
          <a:bodyPr>
            <a:noAutofit/>
          </a:bodyPr>
          <a:lstStyle>
            <a:lvl1pPr marL="0" indent="0">
              <a:lnSpc>
                <a:spcPts val="2053"/>
              </a:lnSpc>
              <a:spcBef>
                <a:spcPts val="0"/>
              </a:spcBef>
              <a:buNone/>
              <a:defRPr sz="1500" b="0">
                <a:latin typeface="+mn-lt"/>
              </a:defRPr>
            </a:lvl1pPr>
            <a:lvl2pPr marL="238046" indent="0">
              <a:lnSpc>
                <a:spcPts val="2053"/>
              </a:lnSpc>
              <a:spcBef>
                <a:spcPts val="0"/>
              </a:spcBef>
              <a:buNone/>
              <a:defRPr sz="1350">
                <a:latin typeface="+mn-lt"/>
              </a:defRPr>
            </a:lvl2pPr>
            <a:lvl3pPr marL="399577" indent="0">
              <a:lnSpc>
                <a:spcPts val="2053"/>
              </a:lnSpc>
              <a:spcBef>
                <a:spcPts val="0"/>
              </a:spcBef>
              <a:buNone/>
              <a:defRPr sz="1350">
                <a:latin typeface="+mn-lt"/>
              </a:defRPr>
            </a:lvl3pPr>
            <a:lvl4pPr marL="561109" indent="0">
              <a:lnSpc>
                <a:spcPts val="2053"/>
              </a:lnSpc>
              <a:spcBef>
                <a:spcPts val="0"/>
              </a:spcBef>
              <a:buNone/>
              <a:defRPr sz="1350">
                <a:latin typeface="+mn-lt"/>
              </a:defRPr>
            </a:lvl4pPr>
            <a:lvl5pPr marL="722640" indent="0">
              <a:lnSpc>
                <a:spcPts val="2053"/>
              </a:lnSpc>
              <a:spcBef>
                <a:spcPts val="0"/>
              </a:spcBef>
              <a:buNone/>
              <a:defRPr sz="1350">
                <a:latin typeface="+mn-lt"/>
              </a:defRPr>
            </a:lvl5pPr>
          </a:lstStyle>
          <a:p>
            <a:pPr lvl="0"/>
            <a:r>
              <a:rPr lang="de-DE" dirty="0"/>
              <a:t>Vor- und Nachname</a:t>
            </a:r>
          </a:p>
          <a:p>
            <a:pPr lvl="0"/>
            <a:r>
              <a:rPr lang="de-DE" dirty="0"/>
              <a:t>Position</a:t>
            </a:r>
          </a:p>
          <a:p>
            <a:pPr lvl="0"/>
            <a:r>
              <a:rPr lang="de-DE" dirty="0"/>
              <a:t>E-Mail</a:t>
            </a:r>
            <a:br>
              <a:rPr lang="de-DE" dirty="0"/>
            </a:br>
            <a:endParaRPr lang="de-DE" dirty="0"/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6773436" y="3489640"/>
            <a:ext cx="1957363" cy="924516"/>
          </a:xfrm>
        </p:spPr>
        <p:txBody>
          <a:bodyPr>
            <a:noAutofit/>
          </a:bodyPr>
          <a:lstStyle>
            <a:lvl1pPr marL="0" indent="0">
              <a:lnSpc>
                <a:spcPts val="2053"/>
              </a:lnSpc>
              <a:spcBef>
                <a:spcPts val="0"/>
              </a:spcBef>
              <a:buNone/>
              <a:defRPr sz="1500" b="0">
                <a:latin typeface="+mn-lt"/>
              </a:defRPr>
            </a:lvl1pPr>
            <a:lvl2pPr marL="238046" indent="0">
              <a:lnSpc>
                <a:spcPts val="2053"/>
              </a:lnSpc>
              <a:spcBef>
                <a:spcPts val="0"/>
              </a:spcBef>
              <a:buNone/>
              <a:defRPr sz="1350">
                <a:latin typeface="+mn-lt"/>
              </a:defRPr>
            </a:lvl2pPr>
            <a:lvl3pPr marL="399577" indent="0">
              <a:lnSpc>
                <a:spcPts val="2053"/>
              </a:lnSpc>
              <a:spcBef>
                <a:spcPts val="0"/>
              </a:spcBef>
              <a:buNone/>
              <a:defRPr sz="1350">
                <a:latin typeface="+mn-lt"/>
              </a:defRPr>
            </a:lvl3pPr>
            <a:lvl4pPr marL="561109" indent="0">
              <a:lnSpc>
                <a:spcPts val="2053"/>
              </a:lnSpc>
              <a:spcBef>
                <a:spcPts val="0"/>
              </a:spcBef>
              <a:buNone/>
              <a:defRPr sz="1350">
                <a:latin typeface="+mn-lt"/>
              </a:defRPr>
            </a:lvl4pPr>
            <a:lvl5pPr marL="722640" indent="0">
              <a:lnSpc>
                <a:spcPts val="2053"/>
              </a:lnSpc>
              <a:spcBef>
                <a:spcPts val="0"/>
              </a:spcBef>
              <a:buNone/>
              <a:defRPr sz="1350">
                <a:latin typeface="+mn-lt"/>
              </a:defRPr>
            </a:lvl5pPr>
          </a:lstStyle>
          <a:p>
            <a:pPr lvl="0"/>
            <a:r>
              <a:rPr lang="de-DE" dirty="0"/>
              <a:t>Vor- und Nachname</a:t>
            </a:r>
          </a:p>
          <a:p>
            <a:pPr lvl="0"/>
            <a:r>
              <a:rPr lang="de-DE" dirty="0"/>
              <a:t>Position</a:t>
            </a:r>
          </a:p>
          <a:p>
            <a:pPr lvl="0"/>
            <a:r>
              <a:rPr lang="de-DE" dirty="0"/>
              <a:t>E-Mail</a:t>
            </a:r>
            <a:br>
              <a:rPr lang="de-DE" dirty="0"/>
            </a:br>
            <a:endParaRPr lang="de-DE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2A71EA00-671D-47DD-9444-5631E2E8BF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536" y="789965"/>
            <a:ext cx="8335263" cy="243000"/>
          </a:xfrm>
        </p:spPr>
        <p:txBody>
          <a:bodyPr>
            <a:noAutofit/>
          </a:bodyPr>
          <a:lstStyle>
            <a:lvl1pPr marL="0" indent="0">
              <a:lnSpc>
                <a:spcPts val="2053"/>
              </a:lnSpc>
              <a:spcBef>
                <a:spcPts val="0"/>
              </a:spcBef>
              <a:buNone/>
              <a:defRPr sz="1500" b="1" baseline="0">
                <a:latin typeface="+mn-lt"/>
              </a:defRPr>
            </a:lvl1pPr>
            <a:lvl2pPr marL="399577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2pPr>
            <a:lvl3pPr marL="561109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3pPr>
            <a:lvl4pPr marL="722641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4pPr>
            <a:lvl5pPr marL="884172" indent="-161532">
              <a:lnSpc>
                <a:spcPts val="2053"/>
              </a:lnSpc>
              <a:spcBef>
                <a:spcPts val="0"/>
              </a:spcBef>
              <a:defRPr sz="1725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2059118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04424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" name="Google Shape;110;p11"/>
          <p:cNvSpPr txBox="1">
            <a:spLocks noGrp="1"/>
          </p:cNvSpPr>
          <p:nvPr>
            <p:ph type="title" hasCustomPrompt="1"/>
          </p:nvPr>
        </p:nvSpPr>
        <p:spPr>
          <a:xfrm>
            <a:off x="2616450" y="1487125"/>
            <a:ext cx="3911100" cy="148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00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111" name="Google Shape;111;p11"/>
          <p:cNvSpPr txBox="1">
            <a:spLocks noGrp="1"/>
          </p:cNvSpPr>
          <p:nvPr>
            <p:ph type="body" idx="1"/>
          </p:nvPr>
        </p:nvSpPr>
        <p:spPr>
          <a:xfrm>
            <a:off x="1406200" y="3153475"/>
            <a:ext cx="5502000" cy="1698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12" name="Google Shape;112;p11"/>
          <p:cNvGrpSpPr/>
          <p:nvPr/>
        </p:nvGrpSpPr>
        <p:grpSpPr>
          <a:xfrm>
            <a:off x="270750" y="253149"/>
            <a:ext cx="8627325" cy="4089001"/>
            <a:chOff x="270750" y="253149"/>
            <a:chExt cx="8627325" cy="4089001"/>
          </a:xfrm>
        </p:grpSpPr>
        <p:sp>
          <p:nvSpPr>
            <p:cNvPr id="113" name="Google Shape;113;p11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11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" name="Google Shape;115;p11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" name="Google Shape;116;p11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Google Shape;117;p11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CUSTOM_8_1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3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" name="Google Shape;121;p13"/>
          <p:cNvSpPr txBox="1">
            <a:spLocks noGrp="1"/>
          </p:cNvSpPr>
          <p:nvPr>
            <p:ph type="ctrTitle"/>
          </p:nvPr>
        </p:nvSpPr>
        <p:spPr>
          <a:xfrm flipH="1">
            <a:off x="4745175" y="2791150"/>
            <a:ext cx="3605100" cy="467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22" name="Google Shape;122;p13"/>
          <p:cNvSpPr txBox="1">
            <a:spLocks noGrp="1"/>
          </p:cNvSpPr>
          <p:nvPr>
            <p:ph type="subTitle" idx="1"/>
          </p:nvPr>
        </p:nvSpPr>
        <p:spPr>
          <a:xfrm rot="-286" flipH="1">
            <a:off x="4745175" y="1355675"/>
            <a:ext cx="3605100" cy="1331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Titillium Web"/>
              <a:buNone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23" name="Google Shape;123;p13"/>
          <p:cNvGrpSpPr/>
          <p:nvPr/>
        </p:nvGrpSpPr>
        <p:grpSpPr>
          <a:xfrm rot="10800000" flipH="1">
            <a:off x="270750" y="253149"/>
            <a:ext cx="8703525" cy="4438776"/>
            <a:chOff x="270750" y="-96626"/>
            <a:chExt cx="8703525" cy="4438776"/>
          </a:xfrm>
        </p:grpSpPr>
        <p:sp>
          <p:nvSpPr>
            <p:cNvPr id="124" name="Google Shape;124;p13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" name="Google Shape;125;p13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" name="Google Shape;126;p13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13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13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" name="Google Shape;129;p13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3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14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2" name="Google Shape;132;p14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3" name="Google Shape;133;p14"/>
          <p:cNvSpPr txBox="1">
            <a:spLocks noGrp="1"/>
          </p:cNvSpPr>
          <p:nvPr>
            <p:ph type="subTitle" idx="1"/>
          </p:nvPr>
        </p:nvSpPr>
        <p:spPr>
          <a:xfrm>
            <a:off x="1188415" y="2624233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4" name="Google Shape;134;p14"/>
          <p:cNvSpPr txBox="1">
            <a:spLocks noGrp="1"/>
          </p:cNvSpPr>
          <p:nvPr>
            <p:ph type="subTitle" idx="2"/>
          </p:nvPr>
        </p:nvSpPr>
        <p:spPr>
          <a:xfrm>
            <a:off x="6101380" y="2632928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5" name="Google Shape;135;p14"/>
          <p:cNvSpPr txBox="1">
            <a:spLocks noGrp="1"/>
          </p:cNvSpPr>
          <p:nvPr>
            <p:ph type="subTitle" idx="3"/>
          </p:nvPr>
        </p:nvSpPr>
        <p:spPr>
          <a:xfrm>
            <a:off x="3643771" y="2632928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6" name="Google Shape;136;p14"/>
          <p:cNvSpPr txBox="1">
            <a:spLocks noGrp="1"/>
          </p:cNvSpPr>
          <p:nvPr>
            <p:ph type="subTitle" idx="4"/>
          </p:nvPr>
        </p:nvSpPr>
        <p:spPr>
          <a:xfrm>
            <a:off x="970625" y="2964530"/>
            <a:ext cx="2286000" cy="69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7" name="Google Shape;137;p14"/>
          <p:cNvSpPr txBox="1">
            <a:spLocks noGrp="1"/>
          </p:cNvSpPr>
          <p:nvPr>
            <p:ph type="subTitle" idx="5"/>
          </p:nvPr>
        </p:nvSpPr>
        <p:spPr>
          <a:xfrm>
            <a:off x="3425971" y="2964530"/>
            <a:ext cx="2286000" cy="69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8" name="Google Shape;138;p14"/>
          <p:cNvSpPr txBox="1">
            <a:spLocks noGrp="1"/>
          </p:cNvSpPr>
          <p:nvPr>
            <p:ph type="subTitle" idx="6"/>
          </p:nvPr>
        </p:nvSpPr>
        <p:spPr>
          <a:xfrm>
            <a:off x="5883580" y="2964530"/>
            <a:ext cx="2286000" cy="69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39" name="Google Shape;139;p14"/>
          <p:cNvGrpSpPr/>
          <p:nvPr/>
        </p:nvGrpSpPr>
        <p:grpSpPr>
          <a:xfrm rot="10800000" flipH="1">
            <a:off x="270750" y="253149"/>
            <a:ext cx="8627325" cy="4216100"/>
            <a:chOff x="270750" y="126050"/>
            <a:chExt cx="8627325" cy="4216100"/>
          </a:xfrm>
        </p:grpSpPr>
        <p:sp>
          <p:nvSpPr>
            <p:cNvPr id="140" name="Google Shape;140;p14"/>
            <p:cNvSpPr/>
            <p:nvPr/>
          </p:nvSpPr>
          <p:spPr>
            <a:xfrm>
              <a:off x="320500" y="126050"/>
              <a:ext cx="725100" cy="725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" name="Google Shape;141;p14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" name="Google Shape;142;p14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143;p14"/>
            <p:cNvSpPr/>
            <p:nvPr/>
          </p:nvSpPr>
          <p:spPr>
            <a:xfrm>
              <a:off x="7443175" y="3463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144;p14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145;p14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CUSTOM_27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15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48" name="Google Shape;148;p15"/>
          <p:cNvGrpSpPr/>
          <p:nvPr/>
        </p:nvGrpSpPr>
        <p:grpSpPr>
          <a:xfrm>
            <a:off x="270750" y="253149"/>
            <a:ext cx="8627325" cy="4089001"/>
            <a:chOff x="270750" y="253149"/>
            <a:chExt cx="8627325" cy="4089001"/>
          </a:xfrm>
        </p:grpSpPr>
        <p:sp>
          <p:nvSpPr>
            <p:cNvPr id="149" name="Google Shape;149;p15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" name="Google Shape;150;p15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" name="Google Shape;151;p15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" name="Google Shape;152;p15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153;p15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4" name="Google Shape;154;p15"/>
          <p:cNvSpPr txBox="1">
            <a:spLocks noGrp="1"/>
          </p:cNvSpPr>
          <p:nvPr>
            <p:ph type="subTitle" idx="1"/>
          </p:nvPr>
        </p:nvSpPr>
        <p:spPr>
          <a:xfrm>
            <a:off x="1264169" y="1912763"/>
            <a:ext cx="2016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5" name="Google Shape;155;p15"/>
          <p:cNvSpPr txBox="1">
            <a:spLocks noGrp="1"/>
          </p:cNvSpPr>
          <p:nvPr>
            <p:ph type="subTitle" idx="2"/>
          </p:nvPr>
        </p:nvSpPr>
        <p:spPr>
          <a:xfrm>
            <a:off x="1346969" y="3066379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6" name="Google Shape;156;p15"/>
          <p:cNvSpPr txBox="1">
            <a:spLocks noGrp="1"/>
          </p:cNvSpPr>
          <p:nvPr>
            <p:ph type="subTitle" idx="3"/>
          </p:nvPr>
        </p:nvSpPr>
        <p:spPr>
          <a:xfrm>
            <a:off x="5950358" y="3066346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7" name="Google Shape;157;p15"/>
          <p:cNvSpPr txBox="1">
            <a:spLocks noGrp="1"/>
          </p:cNvSpPr>
          <p:nvPr>
            <p:ph type="subTitle" idx="4"/>
          </p:nvPr>
        </p:nvSpPr>
        <p:spPr>
          <a:xfrm>
            <a:off x="3648664" y="3066346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8" name="Google Shape;158;p15"/>
          <p:cNvSpPr txBox="1">
            <a:spLocks noGrp="1"/>
          </p:cNvSpPr>
          <p:nvPr>
            <p:ph type="subTitle" idx="5"/>
          </p:nvPr>
        </p:nvSpPr>
        <p:spPr>
          <a:xfrm>
            <a:off x="1346969" y="1628058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9" name="Google Shape;159;p15"/>
          <p:cNvSpPr txBox="1">
            <a:spLocks noGrp="1"/>
          </p:cNvSpPr>
          <p:nvPr>
            <p:ph type="subTitle" idx="6"/>
          </p:nvPr>
        </p:nvSpPr>
        <p:spPr>
          <a:xfrm>
            <a:off x="5950358" y="1630967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0" name="Google Shape;160;p15"/>
          <p:cNvSpPr txBox="1">
            <a:spLocks noGrp="1"/>
          </p:cNvSpPr>
          <p:nvPr>
            <p:ph type="subTitle" idx="7"/>
          </p:nvPr>
        </p:nvSpPr>
        <p:spPr>
          <a:xfrm>
            <a:off x="3648664" y="1630967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1" name="Google Shape;161;p15"/>
          <p:cNvSpPr txBox="1">
            <a:spLocks noGrp="1"/>
          </p:cNvSpPr>
          <p:nvPr>
            <p:ph type="subTitle" idx="8"/>
          </p:nvPr>
        </p:nvSpPr>
        <p:spPr>
          <a:xfrm>
            <a:off x="3565864" y="1912763"/>
            <a:ext cx="2016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2" name="Google Shape;162;p15"/>
          <p:cNvSpPr txBox="1">
            <a:spLocks noGrp="1"/>
          </p:cNvSpPr>
          <p:nvPr>
            <p:ph type="subTitle" idx="9"/>
          </p:nvPr>
        </p:nvSpPr>
        <p:spPr>
          <a:xfrm>
            <a:off x="5867558" y="1912763"/>
            <a:ext cx="2016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3" name="Google Shape;163;p15"/>
          <p:cNvSpPr txBox="1">
            <a:spLocks noGrp="1"/>
          </p:cNvSpPr>
          <p:nvPr>
            <p:ph type="subTitle" idx="13"/>
          </p:nvPr>
        </p:nvSpPr>
        <p:spPr>
          <a:xfrm>
            <a:off x="1262282" y="3350313"/>
            <a:ext cx="2016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4" name="Google Shape;164;p15"/>
          <p:cNvSpPr txBox="1">
            <a:spLocks noGrp="1"/>
          </p:cNvSpPr>
          <p:nvPr>
            <p:ph type="subTitle" idx="14"/>
          </p:nvPr>
        </p:nvSpPr>
        <p:spPr>
          <a:xfrm>
            <a:off x="3563976" y="3350313"/>
            <a:ext cx="2016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5" name="Google Shape;165;p15"/>
          <p:cNvSpPr txBox="1">
            <a:spLocks noGrp="1"/>
          </p:cNvSpPr>
          <p:nvPr>
            <p:ph type="subTitle" idx="15"/>
          </p:nvPr>
        </p:nvSpPr>
        <p:spPr>
          <a:xfrm>
            <a:off x="5865671" y="3350313"/>
            <a:ext cx="2016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6" name="Google Shape;166;p15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ONE_COLUMN_TEXT_1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6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9" name="Google Shape;169;p16"/>
          <p:cNvSpPr txBox="1">
            <a:spLocks noGrp="1"/>
          </p:cNvSpPr>
          <p:nvPr>
            <p:ph type="title"/>
          </p:nvPr>
        </p:nvSpPr>
        <p:spPr>
          <a:xfrm flipH="1">
            <a:off x="4668775" y="1294650"/>
            <a:ext cx="3609600" cy="1411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70" name="Google Shape;170;p16"/>
          <p:cNvSpPr txBox="1">
            <a:spLocks noGrp="1"/>
          </p:cNvSpPr>
          <p:nvPr>
            <p:ph type="subTitle" idx="1"/>
          </p:nvPr>
        </p:nvSpPr>
        <p:spPr>
          <a:xfrm flipH="1">
            <a:off x="4948375" y="2831250"/>
            <a:ext cx="3330000" cy="71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71" name="Google Shape;171;p16"/>
          <p:cNvGrpSpPr/>
          <p:nvPr/>
        </p:nvGrpSpPr>
        <p:grpSpPr>
          <a:xfrm rot="10800000" flipH="1">
            <a:off x="270750" y="253149"/>
            <a:ext cx="8627325" cy="4036194"/>
            <a:chOff x="270750" y="305956"/>
            <a:chExt cx="8627325" cy="4036194"/>
          </a:xfrm>
        </p:grpSpPr>
        <p:sp>
          <p:nvSpPr>
            <p:cNvPr id="172" name="Google Shape;172;p16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" name="Google Shape;173;p16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" name="Google Shape;174;p16"/>
            <p:cNvSpPr/>
            <p:nvPr/>
          </p:nvSpPr>
          <p:spPr>
            <a:xfrm>
              <a:off x="7218275" y="3605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" name="Google Shape;175;p16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" name="Google Shape;176;p16"/>
            <p:cNvSpPr/>
            <p:nvPr/>
          </p:nvSpPr>
          <p:spPr>
            <a:xfrm>
              <a:off x="2495713" y="3142275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" name="Google Shape;177;p16"/>
            <p:cNvSpPr/>
            <p:nvPr/>
          </p:nvSpPr>
          <p:spPr>
            <a:xfrm>
              <a:off x="5245438" y="366306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" name="Google Shape;178;p16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3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91763D-9311-F843-478D-53DB21F11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473434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444" imgH="443" progId="TCLayout.ActiveDocument.1">
                  <p:embed/>
                </p:oleObj>
              </mc:Choice>
              <mc:Fallback>
                <p:oleObj name="think-cell Folie" r:id="rId24" imgW="444" imgH="44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091763D-9311-F843-478D-53DB21F11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3225" y="1152475"/>
            <a:ext cx="77175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lvl="1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lvl="2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lvl="3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lvl="4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lvl="5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lvl="6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lvl="7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lvl="8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4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70" r:id="rId16"/>
    <p:sldLayoutId id="2147483671" r:id="rId17"/>
    <p:sldLayoutId id="2147483672" r:id="rId18"/>
    <p:sldLayoutId id="2147483674" r:id="rId19"/>
    <p:sldLayoutId id="2147483675" r:id="rId20"/>
    <p:sldLayoutId id="2147483677" r:id="rId2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51329722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301" imgH="298" progId="TCLayout.ActiveDocument.1">
                  <p:embed/>
                </p:oleObj>
              </mc:Choice>
              <mc:Fallback>
                <p:oleObj name="think-cell Folie" r:id="rId18" imgW="301" imgH="29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6001" y="1350001"/>
            <a:ext cx="8334798" cy="3105000"/>
          </a:xfrm>
          <a:prstGeom prst="rect">
            <a:avLst/>
          </a:prstGeom>
        </p:spPr>
        <p:txBody>
          <a:bodyPr vert="horz" lIns="108850" tIns="54425" rIns="108850" bIns="54425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400102" y="4839477"/>
            <a:ext cx="4820054" cy="304023"/>
          </a:xfrm>
          <a:prstGeom prst="rect">
            <a:avLst/>
          </a:prstGeom>
        </p:spPr>
        <p:txBody>
          <a:bodyPr wrap="square" lIns="0" tIns="0" rIns="81619" bIns="0" rtlCol="0" anchor="ctr">
            <a:noAutofit/>
          </a:bodyPr>
          <a:lstStyle/>
          <a:p>
            <a:pPr marL="0" marR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25" b="1" dirty="0" err="1">
                <a:solidFill>
                  <a:schemeClr val="bg1"/>
                </a:solidFill>
                <a:latin typeface="+mj-lt"/>
              </a:rPr>
              <a:t>Atrineo</a:t>
            </a:r>
            <a:r>
              <a:rPr lang="en-US" sz="825" b="1" dirty="0">
                <a:solidFill>
                  <a:schemeClr val="bg1"/>
                </a:solidFill>
                <a:latin typeface="+mj-lt"/>
              </a:rPr>
              <a:t> AG</a:t>
            </a:r>
            <a:endParaRPr lang="de-DE" sz="825" dirty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0378429" y="4840409"/>
            <a:ext cx="918017" cy="303091"/>
          </a:xfrm>
          <a:prstGeom prst="rect">
            <a:avLst/>
          </a:prstGeom>
          <a:noFill/>
        </p:spPr>
        <p:txBody>
          <a:bodyPr wrap="square" lIns="81619" tIns="40809" rIns="0" bIns="40809" rtlCol="0" anchor="ctr" anchorCtr="0">
            <a:noAutofit/>
          </a:bodyPr>
          <a:lstStyle/>
          <a:p>
            <a:pPr marL="0" marR="0" indent="0" algn="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CA19CC-7836-44C0-AEF3-DBBA492307BB}" type="slidenum">
              <a:rPr lang="de-DE" sz="825" b="0" smtClean="0">
                <a:solidFill>
                  <a:schemeClr val="bg1"/>
                </a:solidFill>
                <a:latin typeface="+mj-lt"/>
              </a:rPr>
              <a:pPr marL="0" marR="0" indent="0" algn="r" defTabSz="8161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 sz="825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9573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7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marL="0" marR="0" indent="0" algn="l" defTabSz="816159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sz="1949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61532" indent="-161532" algn="l" defTabSz="816159" rtl="0" eaLnBrk="1" latinLnBrk="0" hangingPunct="1">
        <a:spcBef>
          <a:spcPct val="20000"/>
        </a:spcBef>
        <a:buClr>
          <a:schemeClr val="accent1"/>
        </a:buClr>
        <a:buSzPct val="100000"/>
        <a:buFont typeface="Wingdings" panose="05000000000000000000" pitchFamily="2" charset="2"/>
        <a:buChar char="§"/>
        <a:defRPr sz="1500" kern="1200">
          <a:solidFill>
            <a:srgbClr val="4C4C4C"/>
          </a:solidFill>
          <a:latin typeface="+mj-lt"/>
          <a:ea typeface="+mn-ea"/>
          <a:cs typeface="Arial" panose="020B0604020202020204" pitchFamily="34" charset="0"/>
        </a:defRPr>
      </a:lvl1pPr>
      <a:lvl2pPr marL="484594" indent="-161532" algn="l" defTabSz="816159" rtl="0" eaLnBrk="1" latinLnBrk="0" hangingPunct="1">
        <a:spcBef>
          <a:spcPct val="20000"/>
        </a:spcBef>
        <a:buClr>
          <a:schemeClr val="accent1"/>
        </a:buClr>
        <a:buSzPct val="70000"/>
        <a:buFont typeface="Wingdings" panose="05000000000000000000" pitchFamily="2" charset="2"/>
        <a:buChar char="§"/>
        <a:defRPr sz="1500" kern="1200">
          <a:solidFill>
            <a:srgbClr val="4C4C4C"/>
          </a:solidFill>
          <a:latin typeface="+mj-lt"/>
          <a:ea typeface="+mn-ea"/>
          <a:cs typeface="Arial" panose="020B0604020202020204" pitchFamily="34" charset="0"/>
        </a:defRPr>
      </a:lvl2pPr>
      <a:lvl3pPr marL="722641" indent="-161532" algn="l" defTabSz="816159" rtl="0" eaLnBrk="1" latinLnBrk="0" hangingPunct="1">
        <a:spcBef>
          <a:spcPct val="20000"/>
        </a:spcBef>
        <a:buClr>
          <a:schemeClr val="accent1"/>
        </a:buClr>
        <a:buSzPct val="70000"/>
        <a:buFont typeface="Wingdings" panose="05000000000000000000" pitchFamily="2" charset="2"/>
        <a:buChar char="§"/>
        <a:defRPr sz="1500" kern="1200">
          <a:solidFill>
            <a:srgbClr val="4C4C4C"/>
          </a:solidFill>
          <a:latin typeface="+mj-lt"/>
          <a:ea typeface="+mn-ea"/>
          <a:cs typeface="Arial" panose="020B0604020202020204" pitchFamily="34" charset="0"/>
        </a:defRPr>
      </a:lvl3pPr>
      <a:lvl4pPr marL="960686" indent="-161532" algn="l" defTabSz="816159" rtl="0" eaLnBrk="1" latinLnBrk="0" hangingPunct="1">
        <a:spcBef>
          <a:spcPct val="20000"/>
        </a:spcBef>
        <a:buClr>
          <a:schemeClr val="accent1"/>
        </a:buClr>
        <a:buSzPct val="70000"/>
        <a:buFont typeface="Wingdings" panose="05000000000000000000" pitchFamily="2" charset="2"/>
        <a:buChar char="§"/>
        <a:defRPr sz="1500" kern="1200">
          <a:solidFill>
            <a:srgbClr val="4C4C4C"/>
          </a:solidFill>
          <a:latin typeface="+mj-lt"/>
          <a:ea typeface="+mn-ea"/>
          <a:cs typeface="Arial" panose="020B0604020202020204" pitchFamily="34" charset="0"/>
        </a:defRPr>
      </a:lvl4pPr>
      <a:lvl5pPr marL="1198733" indent="-161532" algn="l" defTabSz="816159" rtl="0" eaLnBrk="1" latinLnBrk="0" hangingPunct="1">
        <a:spcBef>
          <a:spcPct val="20000"/>
        </a:spcBef>
        <a:buClr>
          <a:schemeClr val="accent1"/>
        </a:buClr>
        <a:buSzPct val="70000"/>
        <a:buFont typeface="Wingdings" panose="05000000000000000000" pitchFamily="2" charset="2"/>
        <a:buChar char="§"/>
        <a:defRPr sz="1500" kern="1200">
          <a:solidFill>
            <a:srgbClr val="4C4C4C"/>
          </a:solidFill>
          <a:latin typeface="+mj-lt"/>
          <a:ea typeface="+mn-ea"/>
          <a:cs typeface="Arial" panose="020B0604020202020204" pitchFamily="34" charset="0"/>
        </a:defRPr>
      </a:lvl5pPr>
      <a:lvl6pPr marL="2244436" indent="-204039" algn="l" defTabSz="81615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52516" indent="-204039" algn="l" defTabSz="81615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60595" indent="-204039" algn="l" defTabSz="81615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68674" indent="-204039" algn="l" defTabSz="81615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16159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408079" algn="l" defTabSz="816159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2pPr>
      <a:lvl3pPr marL="816159" algn="l" defTabSz="816159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24238" algn="l" defTabSz="816159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4pPr>
      <a:lvl5pPr marL="1632318" algn="l" defTabSz="816159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5pPr>
      <a:lvl6pPr marL="2040396" algn="l" defTabSz="816159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448476" algn="l" defTabSz="816159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856555" algn="l" defTabSz="816159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264634" algn="l" defTabSz="816159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18" Type="http://schemas.openxmlformats.org/officeDocument/2006/relationships/image" Target="../media/image32.png"/><Relationship Id="rId3" Type="http://schemas.openxmlformats.org/officeDocument/2006/relationships/notesSlide" Target="../notesSlides/notesSlide3.xml"/><Relationship Id="rId21" Type="http://schemas.openxmlformats.org/officeDocument/2006/relationships/image" Target="../media/image35.svg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17" Type="http://schemas.openxmlformats.org/officeDocument/2006/relationships/image" Target="../media/image31.svg"/><Relationship Id="rId25" Type="http://schemas.openxmlformats.org/officeDocument/2006/relationships/image" Target="../media/image9.png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30.png"/><Relationship Id="rId20" Type="http://schemas.openxmlformats.org/officeDocument/2006/relationships/image" Target="../media/image34.png"/><Relationship Id="rId1" Type="http://schemas.openxmlformats.org/officeDocument/2006/relationships/tags" Target="../tags/tag48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24" Type="http://schemas.openxmlformats.org/officeDocument/2006/relationships/image" Target="../media/image8.png"/><Relationship Id="rId5" Type="http://schemas.openxmlformats.org/officeDocument/2006/relationships/image" Target="../media/image2.emf"/><Relationship Id="rId15" Type="http://schemas.openxmlformats.org/officeDocument/2006/relationships/image" Target="../media/image29.svg"/><Relationship Id="rId23" Type="http://schemas.openxmlformats.org/officeDocument/2006/relationships/image" Target="../media/image37.svg"/><Relationship Id="rId10" Type="http://schemas.openxmlformats.org/officeDocument/2006/relationships/image" Target="../media/image24.png"/><Relationship Id="rId19" Type="http://schemas.openxmlformats.org/officeDocument/2006/relationships/image" Target="../media/image33.svg"/><Relationship Id="rId4" Type="http://schemas.openxmlformats.org/officeDocument/2006/relationships/oleObject" Target="../embeddings/oleObject6.bin"/><Relationship Id="rId9" Type="http://schemas.openxmlformats.org/officeDocument/2006/relationships/image" Target="../media/image23.svg"/><Relationship Id="rId14" Type="http://schemas.openxmlformats.org/officeDocument/2006/relationships/image" Target="../media/image28.png"/><Relationship Id="rId22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9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0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1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2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3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3.svg"/><Relationship Id="rId7" Type="http://schemas.openxmlformats.org/officeDocument/2006/relationships/image" Target="../media/image16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18" Type="http://schemas.openxmlformats.org/officeDocument/2006/relationships/image" Target="../media/image32.png"/><Relationship Id="rId3" Type="http://schemas.openxmlformats.org/officeDocument/2006/relationships/notesSlide" Target="../notesSlides/notesSlide12.xml"/><Relationship Id="rId21" Type="http://schemas.openxmlformats.org/officeDocument/2006/relationships/image" Target="../media/image35.svg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17" Type="http://schemas.openxmlformats.org/officeDocument/2006/relationships/image" Target="../media/image31.svg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30.png"/><Relationship Id="rId20" Type="http://schemas.openxmlformats.org/officeDocument/2006/relationships/image" Target="../media/image34.png"/><Relationship Id="rId1" Type="http://schemas.openxmlformats.org/officeDocument/2006/relationships/tags" Target="../tags/tag54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2.emf"/><Relationship Id="rId15" Type="http://schemas.openxmlformats.org/officeDocument/2006/relationships/image" Target="../media/image29.svg"/><Relationship Id="rId23" Type="http://schemas.openxmlformats.org/officeDocument/2006/relationships/image" Target="../media/image37.svg"/><Relationship Id="rId10" Type="http://schemas.openxmlformats.org/officeDocument/2006/relationships/image" Target="../media/image24.png"/><Relationship Id="rId19" Type="http://schemas.openxmlformats.org/officeDocument/2006/relationships/image" Target="../media/image33.sv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3.svg"/><Relationship Id="rId14" Type="http://schemas.openxmlformats.org/officeDocument/2006/relationships/image" Target="../media/image28.png"/><Relationship Id="rId22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8.png"/><Relationship Id="rId7" Type="http://schemas.openxmlformats.org/officeDocument/2006/relationships/image" Target="../media/image44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3.png"/><Relationship Id="rId5" Type="http://schemas.openxmlformats.org/officeDocument/2006/relationships/image" Target="../media/image42.svg"/><Relationship Id="rId4" Type="http://schemas.openxmlformats.org/officeDocument/2006/relationships/image" Target="../media/image15.png"/><Relationship Id="rId9" Type="http://schemas.openxmlformats.org/officeDocument/2006/relationships/image" Target="../media/image46.svg"/></Relationships>
</file>

<file path=ppt/slides/_rels/slide2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3.png"/><Relationship Id="rId18" Type="http://schemas.openxmlformats.org/officeDocument/2006/relationships/image" Target="../media/image57.jpeg"/><Relationship Id="rId26" Type="http://schemas.openxmlformats.org/officeDocument/2006/relationships/image" Target="../media/image65.jpeg"/><Relationship Id="rId39" Type="http://schemas.openxmlformats.org/officeDocument/2006/relationships/image" Target="../media/image78.png"/><Relationship Id="rId21" Type="http://schemas.openxmlformats.org/officeDocument/2006/relationships/image" Target="../media/image60.jpeg"/><Relationship Id="rId34" Type="http://schemas.openxmlformats.org/officeDocument/2006/relationships/image" Target="../media/image73.png"/><Relationship Id="rId7" Type="http://schemas.openxmlformats.org/officeDocument/2006/relationships/image" Target="../media/image49.png"/><Relationship Id="rId12" Type="http://schemas.microsoft.com/office/2007/relationships/hdphoto" Target="../media/hdphoto4.wdp"/><Relationship Id="rId17" Type="http://schemas.openxmlformats.org/officeDocument/2006/relationships/image" Target="../media/image56.jpeg"/><Relationship Id="rId25" Type="http://schemas.openxmlformats.org/officeDocument/2006/relationships/image" Target="../media/image64.jpeg"/><Relationship Id="rId33" Type="http://schemas.openxmlformats.org/officeDocument/2006/relationships/image" Target="../media/image72.png"/><Relationship Id="rId38" Type="http://schemas.openxmlformats.org/officeDocument/2006/relationships/image" Target="../media/image77.png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55.jpeg"/><Relationship Id="rId20" Type="http://schemas.openxmlformats.org/officeDocument/2006/relationships/image" Target="../media/image59.jpeg"/><Relationship Id="rId29" Type="http://schemas.openxmlformats.org/officeDocument/2006/relationships/image" Target="../media/image6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8.jpeg"/><Relationship Id="rId11" Type="http://schemas.openxmlformats.org/officeDocument/2006/relationships/image" Target="../media/image52.png"/><Relationship Id="rId24" Type="http://schemas.openxmlformats.org/officeDocument/2006/relationships/image" Target="../media/image63.jpeg"/><Relationship Id="rId32" Type="http://schemas.openxmlformats.org/officeDocument/2006/relationships/image" Target="../media/image71.png"/><Relationship Id="rId37" Type="http://schemas.openxmlformats.org/officeDocument/2006/relationships/image" Target="../media/image76.png"/><Relationship Id="rId5" Type="http://schemas.microsoft.com/office/2007/relationships/hdphoto" Target="../media/hdphoto2.wdp"/><Relationship Id="rId15" Type="http://schemas.openxmlformats.org/officeDocument/2006/relationships/image" Target="../media/image54.jpeg"/><Relationship Id="rId23" Type="http://schemas.openxmlformats.org/officeDocument/2006/relationships/image" Target="../media/image62.jpeg"/><Relationship Id="rId28" Type="http://schemas.openxmlformats.org/officeDocument/2006/relationships/image" Target="../media/image67.png"/><Relationship Id="rId36" Type="http://schemas.openxmlformats.org/officeDocument/2006/relationships/image" Target="../media/image75.png"/><Relationship Id="rId10" Type="http://schemas.openxmlformats.org/officeDocument/2006/relationships/image" Target="../media/image51.jpeg"/><Relationship Id="rId19" Type="http://schemas.openxmlformats.org/officeDocument/2006/relationships/image" Target="../media/image58.jpeg"/><Relationship Id="rId31" Type="http://schemas.openxmlformats.org/officeDocument/2006/relationships/image" Target="../media/image70.png"/><Relationship Id="rId4" Type="http://schemas.openxmlformats.org/officeDocument/2006/relationships/image" Target="../media/image47.png"/><Relationship Id="rId9" Type="http://schemas.openxmlformats.org/officeDocument/2006/relationships/image" Target="../media/image50.jpeg"/><Relationship Id="rId14" Type="http://schemas.microsoft.com/office/2007/relationships/hdphoto" Target="../media/hdphoto5.wdp"/><Relationship Id="rId22" Type="http://schemas.openxmlformats.org/officeDocument/2006/relationships/image" Target="../media/image61.jpeg"/><Relationship Id="rId27" Type="http://schemas.openxmlformats.org/officeDocument/2006/relationships/image" Target="../media/image66.jpeg"/><Relationship Id="rId30" Type="http://schemas.openxmlformats.org/officeDocument/2006/relationships/image" Target="../media/image69.png"/><Relationship Id="rId35" Type="http://schemas.openxmlformats.org/officeDocument/2006/relationships/image" Target="../media/image74.png"/><Relationship Id="rId8" Type="http://schemas.microsoft.com/office/2007/relationships/hdphoto" Target="../media/hdphoto3.wdp"/><Relationship Id="rId3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chart" Target="../charts/chart1.xml"/><Relationship Id="rId50" Type="http://schemas.openxmlformats.org/officeDocument/2006/relationships/image" Target="../media/image16.svg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image" Target="../media/image17.emf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image" Target="../media/image15.png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oleObject" Target="../embeddings/oleObject3.bin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slideLayout" Target="../slideLayouts/slideLayout5.xml"/><Relationship Id="rId48" Type="http://schemas.openxmlformats.org/officeDocument/2006/relationships/image" Target="../media/image18.png"/><Relationship Id="rId8" Type="http://schemas.openxmlformats.org/officeDocument/2006/relationships/tags" Target="../tags/tag11.xml"/><Relationship Id="rId51" Type="http://schemas.openxmlformats.org/officeDocument/2006/relationships/image" Target="../media/image9.png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image" Target="../media/image8.png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1" Type="http://schemas.openxmlformats.org/officeDocument/2006/relationships/tags" Target="../tags/tag4.xml"/><Relationship Id="rId6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9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6.x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18" Type="http://schemas.openxmlformats.org/officeDocument/2006/relationships/image" Target="../media/image32.pn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35.svg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17" Type="http://schemas.openxmlformats.org/officeDocument/2006/relationships/image" Target="../media/image31.svg"/><Relationship Id="rId25" Type="http://schemas.openxmlformats.org/officeDocument/2006/relationships/image" Target="../media/image9.png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30.png"/><Relationship Id="rId20" Type="http://schemas.openxmlformats.org/officeDocument/2006/relationships/image" Target="../media/image34.png"/><Relationship Id="rId1" Type="http://schemas.openxmlformats.org/officeDocument/2006/relationships/tags" Target="../tags/tag47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24" Type="http://schemas.openxmlformats.org/officeDocument/2006/relationships/image" Target="../media/image8.png"/><Relationship Id="rId5" Type="http://schemas.openxmlformats.org/officeDocument/2006/relationships/image" Target="../media/image2.emf"/><Relationship Id="rId15" Type="http://schemas.openxmlformats.org/officeDocument/2006/relationships/image" Target="../media/image29.svg"/><Relationship Id="rId23" Type="http://schemas.openxmlformats.org/officeDocument/2006/relationships/image" Target="../media/image37.svg"/><Relationship Id="rId10" Type="http://schemas.openxmlformats.org/officeDocument/2006/relationships/image" Target="../media/image24.png"/><Relationship Id="rId19" Type="http://schemas.openxmlformats.org/officeDocument/2006/relationships/image" Target="../media/image33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23.svg"/><Relationship Id="rId14" Type="http://schemas.openxmlformats.org/officeDocument/2006/relationships/image" Target="../media/image28.png"/><Relationship Id="rId22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 flipH="1" flipV="1">
            <a:off x="7900890" y="3688233"/>
            <a:ext cx="1243110" cy="1455268"/>
          </a:xfrm>
          <a:custGeom>
            <a:avLst/>
            <a:gdLst/>
            <a:ahLst/>
            <a:cxnLst/>
            <a:rect l="l" t="t" r="r" b="b"/>
            <a:pathLst>
              <a:path w="2486220" h="2910535">
                <a:moveTo>
                  <a:pt x="2486220" y="2910535"/>
                </a:moveTo>
                <a:lnTo>
                  <a:pt x="0" y="2910535"/>
                </a:lnTo>
                <a:lnTo>
                  <a:pt x="0" y="0"/>
                </a:lnTo>
                <a:lnTo>
                  <a:pt x="2486220" y="0"/>
                </a:lnTo>
                <a:lnTo>
                  <a:pt x="2486220" y="2910535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sp>
        <p:nvSpPr>
          <p:cNvPr id="4" name="Freeform 4"/>
          <p:cNvSpPr/>
          <p:nvPr/>
        </p:nvSpPr>
        <p:spPr>
          <a:xfrm>
            <a:off x="514350" y="423626"/>
            <a:ext cx="1938484" cy="817115"/>
          </a:xfrm>
          <a:custGeom>
            <a:avLst/>
            <a:gdLst/>
            <a:ahLst/>
            <a:cxnLst/>
            <a:rect l="l" t="t" r="r" b="b"/>
            <a:pathLst>
              <a:path w="3876967" h="1634230">
                <a:moveTo>
                  <a:pt x="0" y="0"/>
                </a:moveTo>
                <a:lnTo>
                  <a:pt x="3876967" y="0"/>
                </a:lnTo>
                <a:lnTo>
                  <a:pt x="3876967" y="1634230"/>
                </a:lnTo>
                <a:lnTo>
                  <a:pt x="0" y="163423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sp>
        <p:nvSpPr>
          <p:cNvPr id="5" name="TextBox 5"/>
          <p:cNvSpPr txBox="1"/>
          <p:nvPr/>
        </p:nvSpPr>
        <p:spPr>
          <a:xfrm>
            <a:off x="514350" y="1664104"/>
            <a:ext cx="5477030" cy="226664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750"/>
              </a:lnSpc>
            </a:pPr>
            <a:r>
              <a:rPr lang="en-US" sz="5750" b="1" dirty="0">
                <a:latin typeface="Titillium Web" panose="00000500000000000000" pitchFamily="2" charset="0"/>
              </a:rPr>
              <a:t>Team Up 2025 </a:t>
            </a:r>
            <a:br>
              <a:rPr lang="en-US" sz="5750" dirty="0">
                <a:latin typeface="Titillium Web" panose="00000500000000000000" pitchFamily="2" charset="0"/>
              </a:rPr>
            </a:br>
            <a:br>
              <a:rPr lang="en-US" sz="5750" dirty="0">
                <a:latin typeface="Titillium Web" panose="00000500000000000000" pitchFamily="2" charset="0"/>
              </a:rPr>
            </a:br>
            <a:endParaRPr lang="en-US" sz="5750" dirty="0">
              <a:latin typeface="Titillium Web" panose="00000500000000000000" pitchFamily="2" charset="0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588778" y="2381736"/>
            <a:ext cx="2897768" cy="263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00"/>
              </a:lnSpc>
            </a:pPr>
            <a:r>
              <a:rPr lang="en-US" sz="1600" b="1" dirty="0">
                <a:latin typeface="Titillium Web" panose="00000500000000000000" pitchFamily="2" charset="0"/>
              </a:rPr>
              <a:t>Business Model</a:t>
            </a:r>
            <a:r>
              <a:rPr lang="en-US" sz="1600" dirty="0">
                <a:latin typeface="Titillium Web" panose="00000500000000000000" pitchFamily="2" charset="0"/>
              </a:rPr>
              <a:t>	</a:t>
            </a:r>
            <a:endParaRPr lang="en-US" sz="1500" dirty="0">
              <a:latin typeface="Titillium Web" panose="00000500000000000000" pitchFamily="2" charset="0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6313511" y="1683948"/>
            <a:ext cx="2316140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450"/>
              </a:lnSpc>
            </a:pPr>
            <a:r>
              <a:rPr lang="en-US" sz="1750" dirty="0">
                <a:latin typeface="Titillium Web" panose="00000500000000000000" pitchFamily="2" charset="0"/>
              </a:rPr>
              <a:t>September 2, 2025</a:t>
            </a:r>
          </a:p>
        </p:txBody>
      </p:sp>
      <p:sp>
        <p:nvSpPr>
          <p:cNvPr id="8" name="Freeform 8"/>
          <p:cNvSpPr/>
          <p:nvPr/>
        </p:nvSpPr>
        <p:spPr>
          <a:xfrm>
            <a:off x="4862814" y="514350"/>
            <a:ext cx="3766836" cy="635667"/>
          </a:xfrm>
          <a:custGeom>
            <a:avLst/>
            <a:gdLst/>
            <a:ahLst/>
            <a:cxnLst/>
            <a:rect l="l" t="t" r="r" b="b"/>
            <a:pathLst>
              <a:path w="7533672" h="1271333">
                <a:moveTo>
                  <a:pt x="0" y="0"/>
                </a:moveTo>
                <a:lnTo>
                  <a:pt x="7533672" y="0"/>
                </a:lnTo>
                <a:lnTo>
                  <a:pt x="7533672" y="1271333"/>
                </a:lnTo>
                <a:lnTo>
                  <a:pt x="0" y="1271333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6743CF4C-7933-41C5-8339-880462CB086F}"/>
              </a:ext>
            </a:extLst>
          </p:cNvPr>
          <p:cNvSpPr/>
          <p:nvPr/>
        </p:nvSpPr>
        <p:spPr>
          <a:xfrm>
            <a:off x="3479976" y="2273488"/>
            <a:ext cx="3343880" cy="2829489"/>
          </a:xfrm>
          <a:custGeom>
            <a:avLst/>
            <a:gdLst/>
            <a:ahLst/>
            <a:cxnLst/>
            <a:rect l="l" t="t" r="r" b="b"/>
            <a:pathLst>
              <a:path w="8183822" h="6800012">
                <a:moveTo>
                  <a:pt x="0" y="0"/>
                </a:moveTo>
                <a:lnTo>
                  <a:pt x="8183821" y="0"/>
                </a:lnTo>
                <a:lnTo>
                  <a:pt x="8183821" y="6800012"/>
                </a:lnTo>
                <a:lnTo>
                  <a:pt x="0" y="6800012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GB" dirty="0">
              <a:latin typeface="Titillium Web" panose="00000500000000000000" pitchFamily="2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6481697"/>
              </p:ext>
            </p:extLst>
          </p:nvPr>
        </p:nvGraphicFramePr>
        <p:xfrm>
          <a:off x="2844" y="119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1" imgH="298" progId="TCLayout.ActiveDocument.1">
                  <p:embed/>
                </p:oleObj>
              </mc:Choice>
              <mc:Fallback>
                <p:oleObj name="think-cell Folie" r:id="rId4" imgW="301" imgH="29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44" y="119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 vert="horz" lIns="81619" tIns="40809" rIns="81619" bIns="40809" rtlCol="0" anchor="ctr" anchorCtr="0">
            <a:noAutofit/>
          </a:bodyPr>
          <a:lstStyle/>
          <a:p>
            <a:r>
              <a:rPr lang="en-GB" dirty="0">
                <a:latin typeface="Titillium Web" panose="00000500000000000000" pitchFamily="2" charset="0"/>
              </a:rPr>
              <a:t>Business modelling (I) – customers and value proposition</a:t>
            </a:r>
          </a:p>
        </p:txBody>
      </p:sp>
      <p:sp>
        <p:nvSpPr>
          <p:cNvPr id="265" name="Rechteck 23">
            <a:extLst>
              <a:ext uri="{FF2B5EF4-FFF2-40B4-BE49-F238E27FC236}">
                <a16:creationId xmlns:a16="http://schemas.microsoft.com/office/drawing/2014/main" id="{0AA1A580-B441-CC3F-0BBD-EEFFB7CC7E8A}"/>
              </a:ext>
            </a:extLst>
          </p:cNvPr>
          <p:cNvSpPr/>
          <p:nvPr/>
        </p:nvSpPr>
        <p:spPr bwMode="gray">
          <a:xfrm>
            <a:off x="7362526" y="843958"/>
            <a:ext cx="1364345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8333" marR="0" lvl="2" indent="0" algn="r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CUSTOMER</a:t>
            </a:r>
          </a:p>
        </p:txBody>
      </p:sp>
      <p:sp>
        <p:nvSpPr>
          <p:cNvPr id="269" name="Rechteck 17">
            <a:extLst>
              <a:ext uri="{FF2B5EF4-FFF2-40B4-BE49-F238E27FC236}">
                <a16:creationId xmlns:a16="http://schemas.microsoft.com/office/drawing/2014/main" id="{4304A9DD-7714-92C0-6B7E-602B5A5729C6}"/>
              </a:ext>
            </a:extLst>
          </p:cNvPr>
          <p:cNvSpPr/>
          <p:nvPr/>
        </p:nvSpPr>
        <p:spPr bwMode="gray">
          <a:xfrm>
            <a:off x="390629" y="854045"/>
            <a:ext cx="1251492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8333" marR="0" lvl="2" indent="0" algn="l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PRODUCT</a:t>
            </a:r>
          </a:p>
        </p:txBody>
      </p:sp>
      <p:cxnSp>
        <p:nvCxnSpPr>
          <p:cNvPr id="427" name="Gerade Verbindung mit Pfeil 19">
            <a:extLst>
              <a:ext uri="{FF2B5EF4-FFF2-40B4-BE49-F238E27FC236}">
                <a16:creationId xmlns:a16="http://schemas.microsoft.com/office/drawing/2014/main" id="{D55CC65C-EE49-70F1-006E-DB904603C497}"/>
              </a:ext>
            </a:extLst>
          </p:cNvPr>
          <p:cNvCxnSpPr>
            <a:cxnSpLocks/>
          </p:cNvCxnSpPr>
          <p:nvPr/>
        </p:nvCxnSpPr>
        <p:spPr>
          <a:xfrm>
            <a:off x="2519811" y="2628944"/>
            <a:ext cx="2248108" cy="0"/>
          </a:xfrm>
          <a:prstGeom prst="straightConnector1">
            <a:avLst/>
          </a:prstGeom>
          <a:ln w="38100" cap="rnd">
            <a:solidFill>
              <a:schemeClr val="tx1"/>
            </a:solidFill>
            <a:round/>
            <a:headEnd type="none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Gleichschenkliges Dreieck 13">
            <a:extLst>
              <a:ext uri="{FF2B5EF4-FFF2-40B4-BE49-F238E27FC236}">
                <a16:creationId xmlns:a16="http://schemas.microsoft.com/office/drawing/2014/main" id="{A96CFBD5-B7FF-1C50-11B2-41E10576F0C5}"/>
              </a:ext>
            </a:extLst>
          </p:cNvPr>
          <p:cNvSpPr/>
          <p:nvPr/>
        </p:nvSpPr>
        <p:spPr>
          <a:xfrm rot="5400000">
            <a:off x="707574" y="1688215"/>
            <a:ext cx="3033903" cy="1889701"/>
          </a:xfrm>
          <a:prstGeom prst="triangle">
            <a:avLst/>
          </a:prstGeom>
          <a:solidFill>
            <a:srgbClr val="E0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429" name="Rechteck: abgerundete Ecken 10">
            <a:extLst>
              <a:ext uri="{FF2B5EF4-FFF2-40B4-BE49-F238E27FC236}">
                <a16:creationId xmlns:a16="http://schemas.microsoft.com/office/drawing/2014/main" id="{46F0D610-AB87-80A0-1431-384DDBD65F4D}"/>
              </a:ext>
            </a:extLst>
          </p:cNvPr>
          <p:cNvSpPr/>
          <p:nvPr/>
        </p:nvSpPr>
        <p:spPr>
          <a:xfrm>
            <a:off x="1282164" y="1084286"/>
            <a:ext cx="3279139" cy="3082892"/>
          </a:xfrm>
          <a:prstGeom prst="roundRect">
            <a:avLst>
              <a:gd name="adj" fmla="val 1529"/>
            </a:avLst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69938" rtlCol="0" anchor="t">
            <a:normAutofit/>
          </a:bodyPr>
          <a:lstStyle/>
          <a:p>
            <a:pPr marL="0" marR="0" lvl="0" indent="0" algn="l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tillium Web" panose="00000500000000000000" pitchFamily="2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430" name="Ellipse 17">
            <a:extLst>
              <a:ext uri="{FF2B5EF4-FFF2-40B4-BE49-F238E27FC236}">
                <a16:creationId xmlns:a16="http://schemas.microsoft.com/office/drawing/2014/main" id="{B572BAE5-3773-8BEB-E081-E740E30BE9FB}"/>
              </a:ext>
            </a:extLst>
          </p:cNvPr>
          <p:cNvSpPr/>
          <p:nvPr/>
        </p:nvSpPr>
        <p:spPr>
          <a:xfrm>
            <a:off x="5111935" y="1157762"/>
            <a:ext cx="2942364" cy="2942364"/>
          </a:xfrm>
          <a:prstGeom prst="ellipse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69938" rtlCol="0" anchor="t">
            <a:normAutofit/>
          </a:bodyPr>
          <a:lstStyle/>
          <a:p>
            <a:pPr marL="0" marR="0" lvl="0" indent="0" algn="l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tillium Web" panose="00000500000000000000" pitchFamily="2" charset="0"/>
              <a:cs typeface="Calibri" panose="020F0502020204030204" pitchFamily="34" charset="0"/>
              <a:sym typeface="Arial"/>
            </a:endParaRPr>
          </a:p>
        </p:txBody>
      </p:sp>
      <p:pic>
        <p:nvPicPr>
          <p:cNvPr id="431" name="Grafik 27">
            <a:extLst>
              <a:ext uri="{FF2B5EF4-FFF2-40B4-BE49-F238E27FC236}">
                <a16:creationId xmlns:a16="http://schemas.microsoft.com/office/drawing/2014/main" id="{BEBC379E-0745-4CA7-EE37-543414D64B2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4939771" y="1524942"/>
            <a:ext cx="2552332" cy="2208003"/>
          </a:xfrm>
          <a:prstGeom prst="rect">
            <a:avLst/>
          </a:prstGeom>
        </p:spPr>
      </p:pic>
      <p:sp>
        <p:nvSpPr>
          <p:cNvPr id="432" name="Textfeld 35">
            <a:extLst>
              <a:ext uri="{FF2B5EF4-FFF2-40B4-BE49-F238E27FC236}">
                <a16:creationId xmlns:a16="http://schemas.microsoft.com/office/drawing/2014/main" id="{7D211CE2-5A06-D084-5CCD-754C51C8645B}"/>
              </a:ext>
            </a:extLst>
          </p:cNvPr>
          <p:cNvSpPr txBox="1"/>
          <p:nvPr/>
        </p:nvSpPr>
        <p:spPr>
          <a:xfrm>
            <a:off x="1932958" y="1072887"/>
            <a:ext cx="2262541" cy="1374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Gain Creators</a:t>
            </a:r>
          </a:p>
          <a:p>
            <a:pPr marL="179737" marR="0" lvl="2" indent="-171404" algn="ctr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Reliable, scalable, and innovative source of protein, solving sourcing challenges</a:t>
            </a:r>
          </a:p>
          <a:p>
            <a:pPr marL="179737" marR="0" lvl="2" indent="-171404" algn="ctr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Access to an innovative and environmentally friendly source of protein</a:t>
            </a:r>
          </a:p>
          <a:p>
            <a:pPr marL="179737" marR="0" lvl="2" indent="-171404" algn="ctr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Cost-efficient source of alternative protein</a:t>
            </a:r>
            <a:endParaRPr kumimoji="0" lang="de-DE" sz="900" b="0" i="0" u="none" strike="noStrike" kern="1200" cap="none" spc="0" normalizeH="0" baseline="0" noProof="0" dirty="0" err="1">
              <a:ln>
                <a:noFill/>
              </a:ln>
              <a:solidFill>
                <a:srgbClr val="02213C">
                  <a:lumMod val="75000"/>
                  <a:lumOff val="25000"/>
                </a:srgbClr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433" name="Textfeld 36">
            <a:extLst>
              <a:ext uri="{FF2B5EF4-FFF2-40B4-BE49-F238E27FC236}">
                <a16:creationId xmlns:a16="http://schemas.microsoft.com/office/drawing/2014/main" id="{0F32CB26-C970-A420-3142-E5A1EF89705A}"/>
              </a:ext>
            </a:extLst>
          </p:cNvPr>
          <p:cNvSpPr txBox="1"/>
          <p:nvPr/>
        </p:nvSpPr>
        <p:spPr>
          <a:xfrm>
            <a:off x="2376158" y="2890419"/>
            <a:ext cx="1832942" cy="1198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Pain relievers</a:t>
            </a:r>
          </a:p>
          <a:p>
            <a:pPr marL="179737" marR="0" lvl="2" indent="-171404" algn="ctr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Sourcing challenges</a:t>
            </a:r>
          </a:p>
          <a:p>
            <a:pPr marL="179737" marR="0" lvl="2" indent="-171404" algn="ctr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High-quality standards</a:t>
            </a:r>
          </a:p>
          <a:p>
            <a:pPr marL="179737" marR="0" lvl="2" indent="-171404" algn="ctr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Fluctuating prices</a:t>
            </a:r>
          </a:p>
          <a:p>
            <a:pPr marL="179737" marR="0" lvl="2" indent="-171404" algn="ctr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Environmental concerns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350" b="1" i="0" u="none" strike="noStrike" kern="1200" cap="none" spc="0" normalizeH="0" baseline="0" noProof="0" dirty="0" err="1">
              <a:ln>
                <a:noFill/>
              </a:ln>
              <a:solidFill>
                <a:srgbClr val="02213C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434" name="Textfeld 37">
            <a:extLst>
              <a:ext uri="{FF2B5EF4-FFF2-40B4-BE49-F238E27FC236}">
                <a16:creationId xmlns:a16="http://schemas.microsoft.com/office/drawing/2014/main" id="{92D99B45-6868-E666-2EAD-EF6FDD22313D}"/>
              </a:ext>
            </a:extLst>
          </p:cNvPr>
          <p:cNvSpPr txBox="1"/>
          <p:nvPr/>
        </p:nvSpPr>
        <p:spPr>
          <a:xfrm>
            <a:off x="1364142" y="2069907"/>
            <a:ext cx="1252734" cy="648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Products and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Services</a:t>
            </a:r>
          </a:p>
          <a:p>
            <a:pPr marL="179737" marR="0" lvl="2" indent="-171404" algn="ctr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Insect-based protein powder</a:t>
            </a:r>
          </a:p>
        </p:txBody>
      </p:sp>
      <p:sp>
        <p:nvSpPr>
          <p:cNvPr id="435" name="Textfeld 40">
            <a:extLst>
              <a:ext uri="{FF2B5EF4-FFF2-40B4-BE49-F238E27FC236}">
                <a16:creationId xmlns:a16="http://schemas.microsoft.com/office/drawing/2014/main" id="{9668EEFC-C2DE-AF88-6B1C-E4E008C56E81}"/>
              </a:ext>
            </a:extLst>
          </p:cNvPr>
          <p:cNvSpPr txBox="1"/>
          <p:nvPr/>
        </p:nvSpPr>
        <p:spPr>
          <a:xfrm>
            <a:off x="4788544" y="1034567"/>
            <a:ext cx="2040872" cy="18276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Gains</a:t>
            </a:r>
          </a:p>
          <a:p>
            <a:pPr marL="179737" marR="0" lvl="2" indent="-171404" algn="ctr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Reliable source of protein</a:t>
            </a:r>
          </a:p>
          <a:p>
            <a:pPr marL="179737" marR="0" lvl="2" indent="-171404" algn="ctr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Consistent quality</a:t>
            </a:r>
          </a:p>
          <a:p>
            <a:pPr marL="179737" marR="0" lvl="2" indent="-171404" algn="ctr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Cost-effectiveness</a:t>
            </a:r>
          </a:p>
          <a:p>
            <a:pPr marL="179737" marR="0" lvl="2" indent="-171404" algn="ctr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Scalable supply</a:t>
            </a:r>
          </a:p>
          <a:p>
            <a:pPr marL="179737" marR="0" lvl="2" indent="-171404" algn="ctr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Positive environmental impact</a:t>
            </a:r>
          </a:p>
          <a:p>
            <a:pPr marL="179737" marR="0" lvl="2" indent="-171404" algn="ctr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Differentiation in the market if they offer a novel source of protein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350" b="1" i="0" u="none" strike="noStrike" kern="1200" cap="none" spc="0" normalizeH="0" baseline="0" noProof="0" dirty="0" err="1">
              <a:ln>
                <a:noFill/>
              </a:ln>
              <a:solidFill>
                <a:srgbClr val="02213C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436" name="Textfeld 45">
            <a:extLst>
              <a:ext uri="{FF2B5EF4-FFF2-40B4-BE49-F238E27FC236}">
                <a16:creationId xmlns:a16="http://schemas.microsoft.com/office/drawing/2014/main" id="{21E12DEE-D1EF-DE9B-1A71-8FA681CF035A}"/>
              </a:ext>
            </a:extLst>
          </p:cNvPr>
          <p:cNvSpPr txBox="1"/>
          <p:nvPr/>
        </p:nvSpPr>
        <p:spPr>
          <a:xfrm>
            <a:off x="4759733" y="2801200"/>
            <a:ext cx="2002282" cy="112556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Pains</a:t>
            </a:r>
          </a:p>
          <a:p>
            <a:pPr marL="179737" marR="0" lvl="2" indent="-171404" algn="ctr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Unreliable sources</a:t>
            </a:r>
          </a:p>
          <a:p>
            <a:pPr marL="179737" marR="0" lvl="2" indent="-171404" algn="ctr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Fluctuation prices</a:t>
            </a:r>
          </a:p>
          <a:p>
            <a:pPr marL="179737" marR="0" lvl="2" indent="-171404" algn="ctr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Inconsistent quality </a:t>
            </a:r>
          </a:p>
          <a:p>
            <a:pPr marL="179737" marR="0" lvl="2" indent="-171404" algn="ctr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Regulatory hurdles</a:t>
            </a:r>
          </a:p>
          <a:p>
            <a:pPr marL="179737" marR="0" lvl="2" indent="-171404" algn="ctr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Lack of differentiation</a:t>
            </a:r>
          </a:p>
        </p:txBody>
      </p:sp>
      <p:cxnSp>
        <p:nvCxnSpPr>
          <p:cNvPr id="438" name="Gerade Verbindung mit Pfeil 3">
            <a:extLst>
              <a:ext uri="{FF2B5EF4-FFF2-40B4-BE49-F238E27FC236}">
                <a16:creationId xmlns:a16="http://schemas.microsoft.com/office/drawing/2014/main" id="{A3F82DAE-3E2C-4D15-B149-D3B362742A82}"/>
              </a:ext>
            </a:extLst>
          </p:cNvPr>
          <p:cNvCxnSpPr>
            <a:cxnSpLocks/>
            <a:stCxn id="431" idx="2"/>
          </p:cNvCxnSpPr>
          <p:nvPr/>
        </p:nvCxnSpPr>
        <p:spPr>
          <a:xfrm flipH="1" flipV="1">
            <a:off x="4814689" y="2628944"/>
            <a:ext cx="297246" cy="1"/>
          </a:xfrm>
          <a:prstGeom prst="straightConnector1">
            <a:avLst/>
          </a:prstGeom>
          <a:ln w="38100" cap="rnd">
            <a:solidFill>
              <a:schemeClr val="tx1"/>
            </a:solidFill>
            <a:round/>
            <a:headEnd type="none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9" name="Grafik 7">
            <a:extLst>
              <a:ext uri="{FF2B5EF4-FFF2-40B4-BE49-F238E27FC236}">
                <a16:creationId xmlns:a16="http://schemas.microsoft.com/office/drawing/2014/main" id="{21334D1F-9FEF-178B-0F6A-6CEFBAE9C12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99772" y="1280490"/>
            <a:ext cx="276180" cy="263905"/>
          </a:xfrm>
          <a:prstGeom prst="rect">
            <a:avLst/>
          </a:prstGeom>
        </p:spPr>
      </p:pic>
      <p:pic>
        <p:nvPicPr>
          <p:cNvPr id="440" name="Grafik 9">
            <a:extLst>
              <a:ext uri="{FF2B5EF4-FFF2-40B4-BE49-F238E27FC236}">
                <a16:creationId xmlns:a16="http://schemas.microsoft.com/office/drawing/2014/main" id="{27F47AD5-1BBF-9E07-0BD7-98F189B0F79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99772" y="3600842"/>
            <a:ext cx="276180" cy="282317"/>
          </a:xfrm>
          <a:prstGeom prst="rect">
            <a:avLst/>
          </a:prstGeom>
        </p:spPr>
      </p:pic>
      <p:pic>
        <p:nvPicPr>
          <p:cNvPr id="441" name="Grafik 12">
            <a:extLst>
              <a:ext uri="{FF2B5EF4-FFF2-40B4-BE49-F238E27FC236}">
                <a16:creationId xmlns:a16="http://schemas.microsoft.com/office/drawing/2014/main" id="{892D948C-20EE-318D-1C0B-4724091E41E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13412" y="2472427"/>
            <a:ext cx="227081" cy="282317"/>
          </a:xfrm>
          <a:prstGeom prst="rect">
            <a:avLst/>
          </a:prstGeom>
        </p:spPr>
      </p:pic>
      <p:pic>
        <p:nvPicPr>
          <p:cNvPr id="442" name="Grafik 18">
            <a:extLst>
              <a:ext uri="{FF2B5EF4-FFF2-40B4-BE49-F238E27FC236}">
                <a16:creationId xmlns:a16="http://schemas.microsoft.com/office/drawing/2014/main" id="{5C5B1235-1B72-8C3D-1E34-EBE411E5967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323366" y="2175416"/>
            <a:ext cx="257768" cy="276180"/>
          </a:xfrm>
          <a:prstGeom prst="rect">
            <a:avLst/>
          </a:prstGeom>
        </p:spPr>
      </p:pic>
      <p:pic>
        <p:nvPicPr>
          <p:cNvPr id="443" name="Grafik 21">
            <a:extLst>
              <a:ext uri="{FF2B5EF4-FFF2-40B4-BE49-F238E27FC236}">
                <a16:creationId xmlns:a16="http://schemas.microsoft.com/office/drawing/2014/main" id="{979833E8-0976-E678-DE77-AA57F04CAA4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431398" y="1412892"/>
            <a:ext cx="227081" cy="159571"/>
          </a:xfrm>
          <a:prstGeom prst="rect">
            <a:avLst/>
          </a:prstGeom>
        </p:spPr>
      </p:pic>
      <p:pic>
        <p:nvPicPr>
          <p:cNvPr id="444" name="Grafik 23">
            <a:extLst>
              <a:ext uri="{FF2B5EF4-FFF2-40B4-BE49-F238E27FC236}">
                <a16:creationId xmlns:a16="http://schemas.microsoft.com/office/drawing/2014/main" id="{7D68600A-2261-32E4-4F38-B367FB4F329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385948" y="3622881"/>
            <a:ext cx="227081" cy="128884"/>
          </a:xfrm>
          <a:prstGeom prst="rect">
            <a:avLst/>
          </a:prstGeom>
        </p:spPr>
      </p:pic>
      <p:pic>
        <p:nvPicPr>
          <p:cNvPr id="445" name="Grafik 25">
            <a:extLst>
              <a:ext uri="{FF2B5EF4-FFF2-40B4-BE49-F238E27FC236}">
                <a16:creationId xmlns:a16="http://schemas.microsoft.com/office/drawing/2014/main" id="{586C64C4-D870-58E9-8731-1FF1977F23D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374980" y="1660498"/>
            <a:ext cx="165708" cy="227081"/>
          </a:xfrm>
          <a:prstGeom prst="rect">
            <a:avLst/>
          </a:prstGeom>
        </p:spPr>
      </p:pic>
      <p:pic>
        <p:nvPicPr>
          <p:cNvPr id="446" name="Grafik 41">
            <a:extLst>
              <a:ext uri="{FF2B5EF4-FFF2-40B4-BE49-F238E27FC236}">
                <a16:creationId xmlns:a16="http://schemas.microsoft.com/office/drawing/2014/main" id="{36840CDD-79D6-1616-7673-41FA7DAF568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327901" y="2225894"/>
            <a:ext cx="552360" cy="632145"/>
          </a:xfrm>
          <a:prstGeom prst="rect">
            <a:avLst/>
          </a:prstGeom>
        </p:spPr>
      </p:pic>
      <p:sp>
        <p:nvSpPr>
          <p:cNvPr id="453" name="Textfeld 22">
            <a:extLst>
              <a:ext uri="{FF2B5EF4-FFF2-40B4-BE49-F238E27FC236}">
                <a16:creationId xmlns:a16="http://schemas.microsoft.com/office/drawing/2014/main" id="{830F8098-AA3B-8745-B789-DD340EAC8BBF}"/>
              </a:ext>
            </a:extLst>
          </p:cNvPr>
          <p:cNvSpPr txBox="1"/>
          <p:nvPr/>
        </p:nvSpPr>
        <p:spPr>
          <a:xfrm>
            <a:off x="6889523" y="1936409"/>
            <a:ext cx="1274013" cy="23868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Job to be done</a:t>
            </a:r>
          </a:p>
          <a:p>
            <a:pPr marL="179737" marR="0" lvl="2" indent="-171404" algn="l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Finding protein sources</a:t>
            </a:r>
          </a:p>
          <a:p>
            <a:pPr marL="179737" marR="0" lvl="2" indent="-171404" algn="l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Evaluating their quality and cost-effectiveness</a:t>
            </a:r>
          </a:p>
          <a:p>
            <a:pPr marL="179737" marR="0" lvl="2" indent="-171404" algn="l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Procuring and processing proteins</a:t>
            </a:r>
          </a:p>
          <a:p>
            <a:pPr marL="179737" marR="0" lvl="2" indent="-171404" algn="l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Maintaining optimal supply chain</a:t>
            </a:r>
          </a:p>
          <a:p>
            <a:pPr marL="179737" marR="0" lvl="2" indent="-171404" algn="l" defTabSz="6856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Provide innovative ingredients 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350" b="1" i="0" u="none" strike="noStrike" kern="1200" cap="none" spc="0" normalizeH="0" baseline="0" noProof="0" dirty="0" err="1">
              <a:ln>
                <a:noFill/>
              </a:ln>
              <a:solidFill>
                <a:srgbClr val="02213C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grpSp>
        <p:nvGrpSpPr>
          <p:cNvPr id="456" name="Gruppieren 62">
            <a:extLst>
              <a:ext uri="{FF2B5EF4-FFF2-40B4-BE49-F238E27FC236}">
                <a16:creationId xmlns:a16="http://schemas.microsoft.com/office/drawing/2014/main" id="{7BC6A717-4D30-E709-6D8D-48C0DAC22BD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510597" y="857332"/>
            <a:ext cx="236158" cy="255729"/>
            <a:chOff x="10171113" y="388938"/>
            <a:chExt cx="287337" cy="311150"/>
          </a:xfrm>
          <a:solidFill>
            <a:srgbClr val="15233A"/>
          </a:solidFill>
        </p:grpSpPr>
        <p:sp>
          <p:nvSpPr>
            <p:cNvPr id="457" name="Oval 180">
              <a:extLst>
                <a:ext uri="{FF2B5EF4-FFF2-40B4-BE49-F238E27FC236}">
                  <a16:creationId xmlns:a16="http://schemas.microsoft.com/office/drawing/2014/main" id="{162D5B29-E558-D6C1-42C4-337BB1C9BD7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206038" y="411163"/>
              <a:ext cx="101600" cy="1063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  <p:sp>
          <p:nvSpPr>
            <p:cNvPr id="458" name="Freeform 181">
              <a:extLst>
                <a:ext uri="{FF2B5EF4-FFF2-40B4-BE49-F238E27FC236}">
                  <a16:creationId xmlns:a16="http://schemas.microsoft.com/office/drawing/2014/main" id="{6ED15A28-CD1E-77D0-49E5-C3BD3ED504C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171113" y="522288"/>
              <a:ext cx="171450" cy="177800"/>
            </a:xfrm>
            <a:custGeom>
              <a:avLst/>
              <a:gdLst>
                <a:gd name="T0" fmla="*/ 62 w 68"/>
                <a:gd name="T1" fmla="*/ 20 h 70"/>
                <a:gd name="T2" fmla="*/ 46 w 68"/>
                <a:gd name="T3" fmla="*/ 0 h 70"/>
                <a:gd name="T4" fmla="*/ 22 w 68"/>
                <a:gd name="T5" fmla="*/ 0 h 70"/>
                <a:gd name="T6" fmla="*/ 6 w 68"/>
                <a:gd name="T7" fmla="*/ 20 h 70"/>
                <a:gd name="T8" fmla="*/ 0 w 68"/>
                <a:gd name="T9" fmla="*/ 55 h 70"/>
                <a:gd name="T10" fmla="*/ 20 w 68"/>
                <a:gd name="T11" fmla="*/ 70 h 70"/>
                <a:gd name="T12" fmla="*/ 48 w 68"/>
                <a:gd name="T13" fmla="*/ 70 h 70"/>
                <a:gd name="T14" fmla="*/ 68 w 68"/>
                <a:gd name="T15" fmla="*/ 55 h 70"/>
                <a:gd name="T16" fmla="*/ 62 w 68"/>
                <a:gd name="T17" fmla="*/ 20 h 70"/>
                <a:gd name="T18" fmla="*/ 34 w 68"/>
                <a:gd name="T19" fmla="*/ 60 h 70"/>
                <a:gd name="T20" fmla="*/ 27 w 68"/>
                <a:gd name="T21" fmla="*/ 48 h 70"/>
                <a:gd name="T22" fmla="*/ 31 w 68"/>
                <a:gd name="T23" fmla="*/ 14 h 70"/>
                <a:gd name="T24" fmla="*/ 28 w 68"/>
                <a:gd name="T25" fmla="*/ 5 h 70"/>
                <a:gd name="T26" fmla="*/ 41 w 68"/>
                <a:gd name="T27" fmla="*/ 5 h 70"/>
                <a:gd name="T28" fmla="*/ 39 w 68"/>
                <a:gd name="T29" fmla="*/ 14 h 70"/>
                <a:gd name="T30" fmla="*/ 41 w 68"/>
                <a:gd name="T31" fmla="*/ 48 h 70"/>
                <a:gd name="T32" fmla="*/ 34 w 68"/>
                <a:gd name="T33" fmla="*/ 6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8" h="70">
                  <a:moveTo>
                    <a:pt x="62" y="20"/>
                  </a:moveTo>
                  <a:cubicBezTo>
                    <a:pt x="62" y="9"/>
                    <a:pt x="55" y="0"/>
                    <a:pt x="4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3" y="0"/>
                    <a:pt x="6" y="9"/>
                    <a:pt x="6" y="20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8"/>
                    <a:pt x="9" y="70"/>
                    <a:pt x="20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59" y="70"/>
                    <a:pt x="68" y="68"/>
                    <a:pt x="68" y="55"/>
                  </a:cubicBezTo>
                  <a:lnTo>
                    <a:pt x="62" y="20"/>
                  </a:lnTo>
                  <a:close/>
                  <a:moveTo>
                    <a:pt x="34" y="60"/>
                  </a:moveTo>
                  <a:cubicBezTo>
                    <a:pt x="27" y="48"/>
                    <a:pt x="27" y="48"/>
                    <a:pt x="27" y="4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0" y="13"/>
                    <a:pt x="28" y="12"/>
                    <a:pt x="28" y="5"/>
                  </a:cubicBezTo>
                  <a:cubicBezTo>
                    <a:pt x="28" y="5"/>
                    <a:pt x="35" y="1"/>
                    <a:pt x="41" y="5"/>
                  </a:cubicBezTo>
                  <a:cubicBezTo>
                    <a:pt x="41" y="5"/>
                    <a:pt x="42" y="11"/>
                    <a:pt x="39" y="14"/>
                  </a:cubicBezTo>
                  <a:cubicBezTo>
                    <a:pt x="41" y="48"/>
                    <a:pt x="41" y="48"/>
                    <a:pt x="41" y="48"/>
                  </a:cubicBezTo>
                  <a:lnTo>
                    <a:pt x="3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  <p:sp>
          <p:nvSpPr>
            <p:cNvPr id="459" name="Oval 182">
              <a:extLst>
                <a:ext uri="{FF2B5EF4-FFF2-40B4-BE49-F238E27FC236}">
                  <a16:creationId xmlns:a16="http://schemas.microsoft.com/office/drawing/2014/main" id="{193656EF-C2A7-3577-EE3B-9A99A1F2145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334625" y="388938"/>
              <a:ext cx="93662" cy="936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  <p:sp>
          <p:nvSpPr>
            <p:cNvPr id="460" name="Freeform 183">
              <a:extLst>
                <a:ext uri="{FF2B5EF4-FFF2-40B4-BE49-F238E27FC236}">
                  <a16:creationId xmlns:a16="http://schemas.microsoft.com/office/drawing/2014/main" id="{D107117E-0A67-5318-C528-8897526F6B7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317163" y="487363"/>
              <a:ext cx="141287" cy="158750"/>
            </a:xfrm>
            <a:custGeom>
              <a:avLst/>
              <a:gdLst>
                <a:gd name="T0" fmla="*/ 51 w 56"/>
                <a:gd name="T1" fmla="*/ 18 h 63"/>
                <a:gd name="T2" fmla="*/ 36 w 56"/>
                <a:gd name="T3" fmla="*/ 0 h 63"/>
                <a:gd name="T4" fmla="*/ 15 w 56"/>
                <a:gd name="T5" fmla="*/ 0 h 63"/>
                <a:gd name="T6" fmla="*/ 0 w 56"/>
                <a:gd name="T7" fmla="*/ 14 h 63"/>
                <a:gd name="T8" fmla="*/ 8 w 56"/>
                <a:gd name="T9" fmla="*/ 31 h 63"/>
                <a:gd name="T10" fmla="*/ 13 w 56"/>
                <a:gd name="T11" fmla="*/ 63 h 63"/>
                <a:gd name="T12" fmla="*/ 38 w 56"/>
                <a:gd name="T13" fmla="*/ 63 h 63"/>
                <a:gd name="T14" fmla="*/ 56 w 56"/>
                <a:gd name="T15" fmla="*/ 50 h 63"/>
                <a:gd name="T16" fmla="*/ 51 w 56"/>
                <a:gd name="T17" fmla="*/ 18 h 63"/>
                <a:gd name="T18" fmla="*/ 32 w 56"/>
                <a:gd name="T19" fmla="*/ 43 h 63"/>
                <a:gd name="T20" fmla="*/ 25 w 56"/>
                <a:gd name="T21" fmla="*/ 54 h 63"/>
                <a:gd name="T22" fmla="*/ 19 w 56"/>
                <a:gd name="T23" fmla="*/ 43 h 63"/>
                <a:gd name="T24" fmla="*/ 22 w 56"/>
                <a:gd name="T25" fmla="*/ 12 h 63"/>
                <a:gd name="T26" fmla="*/ 20 w 56"/>
                <a:gd name="T27" fmla="*/ 5 h 63"/>
                <a:gd name="T28" fmla="*/ 32 w 56"/>
                <a:gd name="T29" fmla="*/ 5 h 63"/>
                <a:gd name="T30" fmla="*/ 29 w 56"/>
                <a:gd name="T31" fmla="*/ 12 h 63"/>
                <a:gd name="T32" fmla="*/ 32 w 56"/>
                <a:gd name="T33" fmla="*/ 4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63">
                  <a:moveTo>
                    <a:pt x="51" y="18"/>
                  </a:moveTo>
                  <a:cubicBezTo>
                    <a:pt x="51" y="8"/>
                    <a:pt x="44" y="0"/>
                    <a:pt x="3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8" y="0"/>
                    <a:pt x="2" y="6"/>
                    <a:pt x="0" y="14"/>
                  </a:cubicBezTo>
                  <a:cubicBezTo>
                    <a:pt x="5" y="17"/>
                    <a:pt x="8" y="24"/>
                    <a:pt x="8" y="31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48" y="63"/>
                    <a:pt x="56" y="62"/>
                    <a:pt x="56" y="50"/>
                  </a:cubicBezTo>
                  <a:lnTo>
                    <a:pt x="51" y="18"/>
                  </a:lnTo>
                  <a:close/>
                  <a:moveTo>
                    <a:pt x="32" y="43"/>
                  </a:moveTo>
                  <a:cubicBezTo>
                    <a:pt x="25" y="54"/>
                    <a:pt x="25" y="54"/>
                    <a:pt x="25" y="54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0" y="11"/>
                    <a:pt x="20" y="5"/>
                  </a:cubicBezTo>
                  <a:cubicBezTo>
                    <a:pt x="20" y="5"/>
                    <a:pt x="26" y="1"/>
                    <a:pt x="32" y="5"/>
                  </a:cubicBezTo>
                  <a:cubicBezTo>
                    <a:pt x="32" y="5"/>
                    <a:pt x="32" y="10"/>
                    <a:pt x="29" y="12"/>
                  </a:cubicBezTo>
                  <a:lnTo>
                    <a:pt x="32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</p:grpSp>
      <p:sp>
        <p:nvSpPr>
          <p:cNvPr id="3" name="Textfeld 29">
            <a:extLst>
              <a:ext uri="{FF2B5EF4-FFF2-40B4-BE49-F238E27FC236}">
                <a16:creationId xmlns:a16="http://schemas.microsoft.com/office/drawing/2014/main" id="{399BAA67-0745-1449-ED63-53BDC9C0C443}"/>
              </a:ext>
            </a:extLst>
          </p:cNvPr>
          <p:cNvSpPr txBox="1"/>
          <p:nvPr/>
        </p:nvSpPr>
        <p:spPr>
          <a:xfrm>
            <a:off x="132913" y="4073442"/>
            <a:ext cx="8704575" cy="5359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marL="0" marR="0" lvl="0" indent="0" algn="l" defTabSz="342809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Our          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Insect-based product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helps           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head of sales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who          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seek for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alternative proteins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to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             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provide reliable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5233A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and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33A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              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high-quality protein powder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through               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innovative 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5233A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and         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environmentally friendly sources of raw material.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pic>
        <p:nvPicPr>
          <p:cNvPr id="5" name="Grafik 34">
            <a:extLst>
              <a:ext uri="{FF2B5EF4-FFF2-40B4-BE49-F238E27FC236}">
                <a16:creationId xmlns:a16="http://schemas.microsoft.com/office/drawing/2014/main" id="{5E196705-4CED-2F8C-2018-ABE17274055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20126" y="4130068"/>
            <a:ext cx="227081" cy="243301"/>
          </a:xfrm>
          <a:prstGeom prst="rect">
            <a:avLst/>
          </a:prstGeom>
        </p:spPr>
      </p:pic>
      <p:grpSp>
        <p:nvGrpSpPr>
          <p:cNvPr id="6" name="Gruppieren 67">
            <a:extLst>
              <a:ext uri="{FF2B5EF4-FFF2-40B4-BE49-F238E27FC236}">
                <a16:creationId xmlns:a16="http://schemas.microsoft.com/office/drawing/2014/main" id="{BEAC76D2-7AF6-AA36-ACC5-38D59C8BC316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042921" y="4103422"/>
            <a:ext cx="236158" cy="255729"/>
            <a:chOff x="10171113" y="388938"/>
            <a:chExt cx="287337" cy="311150"/>
          </a:xfrm>
          <a:solidFill>
            <a:srgbClr val="15233A"/>
          </a:solidFill>
        </p:grpSpPr>
        <p:sp>
          <p:nvSpPr>
            <p:cNvPr id="7" name="Oval 180">
              <a:extLst>
                <a:ext uri="{FF2B5EF4-FFF2-40B4-BE49-F238E27FC236}">
                  <a16:creationId xmlns:a16="http://schemas.microsoft.com/office/drawing/2014/main" id="{53EF0540-B212-2A46-AC17-6DC777CDFCB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206038" y="411163"/>
              <a:ext cx="101600" cy="1063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  <p:sp>
          <p:nvSpPr>
            <p:cNvPr id="8" name="Freeform 181">
              <a:extLst>
                <a:ext uri="{FF2B5EF4-FFF2-40B4-BE49-F238E27FC236}">
                  <a16:creationId xmlns:a16="http://schemas.microsoft.com/office/drawing/2014/main" id="{1537EBA3-BBCB-F057-0C1E-3E79791DED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171113" y="522288"/>
              <a:ext cx="171450" cy="177800"/>
            </a:xfrm>
            <a:custGeom>
              <a:avLst/>
              <a:gdLst>
                <a:gd name="T0" fmla="*/ 62 w 68"/>
                <a:gd name="T1" fmla="*/ 20 h 70"/>
                <a:gd name="T2" fmla="*/ 46 w 68"/>
                <a:gd name="T3" fmla="*/ 0 h 70"/>
                <a:gd name="T4" fmla="*/ 22 w 68"/>
                <a:gd name="T5" fmla="*/ 0 h 70"/>
                <a:gd name="T6" fmla="*/ 6 w 68"/>
                <a:gd name="T7" fmla="*/ 20 h 70"/>
                <a:gd name="T8" fmla="*/ 0 w 68"/>
                <a:gd name="T9" fmla="*/ 55 h 70"/>
                <a:gd name="T10" fmla="*/ 20 w 68"/>
                <a:gd name="T11" fmla="*/ 70 h 70"/>
                <a:gd name="T12" fmla="*/ 48 w 68"/>
                <a:gd name="T13" fmla="*/ 70 h 70"/>
                <a:gd name="T14" fmla="*/ 68 w 68"/>
                <a:gd name="T15" fmla="*/ 55 h 70"/>
                <a:gd name="T16" fmla="*/ 62 w 68"/>
                <a:gd name="T17" fmla="*/ 20 h 70"/>
                <a:gd name="T18" fmla="*/ 34 w 68"/>
                <a:gd name="T19" fmla="*/ 60 h 70"/>
                <a:gd name="T20" fmla="*/ 27 w 68"/>
                <a:gd name="T21" fmla="*/ 48 h 70"/>
                <a:gd name="T22" fmla="*/ 31 w 68"/>
                <a:gd name="T23" fmla="*/ 14 h 70"/>
                <a:gd name="T24" fmla="*/ 28 w 68"/>
                <a:gd name="T25" fmla="*/ 5 h 70"/>
                <a:gd name="T26" fmla="*/ 41 w 68"/>
                <a:gd name="T27" fmla="*/ 5 h 70"/>
                <a:gd name="T28" fmla="*/ 39 w 68"/>
                <a:gd name="T29" fmla="*/ 14 h 70"/>
                <a:gd name="T30" fmla="*/ 41 w 68"/>
                <a:gd name="T31" fmla="*/ 48 h 70"/>
                <a:gd name="T32" fmla="*/ 34 w 68"/>
                <a:gd name="T33" fmla="*/ 6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8" h="70">
                  <a:moveTo>
                    <a:pt x="62" y="20"/>
                  </a:moveTo>
                  <a:cubicBezTo>
                    <a:pt x="62" y="9"/>
                    <a:pt x="55" y="0"/>
                    <a:pt x="4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3" y="0"/>
                    <a:pt x="6" y="9"/>
                    <a:pt x="6" y="20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8"/>
                    <a:pt x="9" y="70"/>
                    <a:pt x="20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59" y="70"/>
                    <a:pt x="68" y="68"/>
                    <a:pt x="68" y="55"/>
                  </a:cubicBezTo>
                  <a:lnTo>
                    <a:pt x="62" y="20"/>
                  </a:lnTo>
                  <a:close/>
                  <a:moveTo>
                    <a:pt x="34" y="60"/>
                  </a:moveTo>
                  <a:cubicBezTo>
                    <a:pt x="27" y="48"/>
                    <a:pt x="27" y="48"/>
                    <a:pt x="27" y="4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0" y="13"/>
                    <a:pt x="28" y="12"/>
                    <a:pt x="28" y="5"/>
                  </a:cubicBezTo>
                  <a:cubicBezTo>
                    <a:pt x="28" y="5"/>
                    <a:pt x="35" y="1"/>
                    <a:pt x="41" y="5"/>
                  </a:cubicBezTo>
                  <a:cubicBezTo>
                    <a:pt x="41" y="5"/>
                    <a:pt x="42" y="11"/>
                    <a:pt x="39" y="14"/>
                  </a:cubicBezTo>
                  <a:cubicBezTo>
                    <a:pt x="41" y="48"/>
                    <a:pt x="41" y="48"/>
                    <a:pt x="41" y="48"/>
                  </a:cubicBezTo>
                  <a:lnTo>
                    <a:pt x="3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  <p:sp>
          <p:nvSpPr>
            <p:cNvPr id="9" name="Oval 182">
              <a:extLst>
                <a:ext uri="{FF2B5EF4-FFF2-40B4-BE49-F238E27FC236}">
                  <a16:creationId xmlns:a16="http://schemas.microsoft.com/office/drawing/2014/main" id="{11359C29-4009-D6FC-C4D9-957341BAAF8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334625" y="388938"/>
              <a:ext cx="93662" cy="936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  <p:sp>
          <p:nvSpPr>
            <p:cNvPr id="10" name="Freeform 183">
              <a:extLst>
                <a:ext uri="{FF2B5EF4-FFF2-40B4-BE49-F238E27FC236}">
                  <a16:creationId xmlns:a16="http://schemas.microsoft.com/office/drawing/2014/main" id="{990AA5F8-FEB5-34C7-A109-27CC0966A2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317163" y="487363"/>
              <a:ext cx="141287" cy="158750"/>
            </a:xfrm>
            <a:custGeom>
              <a:avLst/>
              <a:gdLst>
                <a:gd name="T0" fmla="*/ 51 w 56"/>
                <a:gd name="T1" fmla="*/ 18 h 63"/>
                <a:gd name="T2" fmla="*/ 36 w 56"/>
                <a:gd name="T3" fmla="*/ 0 h 63"/>
                <a:gd name="T4" fmla="*/ 15 w 56"/>
                <a:gd name="T5" fmla="*/ 0 h 63"/>
                <a:gd name="T6" fmla="*/ 0 w 56"/>
                <a:gd name="T7" fmla="*/ 14 h 63"/>
                <a:gd name="T8" fmla="*/ 8 w 56"/>
                <a:gd name="T9" fmla="*/ 31 h 63"/>
                <a:gd name="T10" fmla="*/ 13 w 56"/>
                <a:gd name="T11" fmla="*/ 63 h 63"/>
                <a:gd name="T12" fmla="*/ 38 w 56"/>
                <a:gd name="T13" fmla="*/ 63 h 63"/>
                <a:gd name="T14" fmla="*/ 56 w 56"/>
                <a:gd name="T15" fmla="*/ 50 h 63"/>
                <a:gd name="T16" fmla="*/ 51 w 56"/>
                <a:gd name="T17" fmla="*/ 18 h 63"/>
                <a:gd name="T18" fmla="*/ 32 w 56"/>
                <a:gd name="T19" fmla="*/ 43 h 63"/>
                <a:gd name="T20" fmla="*/ 25 w 56"/>
                <a:gd name="T21" fmla="*/ 54 h 63"/>
                <a:gd name="T22" fmla="*/ 19 w 56"/>
                <a:gd name="T23" fmla="*/ 43 h 63"/>
                <a:gd name="T24" fmla="*/ 22 w 56"/>
                <a:gd name="T25" fmla="*/ 12 h 63"/>
                <a:gd name="T26" fmla="*/ 20 w 56"/>
                <a:gd name="T27" fmla="*/ 5 h 63"/>
                <a:gd name="T28" fmla="*/ 32 w 56"/>
                <a:gd name="T29" fmla="*/ 5 h 63"/>
                <a:gd name="T30" fmla="*/ 29 w 56"/>
                <a:gd name="T31" fmla="*/ 12 h 63"/>
                <a:gd name="T32" fmla="*/ 32 w 56"/>
                <a:gd name="T33" fmla="*/ 4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63">
                  <a:moveTo>
                    <a:pt x="51" y="18"/>
                  </a:moveTo>
                  <a:cubicBezTo>
                    <a:pt x="51" y="8"/>
                    <a:pt x="44" y="0"/>
                    <a:pt x="3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8" y="0"/>
                    <a:pt x="2" y="6"/>
                    <a:pt x="0" y="14"/>
                  </a:cubicBezTo>
                  <a:cubicBezTo>
                    <a:pt x="5" y="17"/>
                    <a:pt x="8" y="24"/>
                    <a:pt x="8" y="31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48" y="63"/>
                    <a:pt x="56" y="62"/>
                    <a:pt x="56" y="50"/>
                  </a:cubicBezTo>
                  <a:lnTo>
                    <a:pt x="51" y="18"/>
                  </a:lnTo>
                  <a:close/>
                  <a:moveTo>
                    <a:pt x="32" y="43"/>
                  </a:moveTo>
                  <a:cubicBezTo>
                    <a:pt x="25" y="54"/>
                    <a:pt x="25" y="54"/>
                    <a:pt x="25" y="54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0" y="11"/>
                    <a:pt x="20" y="5"/>
                  </a:cubicBezTo>
                  <a:cubicBezTo>
                    <a:pt x="20" y="5"/>
                    <a:pt x="26" y="1"/>
                    <a:pt x="32" y="5"/>
                  </a:cubicBezTo>
                  <a:cubicBezTo>
                    <a:pt x="32" y="5"/>
                    <a:pt x="32" y="10"/>
                    <a:pt x="29" y="12"/>
                  </a:cubicBezTo>
                  <a:lnTo>
                    <a:pt x="32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</p:grpSp>
      <p:pic>
        <p:nvPicPr>
          <p:cNvPr id="11" name="Grafik 72">
            <a:extLst>
              <a:ext uri="{FF2B5EF4-FFF2-40B4-BE49-F238E27FC236}">
                <a16:creationId xmlns:a16="http://schemas.microsoft.com/office/drawing/2014/main" id="{444B4185-E75A-29B7-8297-136BBBE6911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225239" y="4034522"/>
            <a:ext cx="224203" cy="307241"/>
          </a:xfrm>
          <a:prstGeom prst="rect">
            <a:avLst/>
          </a:prstGeom>
        </p:spPr>
      </p:pic>
      <p:pic>
        <p:nvPicPr>
          <p:cNvPr id="12" name="Grafik 75">
            <a:extLst>
              <a:ext uri="{FF2B5EF4-FFF2-40B4-BE49-F238E27FC236}">
                <a16:creationId xmlns:a16="http://schemas.microsoft.com/office/drawing/2014/main" id="{A7475167-D508-905D-824F-50C52C318BA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074418" y="4130068"/>
            <a:ext cx="227081" cy="128884"/>
          </a:xfrm>
          <a:prstGeom prst="rect">
            <a:avLst/>
          </a:prstGeom>
        </p:spPr>
      </p:pic>
      <p:pic>
        <p:nvPicPr>
          <p:cNvPr id="13" name="Grafik 74">
            <a:extLst>
              <a:ext uri="{FF2B5EF4-FFF2-40B4-BE49-F238E27FC236}">
                <a16:creationId xmlns:a16="http://schemas.microsoft.com/office/drawing/2014/main" id="{AD3140F8-5F34-21D3-52BF-605CF6AA170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407967" y="4146911"/>
            <a:ext cx="217474" cy="152820"/>
          </a:xfrm>
          <a:prstGeom prst="rect">
            <a:avLst/>
          </a:prstGeom>
        </p:spPr>
      </p:pic>
      <p:pic>
        <p:nvPicPr>
          <p:cNvPr id="14" name="Grafik 76">
            <a:extLst>
              <a:ext uri="{FF2B5EF4-FFF2-40B4-BE49-F238E27FC236}">
                <a16:creationId xmlns:a16="http://schemas.microsoft.com/office/drawing/2014/main" id="{4D58BF68-8993-1B53-A9E4-ECA0182DFA8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55259" y="4048449"/>
            <a:ext cx="276180" cy="263905"/>
          </a:xfrm>
          <a:prstGeom prst="rect">
            <a:avLst/>
          </a:prstGeom>
        </p:spPr>
      </p:pic>
      <p:pic>
        <p:nvPicPr>
          <p:cNvPr id="16" name="Grafik 77">
            <a:extLst>
              <a:ext uri="{FF2B5EF4-FFF2-40B4-BE49-F238E27FC236}">
                <a16:creationId xmlns:a16="http://schemas.microsoft.com/office/drawing/2014/main" id="{2F7B88BC-DEED-9197-610F-3BB2BA35274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4842" y="4299731"/>
            <a:ext cx="276180" cy="282317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6F1B56E7-1F43-D374-EAA7-9080EAD2B384}"/>
              </a:ext>
            </a:extLst>
          </p:cNvPr>
          <p:cNvSpPr txBox="1"/>
          <p:nvPr/>
        </p:nvSpPr>
        <p:spPr>
          <a:xfrm>
            <a:off x="6111564" y="2373879"/>
            <a:ext cx="1071773" cy="50783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de-DE" sz="900" b="1" i="0" u="none" strike="noStrike" kern="1200" cap="none" spc="0" normalizeH="0" baseline="0" noProof="0" dirty="0">
                <a:ln>
                  <a:noFill/>
                </a:ln>
                <a:solidFill>
                  <a:srgbClr val="0A73B4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Head of sales ingredient supplier </a:t>
            </a:r>
          </a:p>
        </p:txBody>
      </p:sp>
      <p:sp>
        <p:nvSpPr>
          <p:cNvPr id="45" name="Freeform 8">
            <a:extLst>
              <a:ext uri="{FF2B5EF4-FFF2-40B4-BE49-F238E27FC236}">
                <a16:creationId xmlns:a16="http://schemas.microsoft.com/office/drawing/2014/main" id="{7FCC4241-A165-4BAD-A76E-6BABB86C7CBB}"/>
              </a:ext>
            </a:extLst>
          </p:cNvPr>
          <p:cNvSpPr/>
          <p:nvPr/>
        </p:nvSpPr>
        <p:spPr>
          <a:xfrm>
            <a:off x="306512" y="4609362"/>
            <a:ext cx="798576" cy="386478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24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cxnSp>
        <p:nvCxnSpPr>
          <p:cNvPr id="47" name="Straight Arrow Connector 80">
            <a:extLst>
              <a:ext uri="{FF2B5EF4-FFF2-40B4-BE49-F238E27FC236}">
                <a16:creationId xmlns:a16="http://schemas.microsoft.com/office/drawing/2014/main" id="{63012C79-457E-4760-A870-08A9E3B13A2A}"/>
              </a:ext>
            </a:extLst>
          </p:cNvPr>
          <p:cNvCxnSpPr>
            <a:cxnSpLocks/>
          </p:cNvCxnSpPr>
          <p:nvPr/>
        </p:nvCxnSpPr>
        <p:spPr>
          <a:xfrm>
            <a:off x="-1358881" y="3750741"/>
            <a:ext cx="215844" cy="0"/>
          </a:xfrm>
          <a:prstGeom prst="straightConnector1">
            <a:avLst/>
          </a:prstGeom>
          <a:ln w="25400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reeform 7">
            <a:extLst>
              <a:ext uri="{FF2B5EF4-FFF2-40B4-BE49-F238E27FC236}">
                <a16:creationId xmlns:a16="http://schemas.microsoft.com/office/drawing/2014/main" id="{E1893213-A69D-BBCF-EEA1-15FECF5CA458}"/>
              </a:ext>
            </a:extLst>
          </p:cNvPr>
          <p:cNvSpPr/>
          <p:nvPr/>
        </p:nvSpPr>
        <p:spPr>
          <a:xfrm>
            <a:off x="6110909" y="460258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25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07907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7437843"/>
              </p:ext>
            </p:extLst>
          </p:nvPr>
        </p:nvGraphicFramePr>
        <p:xfrm>
          <a:off x="2844" y="119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1" imgH="298" progId="TCLayout.ActiveDocument.1">
                  <p:embed/>
                </p:oleObj>
              </mc:Choice>
              <mc:Fallback>
                <p:oleObj name="think-cell Folie" r:id="rId4" imgW="301" imgH="29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44" y="119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 vert="horz" lIns="81619" tIns="40809" rIns="81619" bIns="40809" rtlCol="0" anchor="ctr" anchorCtr="0">
            <a:noAutofit/>
          </a:bodyPr>
          <a:lstStyle/>
          <a:p>
            <a:r>
              <a:rPr lang="en-GB" dirty="0">
                <a:latin typeface="Titillium Web" panose="00000500000000000000" pitchFamily="2" charset="0"/>
              </a:rPr>
              <a:t>Business modelling (I) – customers and value proposition</a:t>
            </a:r>
          </a:p>
        </p:txBody>
      </p:sp>
      <p:grpSp>
        <p:nvGrpSpPr>
          <p:cNvPr id="7" name="Gruppieren 3">
            <a:extLst>
              <a:ext uri="{FF2B5EF4-FFF2-40B4-BE49-F238E27FC236}">
                <a16:creationId xmlns:a16="http://schemas.microsoft.com/office/drawing/2014/main" id="{2998ECC9-6620-0DF6-9458-F552575E687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52520" y="951945"/>
            <a:ext cx="8457909" cy="3642387"/>
            <a:chOff x="540001" y="1520825"/>
            <a:chExt cx="11109600" cy="4291189"/>
          </a:xfrm>
        </p:grpSpPr>
        <p:grpSp>
          <p:nvGrpSpPr>
            <p:cNvPr id="8" name="Gruppieren 42">
              <a:extLst>
                <a:ext uri="{FF2B5EF4-FFF2-40B4-BE49-F238E27FC236}">
                  <a16:creationId xmlns:a16="http://schemas.microsoft.com/office/drawing/2014/main" id="{BB61760B-2FE6-E903-AC4F-3F35416B8C7B}"/>
                </a:ext>
              </a:extLst>
            </p:cNvPr>
            <p:cNvGrpSpPr/>
            <p:nvPr/>
          </p:nvGrpSpPr>
          <p:grpSpPr bwMode="gray">
            <a:xfrm>
              <a:off x="540001" y="1520825"/>
              <a:ext cx="11109600" cy="4291189"/>
              <a:chOff x="540001" y="1520825"/>
              <a:chExt cx="11109600" cy="4291189"/>
            </a:xfrm>
          </p:grpSpPr>
          <p:sp>
            <p:nvSpPr>
              <p:cNvPr id="245" name="Rechteck 5">
                <a:extLst>
                  <a:ext uri="{FF2B5EF4-FFF2-40B4-BE49-F238E27FC236}">
                    <a16:creationId xmlns:a16="http://schemas.microsoft.com/office/drawing/2014/main" id="{29B99679-6A38-D2C8-6F13-A59B8E004371}"/>
                  </a:ext>
                </a:extLst>
              </p:cNvPr>
              <p:cNvSpPr/>
              <p:nvPr/>
            </p:nvSpPr>
            <p:spPr bwMode="gray">
              <a:xfrm>
                <a:off x="540001" y="1520827"/>
                <a:ext cx="2221920" cy="311584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6" name="Rechteck 6">
                <a:extLst>
                  <a:ext uri="{FF2B5EF4-FFF2-40B4-BE49-F238E27FC236}">
                    <a16:creationId xmlns:a16="http://schemas.microsoft.com/office/drawing/2014/main" id="{4543FDA3-43A9-4963-1214-E1AF0BB60BAC}"/>
                  </a:ext>
                </a:extLst>
              </p:cNvPr>
              <p:cNvSpPr/>
              <p:nvPr/>
            </p:nvSpPr>
            <p:spPr bwMode="gray">
              <a:xfrm>
                <a:off x="2761921" y="1520825"/>
                <a:ext cx="2221920" cy="1561497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7" name="Rechteck 7">
                <a:extLst>
                  <a:ext uri="{FF2B5EF4-FFF2-40B4-BE49-F238E27FC236}">
                    <a16:creationId xmlns:a16="http://schemas.microsoft.com/office/drawing/2014/main" id="{A4D87EF9-57A9-A2CF-205A-687EAEB1FA6A}"/>
                  </a:ext>
                </a:extLst>
              </p:cNvPr>
              <p:cNvSpPr/>
              <p:nvPr/>
            </p:nvSpPr>
            <p:spPr bwMode="gray">
              <a:xfrm>
                <a:off x="4983841" y="1520827"/>
                <a:ext cx="2221920" cy="3122991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8" name="Rechteck 8">
                <a:extLst>
                  <a:ext uri="{FF2B5EF4-FFF2-40B4-BE49-F238E27FC236}">
                    <a16:creationId xmlns:a16="http://schemas.microsoft.com/office/drawing/2014/main" id="{334A4B3B-E0C1-04DD-A956-1444910D32F5}"/>
                  </a:ext>
                </a:extLst>
              </p:cNvPr>
              <p:cNvSpPr/>
              <p:nvPr/>
            </p:nvSpPr>
            <p:spPr bwMode="gray">
              <a:xfrm>
                <a:off x="7205761" y="1520826"/>
                <a:ext cx="2221920" cy="156149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9" name="Rechteck 9">
                <a:extLst>
                  <a:ext uri="{FF2B5EF4-FFF2-40B4-BE49-F238E27FC236}">
                    <a16:creationId xmlns:a16="http://schemas.microsoft.com/office/drawing/2014/main" id="{3D3F8EA2-E5FE-4937-9CCB-55F416702B35}"/>
                  </a:ext>
                </a:extLst>
              </p:cNvPr>
              <p:cNvSpPr/>
              <p:nvPr/>
            </p:nvSpPr>
            <p:spPr bwMode="gray">
              <a:xfrm>
                <a:off x="2761918" y="3075176"/>
                <a:ext cx="2221920" cy="15686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0" name="Rechteck 10">
                <a:extLst>
                  <a:ext uri="{FF2B5EF4-FFF2-40B4-BE49-F238E27FC236}">
                    <a16:creationId xmlns:a16="http://schemas.microsoft.com/office/drawing/2014/main" id="{D5A5CD0C-5BDC-8846-EFD0-303083E4BEBD}"/>
                  </a:ext>
                </a:extLst>
              </p:cNvPr>
              <p:cNvSpPr/>
              <p:nvPr/>
            </p:nvSpPr>
            <p:spPr bwMode="gray">
              <a:xfrm>
                <a:off x="7205758" y="3075177"/>
                <a:ext cx="2221920" cy="1568641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b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7D7D7D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rPr>
                </a:b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1" name="Rechteck 11">
                <a:extLst>
                  <a:ext uri="{FF2B5EF4-FFF2-40B4-BE49-F238E27FC236}">
                    <a16:creationId xmlns:a16="http://schemas.microsoft.com/office/drawing/2014/main" id="{B89F1EBA-0A30-A68B-30F0-B588955E310F}"/>
                  </a:ext>
                </a:extLst>
              </p:cNvPr>
              <p:cNvSpPr/>
              <p:nvPr/>
            </p:nvSpPr>
            <p:spPr bwMode="gray">
              <a:xfrm>
                <a:off x="540001" y="4636672"/>
                <a:ext cx="5554796" cy="11753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2" name="Rechteck 12">
                <a:extLst>
                  <a:ext uri="{FF2B5EF4-FFF2-40B4-BE49-F238E27FC236}">
                    <a16:creationId xmlns:a16="http://schemas.microsoft.com/office/drawing/2014/main" id="{75FF3B54-D1D2-F839-F9BD-73BADFC07F04}"/>
                  </a:ext>
                </a:extLst>
              </p:cNvPr>
              <p:cNvSpPr/>
              <p:nvPr/>
            </p:nvSpPr>
            <p:spPr bwMode="gray">
              <a:xfrm>
                <a:off x="6094797" y="4636672"/>
                <a:ext cx="5554801" cy="11753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3" name="Rechteck 13">
                <a:extLst>
                  <a:ext uri="{FF2B5EF4-FFF2-40B4-BE49-F238E27FC236}">
                    <a16:creationId xmlns:a16="http://schemas.microsoft.com/office/drawing/2014/main" id="{2194A16D-8AE3-E215-1ADA-0B10D563845B}"/>
                  </a:ext>
                </a:extLst>
              </p:cNvPr>
              <p:cNvSpPr/>
              <p:nvPr/>
            </p:nvSpPr>
            <p:spPr bwMode="gray">
              <a:xfrm>
                <a:off x="9427681" y="1520825"/>
                <a:ext cx="2221920" cy="311584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sp>
          <p:nvSpPr>
            <p:cNvPr id="9" name="Rechteck 14">
              <a:extLst>
                <a:ext uri="{FF2B5EF4-FFF2-40B4-BE49-F238E27FC236}">
                  <a16:creationId xmlns:a16="http://schemas.microsoft.com/office/drawing/2014/main" id="{BD079CB0-E2A2-DA0B-5EB1-B95D100BAA82}"/>
                </a:ext>
              </a:extLst>
            </p:cNvPr>
            <p:cNvSpPr/>
            <p:nvPr/>
          </p:nvSpPr>
          <p:spPr bwMode="gray">
            <a:xfrm>
              <a:off x="2761918" y="3145019"/>
              <a:ext cx="14490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sources</a:t>
              </a:r>
            </a:p>
          </p:txBody>
        </p:sp>
        <p:sp>
          <p:nvSpPr>
            <p:cNvPr id="10" name="Rechteck 15">
              <a:extLst>
                <a:ext uri="{FF2B5EF4-FFF2-40B4-BE49-F238E27FC236}">
                  <a16:creationId xmlns:a16="http://schemas.microsoft.com/office/drawing/2014/main" id="{7BA8856D-5420-C368-7DD9-C47ADEAA5B1D}"/>
                </a:ext>
              </a:extLst>
            </p:cNvPr>
            <p:cNvSpPr/>
            <p:nvPr/>
          </p:nvSpPr>
          <p:spPr bwMode="gray">
            <a:xfrm>
              <a:off x="7205761" y="3145019"/>
              <a:ext cx="22219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hannels</a:t>
              </a:r>
            </a:p>
          </p:txBody>
        </p:sp>
        <p:sp>
          <p:nvSpPr>
            <p:cNvPr id="11" name="Rechteck 16">
              <a:extLst>
                <a:ext uri="{FF2B5EF4-FFF2-40B4-BE49-F238E27FC236}">
                  <a16:creationId xmlns:a16="http://schemas.microsoft.com/office/drawing/2014/main" id="{86F38D2B-FEF3-2625-8B0C-03A629D8C28F}"/>
                </a:ext>
              </a:extLst>
            </p:cNvPr>
            <p:cNvSpPr/>
            <p:nvPr/>
          </p:nvSpPr>
          <p:spPr bwMode="gray">
            <a:xfrm>
              <a:off x="540001" y="4699369"/>
              <a:ext cx="3940021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ost Structure</a:t>
              </a:r>
            </a:p>
          </p:txBody>
        </p:sp>
        <p:sp>
          <p:nvSpPr>
            <p:cNvPr id="12" name="Rechteck 17">
              <a:extLst>
                <a:ext uri="{FF2B5EF4-FFF2-40B4-BE49-F238E27FC236}">
                  <a16:creationId xmlns:a16="http://schemas.microsoft.com/office/drawing/2014/main" id="{8ED892FD-4591-51FB-E3F1-417C2404E242}"/>
                </a:ext>
              </a:extLst>
            </p:cNvPr>
            <p:cNvSpPr/>
            <p:nvPr/>
          </p:nvSpPr>
          <p:spPr bwMode="gray">
            <a:xfrm>
              <a:off x="540002" y="1681114"/>
              <a:ext cx="2221916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Partners</a:t>
              </a:r>
            </a:p>
          </p:txBody>
        </p:sp>
        <p:sp>
          <p:nvSpPr>
            <p:cNvPr id="13" name="Rechteck 18">
              <a:extLst>
                <a:ext uri="{FF2B5EF4-FFF2-40B4-BE49-F238E27FC236}">
                  <a16:creationId xmlns:a16="http://schemas.microsoft.com/office/drawing/2014/main" id="{AF3E3F5C-930B-B240-F48A-D0CA0A93C48A}"/>
                </a:ext>
              </a:extLst>
            </p:cNvPr>
            <p:cNvSpPr/>
            <p:nvPr/>
          </p:nvSpPr>
          <p:spPr bwMode="gray">
            <a:xfrm>
              <a:off x="2761922" y="1583524"/>
              <a:ext cx="171810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Activities</a:t>
              </a:r>
            </a:p>
          </p:txBody>
        </p:sp>
        <p:sp>
          <p:nvSpPr>
            <p:cNvPr id="14" name="Rechteck 36">
              <a:extLst>
                <a:ext uri="{FF2B5EF4-FFF2-40B4-BE49-F238E27FC236}">
                  <a16:creationId xmlns:a16="http://schemas.microsoft.com/office/drawing/2014/main" id="{3CDFEA71-8802-F28D-E415-258278335315}"/>
                </a:ext>
              </a:extLst>
            </p:cNvPr>
            <p:cNvSpPr/>
            <p:nvPr/>
          </p:nvSpPr>
          <p:spPr bwMode="gray">
            <a:xfrm>
              <a:off x="4983841" y="1583524"/>
              <a:ext cx="22219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Value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Proposition</a:t>
              </a:r>
            </a:p>
          </p:txBody>
        </p:sp>
        <p:sp>
          <p:nvSpPr>
            <p:cNvPr id="15" name="Rechteck 37">
              <a:extLst>
                <a:ext uri="{FF2B5EF4-FFF2-40B4-BE49-F238E27FC236}">
                  <a16:creationId xmlns:a16="http://schemas.microsoft.com/office/drawing/2014/main" id="{CB0FA039-C2BC-0F6A-B730-E151A08EB6C0}"/>
                </a:ext>
              </a:extLst>
            </p:cNvPr>
            <p:cNvSpPr/>
            <p:nvPr/>
          </p:nvSpPr>
          <p:spPr bwMode="gray">
            <a:xfrm>
              <a:off x="7205756" y="1593050"/>
              <a:ext cx="1870749" cy="425427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ustomer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lationships</a:t>
              </a:r>
            </a:p>
          </p:txBody>
        </p:sp>
        <p:sp>
          <p:nvSpPr>
            <p:cNvPr id="17" name="Rechteck 38">
              <a:extLst>
                <a:ext uri="{FF2B5EF4-FFF2-40B4-BE49-F238E27FC236}">
                  <a16:creationId xmlns:a16="http://schemas.microsoft.com/office/drawing/2014/main" id="{4C0631B0-48F3-EA53-7C65-99A10796C55A}"/>
                </a:ext>
              </a:extLst>
            </p:cNvPr>
            <p:cNvSpPr/>
            <p:nvPr/>
          </p:nvSpPr>
          <p:spPr bwMode="gray">
            <a:xfrm>
              <a:off x="9427677" y="1583525"/>
              <a:ext cx="1726278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ustomer Segments</a:t>
              </a:r>
            </a:p>
          </p:txBody>
        </p:sp>
        <p:sp>
          <p:nvSpPr>
            <p:cNvPr id="18" name="Rechteck 40">
              <a:extLst>
                <a:ext uri="{FF2B5EF4-FFF2-40B4-BE49-F238E27FC236}">
                  <a16:creationId xmlns:a16="http://schemas.microsoft.com/office/drawing/2014/main" id="{2979763C-6329-FFCA-A848-DCF7EDA66F10}"/>
                </a:ext>
              </a:extLst>
            </p:cNvPr>
            <p:cNvSpPr/>
            <p:nvPr/>
          </p:nvSpPr>
          <p:spPr bwMode="gray">
            <a:xfrm>
              <a:off x="6094761" y="4707509"/>
              <a:ext cx="3726112" cy="242770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venue Streams</a:t>
              </a:r>
            </a:p>
          </p:txBody>
        </p:sp>
        <p:grpSp>
          <p:nvGrpSpPr>
            <p:cNvPr id="19" name="Gruppieren 54">
              <a:extLst>
                <a:ext uri="{FF2B5EF4-FFF2-40B4-BE49-F238E27FC236}">
                  <a16:creationId xmlns:a16="http://schemas.microsoft.com/office/drawing/2014/main" id="{EA356240-292C-A36F-6DE3-38C405B92F5D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192510" y="1676645"/>
              <a:ext cx="364143" cy="363374"/>
              <a:chOff x="14842424" y="9461856"/>
              <a:chExt cx="783304" cy="781651"/>
            </a:xfrm>
          </p:grpSpPr>
          <p:sp>
            <p:nvSpPr>
              <p:cNvPr id="235" name="Freihandform: Form 55">
                <a:extLst>
                  <a:ext uri="{FF2B5EF4-FFF2-40B4-BE49-F238E27FC236}">
                    <a16:creationId xmlns:a16="http://schemas.microsoft.com/office/drawing/2014/main" id="{2E432B0A-F204-4999-11B6-D2AFEA6529A9}"/>
                  </a:ext>
                </a:extLst>
              </p:cNvPr>
              <p:cNvSpPr/>
              <p:nvPr/>
            </p:nvSpPr>
            <p:spPr bwMode="gray">
              <a:xfrm>
                <a:off x="15308630" y="9879019"/>
                <a:ext cx="260348" cy="363277"/>
              </a:xfrm>
              <a:custGeom>
                <a:avLst/>
                <a:gdLst>
                  <a:gd name="connsiteX0" fmla="*/ 338420 w 350230"/>
                  <a:gd name="connsiteY0" fmla="*/ 476883 h 488693"/>
                  <a:gd name="connsiteX1" fmla="*/ 314800 w 350230"/>
                  <a:gd name="connsiteY1" fmla="*/ 278963 h 488693"/>
                  <a:gd name="connsiteX2" fmla="*/ 255342 w 350230"/>
                  <a:gd name="connsiteY2" fmla="*/ 179595 h 488693"/>
                  <a:gd name="connsiteX3" fmla="*/ 197514 w 350230"/>
                  <a:gd name="connsiteY3" fmla="*/ 149459 h 488693"/>
                  <a:gd name="connsiteX4" fmla="*/ 47648 w 350230"/>
                  <a:gd name="connsiteY4" fmla="*/ 105476 h 488693"/>
                  <a:gd name="connsiteX5" fmla="*/ 38688 w 350230"/>
                  <a:gd name="connsiteY5" fmla="*/ 101404 h 488693"/>
                  <a:gd name="connsiteX6" fmla="*/ 24842 w 350230"/>
                  <a:gd name="connsiteY6" fmla="*/ 77784 h 488693"/>
                  <a:gd name="connsiteX7" fmla="*/ 18326 w 350230"/>
                  <a:gd name="connsiteY7" fmla="*/ 18326 h 488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0230" h="488693">
                    <a:moveTo>
                      <a:pt x="338420" y="476883"/>
                    </a:moveTo>
                    <a:lnTo>
                      <a:pt x="314800" y="278963"/>
                    </a:lnTo>
                    <a:cubicBezTo>
                      <a:pt x="306655" y="240681"/>
                      <a:pt x="286293" y="204844"/>
                      <a:pt x="255342" y="179595"/>
                    </a:cubicBezTo>
                    <a:cubicBezTo>
                      <a:pt x="235795" y="163305"/>
                      <a:pt x="216247" y="153532"/>
                      <a:pt x="197514" y="149459"/>
                    </a:cubicBezTo>
                    <a:lnTo>
                      <a:pt x="47648" y="105476"/>
                    </a:lnTo>
                    <a:cubicBezTo>
                      <a:pt x="44390" y="104662"/>
                      <a:pt x="41132" y="103033"/>
                      <a:pt x="38688" y="101404"/>
                    </a:cubicBezTo>
                    <a:cubicBezTo>
                      <a:pt x="30543" y="95702"/>
                      <a:pt x="25656" y="87558"/>
                      <a:pt x="24842" y="77784"/>
                    </a:cubicBez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6" name="Freihandform: Form 56">
                <a:extLst>
                  <a:ext uri="{FF2B5EF4-FFF2-40B4-BE49-F238E27FC236}">
                    <a16:creationId xmlns:a16="http://schemas.microsoft.com/office/drawing/2014/main" id="{9200E83E-A854-6B72-A5C6-5915E44D6FCE}"/>
                  </a:ext>
                </a:extLst>
              </p:cNvPr>
              <p:cNvSpPr/>
              <p:nvPr/>
            </p:nvSpPr>
            <p:spPr bwMode="gray">
              <a:xfrm>
                <a:off x="14896311" y="9674373"/>
                <a:ext cx="260348" cy="569134"/>
              </a:xfrm>
              <a:custGeom>
                <a:avLst/>
                <a:gdLst>
                  <a:gd name="connsiteX0" fmla="*/ 243125 w 350230"/>
                  <a:gd name="connsiteY0" fmla="*/ 18326 h 765619"/>
                  <a:gd name="connsiteX1" fmla="*/ 203215 w 350230"/>
                  <a:gd name="connsiteY1" fmla="*/ 86743 h 765619"/>
                  <a:gd name="connsiteX2" fmla="*/ 250455 w 350230"/>
                  <a:gd name="connsiteY2" fmla="*/ 156789 h 765619"/>
                  <a:gd name="connsiteX3" fmla="*/ 338420 w 350230"/>
                  <a:gd name="connsiteY3" fmla="*/ 295252 h 765619"/>
                  <a:gd name="connsiteX4" fmla="*/ 331904 w 350230"/>
                  <a:gd name="connsiteY4" fmla="*/ 354710 h 765619"/>
                  <a:gd name="connsiteX5" fmla="*/ 318058 w 350230"/>
                  <a:gd name="connsiteY5" fmla="*/ 378330 h 765619"/>
                  <a:gd name="connsiteX6" fmla="*/ 309099 w 350230"/>
                  <a:gd name="connsiteY6" fmla="*/ 382403 h 765619"/>
                  <a:gd name="connsiteX7" fmla="*/ 160047 w 350230"/>
                  <a:gd name="connsiteY7" fmla="*/ 425571 h 765619"/>
                  <a:gd name="connsiteX8" fmla="*/ 101404 w 350230"/>
                  <a:gd name="connsiteY8" fmla="*/ 456521 h 765619"/>
                  <a:gd name="connsiteX9" fmla="*/ 41946 w 350230"/>
                  <a:gd name="connsiteY9" fmla="*/ 555889 h 765619"/>
                  <a:gd name="connsiteX10" fmla="*/ 18326 w 350230"/>
                  <a:gd name="connsiteY10" fmla="*/ 753810 h 76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0230" h="765619">
                    <a:moveTo>
                      <a:pt x="243125" y="18326"/>
                    </a:moveTo>
                    <a:cubicBezTo>
                      <a:pt x="220319" y="24842"/>
                      <a:pt x="203215" y="52535"/>
                      <a:pt x="203215" y="86743"/>
                    </a:cubicBezTo>
                    <a:cubicBezTo>
                      <a:pt x="203215" y="124210"/>
                      <a:pt x="223577" y="154346"/>
                      <a:pt x="250455" y="156789"/>
                    </a:cubicBezTo>
                    <a:cubicBezTo>
                      <a:pt x="265116" y="213803"/>
                      <a:pt x="296067" y="262673"/>
                      <a:pt x="338420" y="295252"/>
                    </a:cubicBezTo>
                    <a:lnTo>
                      <a:pt x="331904" y="354710"/>
                    </a:lnTo>
                    <a:cubicBezTo>
                      <a:pt x="331090" y="364484"/>
                      <a:pt x="325389" y="372629"/>
                      <a:pt x="318058" y="378330"/>
                    </a:cubicBezTo>
                    <a:cubicBezTo>
                      <a:pt x="315615" y="379959"/>
                      <a:pt x="312357" y="381588"/>
                      <a:pt x="309099" y="382403"/>
                    </a:cubicBezTo>
                    <a:lnTo>
                      <a:pt x="160047" y="425571"/>
                    </a:lnTo>
                    <a:cubicBezTo>
                      <a:pt x="140499" y="429643"/>
                      <a:pt x="120952" y="440231"/>
                      <a:pt x="101404" y="456521"/>
                    </a:cubicBezTo>
                    <a:cubicBezTo>
                      <a:pt x="70454" y="481771"/>
                      <a:pt x="50091" y="516794"/>
                      <a:pt x="41946" y="555889"/>
                    </a:cubicBezTo>
                    <a:lnTo>
                      <a:pt x="18326" y="75381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7" name="Freihandform: Form 57">
                <a:extLst>
                  <a:ext uri="{FF2B5EF4-FFF2-40B4-BE49-F238E27FC236}">
                    <a16:creationId xmlns:a16="http://schemas.microsoft.com/office/drawing/2014/main" id="{8CD13A9C-D35C-4AAA-8DAF-99DBD9CE0862}"/>
                  </a:ext>
                </a:extLst>
              </p:cNvPr>
              <p:cNvSpPr/>
              <p:nvPr/>
            </p:nvSpPr>
            <p:spPr bwMode="gray">
              <a:xfrm>
                <a:off x="15308024" y="9674373"/>
                <a:ext cx="260348" cy="569134"/>
              </a:xfrm>
              <a:custGeom>
                <a:avLst/>
                <a:gdLst>
                  <a:gd name="connsiteX0" fmla="*/ 113621 w 350230"/>
                  <a:gd name="connsiteY0" fmla="*/ 18326 h 765619"/>
                  <a:gd name="connsiteX1" fmla="*/ 153531 w 350230"/>
                  <a:gd name="connsiteY1" fmla="*/ 86743 h 765619"/>
                  <a:gd name="connsiteX2" fmla="*/ 106291 w 350230"/>
                  <a:gd name="connsiteY2" fmla="*/ 156789 h 765619"/>
                  <a:gd name="connsiteX3" fmla="*/ 18326 w 350230"/>
                  <a:gd name="connsiteY3" fmla="*/ 295252 h 765619"/>
                  <a:gd name="connsiteX4" fmla="*/ 24842 w 350230"/>
                  <a:gd name="connsiteY4" fmla="*/ 354710 h 765619"/>
                  <a:gd name="connsiteX5" fmla="*/ 38688 w 350230"/>
                  <a:gd name="connsiteY5" fmla="*/ 378330 h 765619"/>
                  <a:gd name="connsiteX6" fmla="*/ 47648 w 350230"/>
                  <a:gd name="connsiteY6" fmla="*/ 382403 h 765619"/>
                  <a:gd name="connsiteX7" fmla="*/ 196699 w 350230"/>
                  <a:gd name="connsiteY7" fmla="*/ 425571 h 765619"/>
                  <a:gd name="connsiteX8" fmla="*/ 255342 w 350230"/>
                  <a:gd name="connsiteY8" fmla="*/ 456521 h 765619"/>
                  <a:gd name="connsiteX9" fmla="*/ 314800 w 350230"/>
                  <a:gd name="connsiteY9" fmla="*/ 555889 h 765619"/>
                  <a:gd name="connsiteX10" fmla="*/ 338420 w 350230"/>
                  <a:gd name="connsiteY10" fmla="*/ 753810 h 76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0230" h="765619">
                    <a:moveTo>
                      <a:pt x="113621" y="18326"/>
                    </a:moveTo>
                    <a:cubicBezTo>
                      <a:pt x="136427" y="24842"/>
                      <a:pt x="153531" y="52535"/>
                      <a:pt x="153531" y="86743"/>
                    </a:cubicBezTo>
                    <a:cubicBezTo>
                      <a:pt x="153531" y="124210"/>
                      <a:pt x="133169" y="154346"/>
                      <a:pt x="106291" y="156789"/>
                    </a:cubicBezTo>
                    <a:cubicBezTo>
                      <a:pt x="91630" y="213803"/>
                      <a:pt x="60680" y="262673"/>
                      <a:pt x="18326" y="295252"/>
                    </a:cubicBezTo>
                    <a:lnTo>
                      <a:pt x="24842" y="354710"/>
                    </a:lnTo>
                    <a:cubicBezTo>
                      <a:pt x="25657" y="364484"/>
                      <a:pt x="31358" y="372629"/>
                      <a:pt x="38688" y="378330"/>
                    </a:cubicBezTo>
                    <a:cubicBezTo>
                      <a:pt x="41132" y="379959"/>
                      <a:pt x="44390" y="381588"/>
                      <a:pt x="47648" y="382403"/>
                    </a:cubicBezTo>
                    <a:lnTo>
                      <a:pt x="196699" y="425571"/>
                    </a:lnTo>
                    <a:cubicBezTo>
                      <a:pt x="216247" y="429643"/>
                      <a:pt x="235795" y="440231"/>
                      <a:pt x="255342" y="456521"/>
                    </a:cubicBezTo>
                    <a:cubicBezTo>
                      <a:pt x="286293" y="481771"/>
                      <a:pt x="306655" y="516794"/>
                      <a:pt x="314800" y="555889"/>
                    </a:cubicBezTo>
                    <a:lnTo>
                      <a:pt x="338420" y="75381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8" name="Freihandform: Form 58">
                <a:extLst>
                  <a:ext uri="{FF2B5EF4-FFF2-40B4-BE49-F238E27FC236}">
                    <a16:creationId xmlns:a16="http://schemas.microsoft.com/office/drawing/2014/main" id="{3EB75069-3DF4-7F81-1426-B40FF4F96889}"/>
                  </a:ext>
                </a:extLst>
              </p:cNvPr>
              <p:cNvSpPr/>
              <p:nvPr/>
            </p:nvSpPr>
            <p:spPr bwMode="gray">
              <a:xfrm>
                <a:off x="15110644" y="9948042"/>
                <a:ext cx="248239" cy="90819"/>
              </a:xfrm>
              <a:custGeom>
                <a:avLst/>
                <a:gdLst>
                  <a:gd name="connsiteX0" fmla="*/ 316429 w 333940"/>
                  <a:gd name="connsiteY0" fmla="*/ 18326 h 122173"/>
                  <a:gd name="connsiteX1" fmla="*/ 258600 w 333940"/>
                  <a:gd name="connsiteY1" fmla="*/ 70453 h 122173"/>
                  <a:gd name="connsiteX2" fmla="*/ 76155 w 333940"/>
                  <a:gd name="connsiteY2" fmla="*/ 70453 h 122173"/>
                  <a:gd name="connsiteX3" fmla="*/ 18326 w 333940"/>
                  <a:gd name="connsiteY3" fmla="*/ 18326 h 122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3940" h="122173">
                    <a:moveTo>
                      <a:pt x="316429" y="18326"/>
                    </a:moveTo>
                    <a:lnTo>
                      <a:pt x="258600" y="70453"/>
                    </a:lnTo>
                    <a:cubicBezTo>
                      <a:pt x="206473" y="116879"/>
                      <a:pt x="128282" y="116879"/>
                      <a:pt x="76155" y="70453"/>
                    </a:cubicBez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9" name="Freihandform: Form 59">
                <a:extLst>
                  <a:ext uri="{FF2B5EF4-FFF2-40B4-BE49-F238E27FC236}">
                    <a16:creationId xmlns:a16="http://schemas.microsoft.com/office/drawing/2014/main" id="{EC1ADFB6-427F-7932-BBED-2347C79E7F89}"/>
                  </a:ext>
                </a:extLst>
              </p:cNvPr>
              <p:cNvSpPr/>
              <p:nvPr/>
            </p:nvSpPr>
            <p:spPr bwMode="gray">
              <a:xfrm>
                <a:off x="15062965" y="9461856"/>
                <a:ext cx="339058" cy="236130"/>
              </a:xfrm>
              <a:custGeom>
                <a:avLst/>
                <a:gdLst>
                  <a:gd name="connsiteX0" fmla="*/ 18935 w 456113"/>
                  <a:gd name="connsiteY0" fmla="*/ 304212 h 317650"/>
                  <a:gd name="connsiteX1" fmla="*/ 31967 w 456113"/>
                  <a:gd name="connsiteY1" fmla="*/ 179595 h 317650"/>
                  <a:gd name="connsiteX2" fmla="*/ 230702 w 456113"/>
                  <a:gd name="connsiteY2" fmla="*/ 18326 h 317650"/>
                  <a:gd name="connsiteX3" fmla="*/ 429437 w 456113"/>
                  <a:gd name="connsiteY3" fmla="*/ 179595 h 317650"/>
                  <a:gd name="connsiteX4" fmla="*/ 442469 w 456113"/>
                  <a:gd name="connsiteY4" fmla="*/ 304212 h 31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6113" h="317650">
                    <a:moveTo>
                      <a:pt x="18935" y="304212"/>
                    </a:moveTo>
                    <a:cubicBezTo>
                      <a:pt x="18935" y="304212"/>
                      <a:pt x="14048" y="236609"/>
                      <a:pt x="31967" y="179595"/>
                    </a:cubicBezTo>
                    <a:cubicBezTo>
                      <a:pt x="31967" y="179595"/>
                      <a:pt x="73506" y="18326"/>
                      <a:pt x="230702" y="18326"/>
                    </a:cubicBezTo>
                    <a:cubicBezTo>
                      <a:pt x="387899" y="18326"/>
                      <a:pt x="429437" y="179595"/>
                      <a:pt x="429437" y="179595"/>
                    </a:cubicBezTo>
                    <a:cubicBezTo>
                      <a:pt x="447356" y="235794"/>
                      <a:pt x="442469" y="304212"/>
                      <a:pt x="442469" y="30421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0" name="Freihandform: Form 60">
                <a:extLst>
                  <a:ext uri="{FF2B5EF4-FFF2-40B4-BE49-F238E27FC236}">
                    <a16:creationId xmlns:a16="http://schemas.microsoft.com/office/drawing/2014/main" id="{ECBC1AA2-6DDC-13ED-E042-C416E749651C}"/>
                  </a:ext>
                </a:extLst>
              </p:cNvPr>
              <p:cNvSpPr/>
              <p:nvPr/>
            </p:nvSpPr>
            <p:spPr bwMode="gray">
              <a:xfrm>
                <a:off x="15068867" y="9553854"/>
                <a:ext cx="314840" cy="84765"/>
              </a:xfrm>
              <a:custGeom>
                <a:avLst/>
                <a:gdLst>
                  <a:gd name="connsiteX0" fmla="*/ 18326 w 423534"/>
                  <a:gd name="connsiteY0" fmla="*/ 90045 h 114028"/>
                  <a:gd name="connsiteX1" fmla="*/ 228464 w 423534"/>
                  <a:gd name="connsiteY1" fmla="*/ 52578 h 114028"/>
                  <a:gd name="connsiteX2" fmla="*/ 407652 w 423534"/>
                  <a:gd name="connsiteY2" fmla="*/ 21628 h 11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23534" h="114028">
                    <a:moveTo>
                      <a:pt x="18326" y="90045"/>
                    </a:moveTo>
                    <a:cubicBezTo>
                      <a:pt x="62309" y="106335"/>
                      <a:pt x="129097" y="107149"/>
                      <a:pt x="228464" y="52578"/>
                    </a:cubicBezTo>
                    <a:cubicBezTo>
                      <a:pt x="288737" y="19184"/>
                      <a:pt x="352267" y="13483"/>
                      <a:pt x="407652" y="21628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1" name="Freihandform: Form 61">
                <a:extLst>
                  <a:ext uri="{FF2B5EF4-FFF2-40B4-BE49-F238E27FC236}">
                    <a16:creationId xmlns:a16="http://schemas.microsoft.com/office/drawing/2014/main" id="{8170D1CE-B681-9087-AA30-D4D4E1B36B89}"/>
                  </a:ext>
                </a:extLst>
              </p:cNvPr>
              <p:cNvSpPr/>
              <p:nvPr/>
            </p:nvSpPr>
            <p:spPr bwMode="gray">
              <a:xfrm>
                <a:off x="15407762" y="9713728"/>
                <a:ext cx="217966" cy="405659"/>
              </a:xfrm>
              <a:custGeom>
                <a:avLst/>
                <a:gdLst>
                  <a:gd name="connsiteX0" fmla="*/ 114656 w 293216"/>
                  <a:gd name="connsiteY0" fmla="*/ 18326 h 545707"/>
                  <a:gd name="connsiteX1" fmla="*/ 139905 w 293216"/>
                  <a:gd name="connsiteY1" fmla="*/ 90816 h 545707"/>
                  <a:gd name="connsiteX2" fmla="*/ 82076 w 293216"/>
                  <a:gd name="connsiteY2" fmla="*/ 148644 h 545707"/>
                  <a:gd name="connsiteX3" fmla="*/ 29949 w 293216"/>
                  <a:gd name="connsiteY3" fmla="*/ 222763 h 545707"/>
                  <a:gd name="connsiteX4" fmla="*/ 44610 w 293216"/>
                  <a:gd name="connsiteY4" fmla="*/ 270818 h 545707"/>
                  <a:gd name="connsiteX5" fmla="*/ 76375 w 293216"/>
                  <a:gd name="connsiteY5" fmla="*/ 281406 h 545707"/>
                  <a:gd name="connsiteX6" fmla="*/ 275925 w 293216"/>
                  <a:gd name="connsiteY6" fmla="*/ 515979 h 545707"/>
                  <a:gd name="connsiteX7" fmla="*/ 276739 w 293216"/>
                  <a:gd name="connsiteY7" fmla="*/ 528196 h 545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3216" h="545707">
                    <a:moveTo>
                      <a:pt x="114656" y="18326"/>
                    </a:moveTo>
                    <a:cubicBezTo>
                      <a:pt x="135833" y="28914"/>
                      <a:pt x="146421" y="58236"/>
                      <a:pt x="139905" y="90816"/>
                    </a:cubicBezTo>
                    <a:cubicBezTo>
                      <a:pt x="133389" y="126653"/>
                      <a:pt x="108140" y="151088"/>
                      <a:pt x="82076" y="148644"/>
                    </a:cubicBezTo>
                    <a:cubicBezTo>
                      <a:pt x="68230" y="177151"/>
                      <a:pt x="51126" y="201586"/>
                      <a:pt x="29949" y="222763"/>
                    </a:cubicBezTo>
                    <a:cubicBezTo>
                      <a:pt x="9587" y="243125"/>
                      <a:pt x="16917" y="261044"/>
                      <a:pt x="44610" y="270818"/>
                    </a:cubicBezTo>
                    <a:lnTo>
                      <a:pt x="76375" y="281406"/>
                    </a:lnTo>
                    <a:cubicBezTo>
                      <a:pt x="174928" y="313986"/>
                      <a:pt x="271038" y="366113"/>
                      <a:pt x="275925" y="515979"/>
                    </a:cubicBezTo>
                    <a:cubicBezTo>
                      <a:pt x="275925" y="520051"/>
                      <a:pt x="276739" y="524124"/>
                      <a:pt x="276739" y="52819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2" name="Freihandform: Form 62">
                <a:extLst>
                  <a:ext uri="{FF2B5EF4-FFF2-40B4-BE49-F238E27FC236}">
                    <a16:creationId xmlns:a16="http://schemas.microsoft.com/office/drawing/2014/main" id="{359D6000-0C72-02BC-A38F-1E0B4126CF2E}"/>
                  </a:ext>
                </a:extLst>
              </p:cNvPr>
              <p:cNvSpPr/>
              <p:nvPr/>
            </p:nvSpPr>
            <p:spPr bwMode="gray">
              <a:xfrm>
                <a:off x="15369176" y="9483047"/>
                <a:ext cx="145310" cy="254294"/>
              </a:xfrm>
              <a:custGeom>
                <a:avLst/>
                <a:gdLst>
                  <a:gd name="connsiteX0" fmla="*/ 166563 w 195477"/>
                  <a:gd name="connsiteY0" fmla="*/ 328646 h 342085"/>
                  <a:gd name="connsiteX1" fmla="*/ 177151 w 195477"/>
                  <a:gd name="connsiteY1" fmla="*/ 208102 h 342085"/>
                  <a:gd name="connsiteX2" fmla="*/ 18326 w 195477"/>
                  <a:gd name="connsiteY2" fmla="*/ 18326 h 342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5477" h="342085">
                    <a:moveTo>
                      <a:pt x="166563" y="328646"/>
                    </a:moveTo>
                    <a:cubicBezTo>
                      <a:pt x="166563" y="328646"/>
                      <a:pt x="183667" y="265116"/>
                      <a:pt x="177151" y="208102"/>
                    </a:cubicBezTo>
                    <a:cubicBezTo>
                      <a:pt x="177151" y="208102"/>
                      <a:pt x="167378" y="47647"/>
                      <a:pt x="18326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3" name="Freihandform: Form 63">
                <a:extLst>
                  <a:ext uri="{FF2B5EF4-FFF2-40B4-BE49-F238E27FC236}">
                    <a16:creationId xmlns:a16="http://schemas.microsoft.com/office/drawing/2014/main" id="{C7A9EB44-714D-665F-E32E-1CBB001A765F}"/>
                  </a:ext>
                </a:extLst>
              </p:cNvPr>
              <p:cNvSpPr/>
              <p:nvPr/>
            </p:nvSpPr>
            <p:spPr bwMode="gray">
              <a:xfrm>
                <a:off x="14842424" y="9713728"/>
                <a:ext cx="217966" cy="405659"/>
              </a:xfrm>
              <a:custGeom>
                <a:avLst/>
                <a:gdLst>
                  <a:gd name="connsiteX0" fmla="*/ 180409 w 293216"/>
                  <a:gd name="connsiteY0" fmla="*/ 18326 h 545707"/>
                  <a:gd name="connsiteX1" fmla="*/ 155160 w 293216"/>
                  <a:gd name="connsiteY1" fmla="*/ 90816 h 545707"/>
                  <a:gd name="connsiteX2" fmla="*/ 212989 w 293216"/>
                  <a:gd name="connsiteY2" fmla="*/ 148644 h 545707"/>
                  <a:gd name="connsiteX3" fmla="*/ 265116 w 293216"/>
                  <a:gd name="connsiteY3" fmla="*/ 222763 h 545707"/>
                  <a:gd name="connsiteX4" fmla="*/ 250455 w 293216"/>
                  <a:gd name="connsiteY4" fmla="*/ 270818 h 545707"/>
                  <a:gd name="connsiteX5" fmla="*/ 218690 w 293216"/>
                  <a:gd name="connsiteY5" fmla="*/ 281406 h 545707"/>
                  <a:gd name="connsiteX6" fmla="*/ 19141 w 293216"/>
                  <a:gd name="connsiteY6" fmla="*/ 515979 h 545707"/>
                  <a:gd name="connsiteX7" fmla="*/ 18326 w 293216"/>
                  <a:gd name="connsiteY7" fmla="*/ 528196 h 545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3216" h="545707">
                    <a:moveTo>
                      <a:pt x="180409" y="18326"/>
                    </a:moveTo>
                    <a:cubicBezTo>
                      <a:pt x="159233" y="28914"/>
                      <a:pt x="148644" y="58236"/>
                      <a:pt x="155160" y="90816"/>
                    </a:cubicBezTo>
                    <a:cubicBezTo>
                      <a:pt x="161676" y="126653"/>
                      <a:pt x="186925" y="151088"/>
                      <a:pt x="212989" y="148644"/>
                    </a:cubicBezTo>
                    <a:cubicBezTo>
                      <a:pt x="226835" y="177151"/>
                      <a:pt x="243940" y="201586"/>
                      <a:pt x="265116" y="222763"/>
                    </a:cubicBezTo>
                    <a:cubicBezTo>
                      <a:pt x="285479" y="243125"/>
                      <a:pt x="278148" y="261044"/>
                      <a:pt x="250455" y="270818"/>
                    </a:cubicBezTo>
                    <a:lnTo>
                      <a:pt x="218690" y="281406"/>
                    </a:lnTo>
                    <a:cubicBezTo>
                      <a:pt x="120137" y="313986"/>
                      <a:pt x="24028" y="366113"/>
                      <a:pt x="19141" y="515979"/>
                    </a:cubicBezTo>
                    <a:cubicBezTo>
                      <a:pt x="19141" y="520051"/>
                      <a:pt x="18326" y="524124"/>
                      <a:pt x="18326" y="52819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4" name="Freihandform: Form 64">
                <a:extLst>
                  <a:ext uri="{FF2B5EF4-FFF2-40B4-BE49-F238E27FC236}">
                    <a16:creationId xmlns:a16="http://schemas.microsoft.com/office/drawing/2014/main" id="{D7A659FD-5157-B195-1EA6-9E388E822EB2}"/>
                  </a:ext>
                </a:extLst>
              </p:cNvPr>
              <p:cNvSpPr/>
              <p:nvPr/>
            </p:nvSpPr>
            <p:spPr bwMode="gray">
              <a:xfrm>
                <a:off x="14953940" y="9483047"/>
                <a:ext cx="145310" cy="254294"/>
              </a:xfrm>
              <a:custGeom>
                <a:avLst/>
                <a:gdLst>
                  <a:gd name="connsiteX0" fmla="*/ 30395 w 195477"/>
                  <a:gd name="connsiteY0" fmla="*/ 328646 h 342085"/>
                  <a:gd name="connsiteX1" fmla="*/ 19806 w 195477"/>
                  <a:gd name="connsiteY1" fmla="*/ 208102 h 342085"/>
                  <a:gd name="connsiteX2" fmla="*/ 178632 w 195477"/>
                  <a:gd name="connsiteY2" fmla="*/ 18326 h 342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5477" h="342085">
                    <a:moveTo>
                      <a:pt x="30395" y="328646"/>
                    </a:moveTo>
                    <a:cubicBezTo>
                      <a:pt x="30395" y="328646"/>
                      <a:pt x="13291" y="265116"/>
                      <a:pt x="19806" y="208102"/>
                    </a:cubicBezTo>
                    <a:cubicBezTo>
                      <a:pt x="19806" y="208102"/>
                      <a:pt x="29580" y="47647"/>
                      <a:pt x="178632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0" name="Gruppieren 65">
              <a:extLst>
                <a:ext uri="{FF2B5EF4-FFF2-40B4-BE49-F238E27FC236}">
                  <a16:creationId xmlns:a16="http://schemas.microsoft.com/office/drawing/2014/main" id="{356953EF-CD1B-ABB7-D211-C189B0BD1A7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4483106" y="3209638"/>
              <a:ext cx="358756" cy="430343"/>
              <a:chOff x="9950269" y="7309727"/>
              <a:chExt cx="593871" cy="712373"/>
            </a:xfrm>
          </p:grpSpPr>
          <p:sp>
            <p:nvSpPr>
              <p:cNvPr id="120" name="Freihandform: Form 66">
                <a:extLst>
                  <a:ext uri="{FF2B5EF4-FFF2-40B4-BE49-F238E27FC236}">
                    <a16:creationId xmlns:a16="http://schemas.microsoft.com/office/drawing/2014/main" id="{8EE9B7E4-6E87-8BAE-256A-C441E3E84EBE}"/>
                  </a:ext>
                </a:extLst>
              </p:cNvPr>
              <p:cNvSpPr/>
              <p:nvPr/>
            </p:nvSpPr>
            <p:spPr bwMode="gray">
              <a:xfrm>
                <a:off x="10401133" y="7598991"/>
                <a:ext cx="43668" cy="136463"/>
              </a:xfrm>
              <a:custGeom>
                <a:avLst/>
                <a:gdLst>
                  <a:gd name="connsiteX0" fmla="*/ 12282 w 43668"/>
                  <a:gd name="connsiteY0" fmla="*/ 127456 h 136462"/>
                  <a:gd name="connsiteX1" fmla="*/ 12282 w 43668"/>
                  <a:gd name="connsiteY1" fmla="*/ 12282 h 136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668" h="136462">
                    <a:moveTo>
                      <a:pt x="12282" y="127456"/>
                    </a:moveTo>
                    <a:cubicBezTo>
                      <a:pt x="43941" y="95797"/>
                      <a:pt x="43941" y="43941"/>
                      <a:pt x="12282" y="1228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21" name="Freihandform: Form 67">
                <a:extLst>
                  <a:ext uri="{FF2B5EF4-FFF2-40B4-BE49-F238E27FC236}">
                    <a16:creationId xmlns:a16="http://schemas.microsoft.com/office/drawing/2014/main" id="{133ED818-C44E-ADF4-1C5C-B53A26330CE5}"/>
                  </a:ext>
                </a:extLst>
              </p:cNvPr>
              <p:cNvSpPr/>
              <p:nvPr/>
            </p:nvSpPr>
            <p:spPr bwMode="gray">
              <a:xfrm>
                <a:off x="9950269" y="7749175"/>
                <a:ext cx="294760" cy="272925"/>
              </a:xfrm>
              <a:custGeom>
                <a:avLst/>
                <a:gdLst>
                  <a:gd name="connsiteX0" fmla="*/ 175491 w 294759"/>
                  <a:gd name="connsiteY0" fmla="*/ 238729 h 272925"/>
                  <a:gd name="connsiteX1" fmla="*/ 186408 w 294759"/>
                  <a:gd name="connsiteY1" fmla="*/ 257834 h 272925"/>
                  <a:gd name="connsiteX2" fmla="*/ 207151 w 294759"/>
                  <a:gd name="connsiteY2" fmla="*/ 263293 h 272925"/>
                  <a:gd name="connsiteX3" fmla="*/ 227893 w 294759"/>
                  <a:gd name="connsiteY3" fmla="*/ 251284 h 272925"/>
                  <a:gd name="connsiteX4" fmla="*/ 233351 w 294759"/>
                  <a:gd name="connsiteY4" fmla="*/ 230542 h 272925"/>
                  <a:gd name="connsiteX5" fmla="*/ 222434 w 294759"/>
                  <a:gd name="connsiteY5" fmla="*/ 211983 h 272925"/>
                  <a:gd name="connsiteX6" fmla="*/ 248635 w 294759"/>
                  <a:gd name="connsiteY6" fmla="*/ 166131 h 272925"/>
                  <a:gd name="connsiteX7" fmla="*/ 270469 w 294759"/>
                  <a:gd name="connsiteY7" fmla="*/ 166131 h 272925"/>
                  <a:gd name="connsiteX8" fmla="*/ 285753 w 294759"/>
                  <a:gd name="connsiteY8" fmla="*/ 150847 h 272925"/>
                  <a:gd name="connsiteX9" fmla="*/ 285753 w 294759"/>
                  <a:gd name="connsiteY9" fmla="*/ 126830 h 272925"/>
                  <a:gd name="connsiteX10" fmla="*/ 270469 w 294759"/>
                  <a:gd name="connsiteY10" fmla="*/ 111546 h 272925"/>
                  <a:gd name="connsiteX11" fmla="*/ 248635 w 294759"/>
                  <a:gd name="connsiteY11" fmla="*/ 111546 h 272925"/>
                  <a:gd name="connsiteX12" fmla="*/ 222434 w 294759"/>
                  <a:gd name="connsiteY12" fmla="*/ 65695 h 272925"/>
                  <a:gd name="connsiteX13" fmla="*/ 233351 w 294759"/>
                  <a:gd name="connsiteY13" fmla="*/ 47136 h 272925"/>
                  <a:gd name="connsiteX14" fmla="*/ 227893 w 294759"/>
                  <a:gd name="connsiteY14" fmla="*/ 26393 h 272925"/>
                  <a:gd name="connsiteX15" fmla="*/ 207151 w 294759"/>
                  <a:gd name="connsiteY15" fmla="*/ 14385 h 272925"/>
                  <a:gd name="connsiteX16" fmla="*/ 186408 w 294759"/>
                  <a:gd name="connsiteY16" fmla="*/ 19843 h 272925"/>
                  <a:gd name="connsiteX17" fmla="*/ 175491 w 294759"/>
                  <a:gd name="connsiteY17" fmla="*/ 38948 h 272925"/>
                  <a:gd name="connsiteX18" fmla="*/ 122544 w 294759"/>
                  <a:gd name="connsiteY18" fmla="*/ 38948 h 272925"/>
                  <a:gd name="connsiteX19" fmla="*/ 111627 w 294759"/>
                  <a:gd name="connsiteY19" fmla="*/ 19843 h 272925"/>
                  <a:gd name="connsiteX20" fmla="*/ 90884 w 294759"/>
                  <a:gd name="connsiteY20" fmla="*/ 14385 h 272925"/>
                  <a:gd name="connsiteX21" fmla="*/ 70142 w 294759"/>
                  <a:gd name="connsiteY21" fmla="*/ 26393 h 272925"/>
                  <a:gd name="connsiteX22" fmla="*/ 64683 w 294759"/>
                  <a:gd name="connsiteY22" fmla="*/ 47136 h 272925"/>
                  <a:gd name="connsiteX23" fmla="*/ 75601 w 294759"/>
                  <a:gd name="connsiteY23" fmla="*/ 65695 h 272925"/>
                  <a:gd name="connsiteX24" fmla="*/ 49400 w 294759"/>
                  <a:gd name="connsiteY24" fmla="*/ 111546 h 272925"/>
                  <a:gd name="connsiteX25" fmla="*/ 27566 w 294759"/>
                  <a:gd name="connsiteY25" fmla="*/ 111546 h 272925"/>
                  <a:gd name="connsiteX26" fmla="*/ 12282 w 294759"/>
                  <a:gd name="connsiteY26" fmla="*/ 126830 h 272925"/>
                  <a:gd name="connsiteX27" fmla="*/ 12282 w 294759"/>
                  <a:gd name="connsiteY27" fmla="*/ 150847 h 272925"/>
                  <a:gd name="connsiteX28" fmla="*/ 27566 w 294759"/>
                  <a:gd name="connsiteY28" fmla="*/ 166131 h 272925"/>
                  <a:gd name="connsiteX29" fmla="*/ 49400 w 294759"/>
                  <a:gd name="connsiteY29" fmla="*/ 166131 h 272925"/>
                  <a:gd name="connsiteX30" fmla="*/ 75601 w 294759"/>
                  <a:gd name="connsiteY30" fmla="*/ 211983 h 272925"/>
                  <a:gd name="connsiteX31" fmla="*/ 64683 w 294759"/>
                  <a:gd name="connsiteY31" fmla="*/ 230542 h 272925"/>
                  <a:gd name="connsiteX32" fmla="*/ 70142 w 294759"/>
                  <a:gd name="connsiteY32" fmla="*/ 251284 h 272925"/>
                  <a:gd name="connsiteX33" fmla="*/ 90884 w 294759"/>
                  <a:gd name="connsiteY33" fmla="*/ 263293 h 272925"/>
                  <a:gd name="connsiteX34" fmla="*/ 111627 w 294759"/>
                  <a:gd name="connsiteY34" fmla="*/ 257834 h 272925"/>
                  <a:gd name="connsiteX35" fmla="*/ 122544 w 294759"/>
                  <a:gd name="connsiteY35" fmla="*/ 238729 h 272925"/>
                  <a:gd name="connsiteX36" fmla="*/ 175491 w 294759"/>
                  <a:gd name="connsiteY36" fmla="*/ 238729 h 27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94759" h="272925">
                    <a:moveTo>
                      <a:pt x="175491" y="238729"/>
                    </a:moveTo>
                    <a:lnTo>
                      <a:pt x="186408" y="257834"/>
                    </a:lnTo>
                    <a:cubicBezTo>
                      <a:pt x="190775" y="264930"/>
                      <a:pt x="200054" y="267659"/>
                      <a:pt x="207151" y="263293"/>
                    </a:cubicBezTo>
                    <a:lnTo>
                      <a:pt x="227893" y="251284"/>
                    </a:lnTo>
                    <a:cubicBezTo>
                      <a:pt x="234989" y="246917"/>
                      <a:pt x="237718" y="237638"/>
                      <a:pt x="233351" y="230542"/>
                    </a:cubicBezTo>
                    <a:lnTo>
                      <a:pt x="222434" y="211983"/>
                    </a:lnTo>
                    <a:cubicBezTo>
                      <a:pt x="235535" y="198882"/>
                      <a:pt x="244268" y="183053"/>
                      <a:pt x="248635" y="166131"/>
                    </a:cubicBezTo>
                    <a:lnTo>
                      <a:pt x="270469" y="166131"/>
                    </a:lnTo>
                    <a:cubicBezTo>
                      <a:pt x="278657" y="166131"/>
                      <a:pt x="285753" y="159581"/>
                      <a:pt x="285753" y="150847"/>
                    </a:cubicBezTo>
                    <a:lnTo>
                      <a:pt x="285753" y="126830"/>
                    </a:lnTo>
                    <a:cubicBezTo>
                      <a:pt x="285753" y="118642"/>
                      <a:pt x="279203" y="111546"/>
                      <a:pt x="270469" y="111546"/>
                    </a:cubicBezTo>
                    <a:lnTo>
                      <a:pt x="248635" y="111546"/>
                    </a:lnTo>
                    <a:cubicBezTo>
                      <a:pt x="244268" y="94625"/>
                      <a:pt x="235535" y="78795"/>
                      <a:pt x="222434" y="65695"/>
                    </a:cubicBezTo>
                    <a:lnTo>
                      <a:pt x="233351" y="47136"/>
                    </a:lnTo>
                    <a:cubicBezTo>
                      <a:pt x="237718" y="40040"/>
                      <a:pt x="234989" y="30760"/>
                      <a:pt x="227893" y="26393"/>
                    </a:cubicBezTo>
                    <a:lnTo>
                      <a:pt x="207151" y="14385"/>
                    </a:lnTo>
                    <a:cubicBezTo>
                      <a:pt x="200054" y="10018"/>
                      <a:pt x="190775" y="12747"/>
                      <a:pt x="186408" y="19843"/>
                    </a:cubicBezTo>
                    <a:lnTo>
                      <a:pt x="175491" y="38948"/>
                    </a:lnTo>
                    <a:cubicBezTo>
                      <a:pt x="158024" y="34581"/>
                      <a:pt x="140011" y="34581"/>
                      <a:pt x="122544" y="38948"/>
                    </a:cubicBezTo>
                    <a:lnTo>
                      <a:pt x="111627" y="19843"/>
                    </a:lnTo>
                    <a:cubicBezTo>
                      <a:pt x="107260" y="12747"/>
                      <a:pt x="97980" y="10018"/>
                      <a:pt x="90884" y="14385"/>
                    </a:cubicBezTo>
                    <a:lnTo>
                      <a:pt x="70142" y="26393"/>
                    </a:lnTo>
                    <a:cubicBezTo>
                      <a:pt x="63046" y="30760"/>
                      <a:pt x="60317" y="40040"/>
                      <a:pt x="64683" y="47136"/>
                    </a:cubicBezTo>
                    <a:lnTo>
                      <a:pt x="75601" y="65695"/>
                    </a:lnTo>
                    <a:cubicBezTo>
                      <a:pt x="62500" y="78795"/>
                      <a:pt x="53766" y="94625"/>
                      <a:pt x="49400" y="111546"/>
                    </a:cubicBezTo>
                    <a:lnTo>
                      <a:pt x="27566" y="111546"/>
                    </a:lnTo>
                    <a:cubicBezTo>
                      <a:pt x="19378" y="111546"/>
                      <a:pt x="12282" y="118096"/>
                      <a:pt x="12282" y="126830"/>
                    </a:cubicBezTo>
                    <a:lnTo>
                      <a:pt x="12282" y="150847"/>
                    </a:lnTo>
                    <a:cubicBezTo>
                      <a:pt x="12282" y="159035"/>
                      <a:pt x="18832" y="166131"/>
                      <a:pt x="27566" y="166131"/>
                    </a:cubicBezTo>
                    <a:lnTo>
                      <a:pt x="49400" y="166131"/>
                    </a:lnTo>
                    <a:cubicBezTo>
                      <a:pt x="53766" y="183053"/>
                      <a:pt x="62500" y="198882"/>
                      <a:pt x="75601" y="211983"/>
                    </a:cubicBezTo>
                    <a:lnTo>
                      <a:pt x="64683" y="230542"/>
                    </a:lnTo>
                    <a:cubicBezTo>
                      <a:pt x="60317" y="237638"/>
                      <a:pt x="63046" y="246917"/>
                      <a:pt x="70142" y="251284"/>
                    </a:cubicBezTo>
                    <a:lnTo>
                      <a:pt x="90884" y="263293"/>
                    </a:lnTo>
                    <a:cubicBezTo>
                      <a:pt x="97980" y="267659"/>
                      <a:pt x="107260" y="264930"/>
                      <a:pt x="111627" y="257834"/>
                    </a:cubicBezTo>
                    <a:lnTo>
                      <a:pt x="122544" y="238729"/>
                    </a:lnTo>
                    <a:cubicBezTo>
                      <a:pt x="140011" y="243096"/>
                      <a:pt x="158024" y="243096"/>
                      <a:pt x="175491" y="238729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0" name="Freihandform: Form 68">
                <a:extLst>
                  <a:ext uri="{FF2B5EF4-FFF2-40B4-BE49-F238E27FC236}">
                    <a16:creationId xmlns:a16="http://schemas.microsoft.com/office/drawing/2014/main" id="{81380F0C-1798-15F3-DACC-7AC3EFFABE04}"/>
                  </a:ext>
                </a:extLst>
              </p:cNvPr>
              <p:cNvSpPr/>
              <p:nvPr/>
            </p:nvSpPr>
            <p:spPr bwMode="gray">
              <a:xfrm>
                <a:off x="10156587" y="7488828"/>
                <a:ext cx="387553" cy="360261"/>
              </a:xfrm>
              <a:custGeom>
                <a:avLst/>
                <a:gdLst>
                  <a:gd name="connsiteX0" fmla="*/ 230622 w 387553"/>
                  <a:gd name="connsiteY0" fmla="*/ 313492 h 360261"/>
                  <a:gd name="connsiteX1" fmla="*/ 245360 w 387553"/>
                  <a:gd name="connsiteY1" fmla="*/ 338601 h 360261"/>
                  <a:gd name="connsiteX2" fmla="*/ 273198 w 387553"/>
                  <a:gd name="connsiteY2" fmla="*/ 346243 h 360261"/>
                  <a:gd name="connsiteX3" fmla="*/ 301037 w 387553"/>
                  <a:gd name="connsiteY3" fmla="*/ 330413 h 360261"/>
                  <a:gd name="connsiteX4" fmla="*/ 308678 w 387553"/>
                  <a:gd name="connsiteY4" fmla="*/ 302575 h 360261"/>
                  <a:gd name="connsiteX5" fmla="*/ 294486 w 387553"/>
                  <a:gd name="connsiteY5" fmla="*/ 277465 h 360261"/>
                  <a:gd name="connsiteX6" fmla="*/ 329421 w 387553"/>
                  <a:gd name="connsiteY6" fmla="*/ 216876 h 360261"/>
                  <a:gd name="connsiteX7" fmla="*/ 358351 w 387553"/>
                  <a:gd name="connsiteY7" fmla="*/ 216876 h 360261"/>
                  <a:gd name="connsiteX8" fmla="*/ 378547 w 387553"/>
                  <a:gd name="connsiteY8" fmla="*/ 196679 h 360261"/>
                  <a:gd name="connsiteX9" fmla="*/ 378547 w 387553"/>
                  <a:gd name="connsiteY9" fmla="*/ 164474 h 360261"/>
                  <a:gd name="connsiteX10" fmla="*/ 358351 w 387553"/>
                  <a:gd name="connsiteY10" fmla="*/ 144278 h 360261"/>
                  <a:gd name="connsiteX11" fmla="*/ 329421 w 387553"/>
                  <a:gd name="connsiteY11" fmla="*/ 144278 h 360261"/>
                  <a:gd name="connsiteX12" fmla="*/ 294486 w 387553"/>
                  <a:gd name="connsiteY12" fmla="*/ 83688 h 360261"/>
                  <a:gd name="connsiteX13" fmla="*/ 308678 w 387553"/>
                  <a:gd name="connsiteY13" fmla="*/ 58579 h 360261"/>
                  <a:gd name="connsiteX14" fmla="*/ 301037 w 387553"/>
                  <a:gd name="connsiteY14" fmla="*/ 30741 h 360261"/>
                  <a:gd name="connsiteX15" fmla="*/ 273198 w 387553"/>
                  <a:gd name="connsiteY15" fmla="*/ 14911 h 360261"/>
                  <a:gd name="connsiteX16" fmla="*/ 245360 w 387553"/>
                  <a:gd name="connsiteY16" fmla="*/ 22553 h 360261"/>
                  <a:gd name="connsiteX17" fmla="*/ 230622 w 387553"/>
                  <a:gd name="connsiteY17" fmla="*/ 47662 h 360261"/>
                  <a:gd name="connsiteX18" fmla="*/ 160207 w 387553"/>
                  <a:gd name="connsiteY18" fmla="*/ 47662 h 360261"/>
                  <a:gd name="connsiteX19" fmla="*/ 145469 w 387553"/>
                  <a:gd name="connsiteY19" fmla="*/ 22553 h 360261"/>
                  <a:gd name="connsiteX20" fmla="*/ 117630 w 387553"/>
                  <a:gd name="connsiteY20" fmla="*/ 14911 h 360261"/>
                  <a:gd name="connsiteX21" fmla="*/ 89792 w 387553"/>
                  <a:gd name="connsiteY21" fmla="*/ 30741 h 360261"/>
                  <a:gd name="connsiteX22" fmla="*/ 82150 w 387553"/>
                  <a:gd name="connsiteY22" fmla="*/ 58579 h 360261"/>
                  <a:gd name="connsiteX23" fmla="*/ 96343 w 387553"/>
                  <a:gd name="connsiteY23" fmla="*/ 83688 h 360261"/>
                  <a:gd name="connsiteX24" fmla="*/ 61408 w 387553"/>
                  <a:gd name="connsiteY24" fmla="*/ 144278 h 360261"/>
                  <a:gd name="connsiteX25" fmla="*/ 32478 w 387553"/>
                  <a:gd name="connsiteY25" fmla="*/ 144278 h 360261"/>
                  <a:gd name="connsiteX26" fmla="*/ 12282 w 387553"/>
                  <a:gd name="connsiteY26" fmla="*/ 164474 h 360261"/>
                  <a:gd name="connsiteX27" fmla="*/ 12282 w 387553"/>
                  <a:gd name="connsiteY27" fmla="*/ 196679 h 360261"/>
                  <a:gd name="connsiteX28" fmla="*/ 32478 w 387553"/>
                  <a:gd name="connsiteY28" fmla="*/ 216876 h 360261"/>
                  <a:gd name="connsiteX29" fmla="*/ 61408 w 387553"/>
                  <a:gd name="connsiteY29" fmla="*/ 216876 h 360261"/>
                  <a:gd name="connsiteX30" fmla="*/ 96343 w 387553"/>
                  <a:gd name="connsiteY30" fmla="*/ 277465 h 360261"/>
                  <a:gd name="connsiteX31" fmla="*/ 82150 w 387553"/>
                  <a:gd name="connsiteY31" fmla="*/ 302575 h 360261"/>
                  <a:gd name="connsiteX32" fmla="*/ 89792 w 387553"/>
                  <a:gd name="connsiteY32" fmla="*/ 330413 h 360261"/>
                  <a:gd name="connsiteX33" fmla="*/ 117630 w 387553"/>
                  <a:gd name="connsiteY33" fmla="*/ 346243 h 360261"/>
                  <a:gd name="connsiteX34" fmla="*/ 145469 w 387553"/>
                  <a:gd name="connsiteY34" fmla="*/ 338601 h 360261"/>
                  <a:gd name="connsiteX35" fmla="*/ 160207 w 387553"/>
                  <a:gd name="connsiteY35" fmla="*/ 313492 h 360261"/>
                  <a:gd name="connsiteX36" fmla="*/ 230622 w 387553"/>
                  <a:gd name="connsiteY36" fmla="*/ 313492 h 360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387553" h="360261">
                    <a:moveTo>
                      <a:pt x="230622" y="313492"/>
                    </a:moveTo>
                    <a:lnTo>
                      <a:pt x="245360" y="338601"/>
                    </a:lnTo>
                    <a:cubicBezTo>
                      <a:pt x="250818" y="348426"/>
                      <a:pt x="263373" y="351701"/>
                      <a:pt x="273198" y="346243"/>
                    </a:cubicBezTo>
                    <a:lnTo>
                      <a:pt x="301037" y="330413"/>
                    </a:lnTo>
                    <a:cubicBezTo>
                      <a:pt x="310862" y="324954"/>
                      <a:pt x="314137" y="312400"/>
                      <a:pt x="308678" y="302575"/>
                    </a:cubicBezTo>
                    <a:lnTo>
                      <a:pt x="294486" y="277465"/>
                    </a:lnTo>
                    <a:cubicBezTo>
                      <a:pt x="311954" y="259998"/>
                      <a:pt x="323416" y="238710"/>
                      <a:pt x="329421" y="216876"/>
                    </a:cubicBezTo>
                    <a:lnTo>
                      <a:pt x="358351" y="216876"/>
                    </a:lnTo>
                    <a:cubicBezTo>
                      <a:pt x="369268" y="216876"/>
                      <a:pt x="378547" y="207596"/>
                      <a:pt x="378547" y="196679"/>
                    </a:cubicBezTo>
                    <a:lnTo>
                      <a:pt x="378547" y="164474"/>
                    </a:lnTo>
                    <a:cubicBezTo>
                      <a:pt x="378547" y="153557"/>
                      <a:pt x="369268" y="144278"/>
                      <a:pt x="358351" y="144278"/>
                    </a:cubicBezTo>
                    <a:lnTo>
                      <a:pt x="329421" y="144278"/>
                    </a:lnTo>
                    <a:cubicBezTo>
                      <a:pt x="323416" y="121898"/>
                      <a:pt x="311954" y="101156"/>
                      <a:pt x="294486" y="83688"/>
                    </a:cubicBezTo>
                    <a:lnTo>
                      <a:pt x="308678" y="58579"/>
                    </a:lnTo>
                    <a:cubicBezTo>
                      <a:pt x="314137" y="48754"/>
                      <a:pt x="310862" y="36745"/>
                      <a:pt x="301037" y="30741"/>
                    </a:cubicBezTo>
                    <a:lnTo>
                      <a:pt x="273198" y="14911"/>
                    </a:lnTo>
                    <a:cubicBezTo>
                      <a:pt x="263373" y="9453"/>
                      <a:pt x="251364" y="12728"/>
                      <a:pt x="245360" y="22553"/>
                    </a:cubicBezTo>
                    <a:lnTo>
                      <a:pt x="230622" y="47662"/>
                    </a:lnTo>
                    <a:cubicBezTo>
                      <a:pt x="207696" y="41658"/>
                      <a:pt x="183679" y="41658"/>
                      <a:pt x="160207" y="47662"/>
                    </a:cubicBezTo>
                    <a:lnTo>
                      <a:pt x="145469" y="22553"/>
                    </a:lnTo>
                    <a:cubicBezTo>
                      <a:pt x="140011" y="12728"/>
                      <a:pt x="127456" y="9453"/>
                      <a:pt x="117630" y="14911"/>
                    </a:cubicBezTo>
                    <a:lnTo>
                      <a:pt x="89792" y="30741"/>
                    </a:lnTo>
                    <a:cubicBezTo>
                      <a:pt x="79967" y="36199"/>
                      <a:pt x="76692" y="48754"/>
                      <a:pt x="82150" y="58579"/>
                    </a:cubicBezTo>
                    <a:lnTo>
                      <a:pt x="96343" y="83688"/>
                    </a:lnTo>
                    <a:cubicBezTo>
                      <a:pt x="78875" y="101156"/>
                      <a:pt x="67412" y="122444"/>
                      <a:pt x="61408" y="144278"/>
                    </a:cubicBezTo>
                    <a:lnTo>
                      <a:pt x="32478" y="144278"/>
                    </a:lnTo>
                    <a:cubicBezTo>
                      <a:pt x="21561" y="144278"/>
                      <a:pt x="12282" y="153557"/>
                      <a:pt x="12282" y="164474"/>
                    </a:cubicBezTo>
                    <a:lnTo>
                      <a:pt x="12282" y="196679"/>
                    </a:lnTo>
                    <a:cubicBezTo>
                      <a:pt x="12282" y="207596"/>
                      <a:pt x="21561" y="216876"/>
                      <a:pt x="32478" y="216876"/>
                    </a:cubicBezTo>
                    <a:lnTo>
                      <a:pt x="61408" y="216876"/>
                    </a:lnTo>
                    <a:cubicBezTo>
                      <a:pt x="67412" y="239256"/>
                      <a:pt x="78875" y="259998"/>
                      <a:pt x="96343" y="277465"/>
                    </a:cubicBezTo>
                    <a:lnTo>
                      <a:pt x="82150" y="302575"/>
                    </a:lnTo>
                    <a:cubicBezTo>
                      <a:pt x="76692" y="312400"/>
                      <a:pt x="79967" y="324409"/>
                      <a:pt x="89792" y="330413"/>
                    </a:cubicBezTo>
                    <a:lnTo>
                      <a:pt x="117630" y="346243"/>
                    </a:lnTo>
                    <a:cubicBezTo>
                      <a:pt x="127456" y="351701"/>
                      <a:pt x="139464" y="348426"/>
                      <a:pt x="145469" y="338601"/>
                    </a:cubicBezTo>
                    <a:lnTo>
                      <a:pt x="160207" y="313492"/>
                    </a:lnTo>
                    <a:cubicBezTo>
                      <a:pt x="183132" y="319496"/>
                      <a:pt x="207696" y="319496"/>
                      <a:pt x="230622" y="313492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1" name="Freihandform: Form 69">
                <a:extLst>
                  <a:ext uri="{FF2B5EF4-FFF2-40B4-BE49-F238E27FC236}">
                    <a16:creationId xmlns:a16="http://schemas.microsoft.com/office/drawing/2014/main" id="{E6955055-7556-2D8E-864C-726CF1186A29}"/>
                  </a:ext>
                </a:extLst>
              </p:cNvPr>
              <p:cNvSpPr/>
              <p:nvPr/>
            </p:nvSpPr>
            <p:spPr bwMode="gray">
              <a:xfrm>
                <a:off x="9950775" y="7309727"/>
                <a:ext cx="294759" cy="283842"/>
              </a:xfrm>
              <a:custGeom>
                <a:avLst/>
                <a:gdLst>
                  <a:gd name="connsiteX0" fmla="*/ 251396 w 294759"/>
                  <a:gd name="connsiteY0" fmla="*/ 162354 h 283842"/>
                  <a:gd name="connsiteX1" fmla="*/ 273230 w 294759"/>
                  <a:gd name="connsiteY1" fmla="*/ 160716 h 283842"/>
                  <a:gd name="connsiteX2" fmla="*/ 287422 w 294759"/>
                  <a:gd name="connsiteY2" fmla="*/ 144341 h 283842"/>
                  <a:gd name="connsiteX3" fmla="*/ 285785 w 294759"/>
                  <a:gd name="connsiteY3" fmla="*/ 120324 h 283842"/>
                  <a:gd name="connsiteX4" fmla="*/ 269409 w 294759"/>
                  <a:gd name="connsiteY4" fmla="*/ 106131 h 283842"/>
                  <a:gd name="connsiteX5" fmla="*/ 247575 w 294759"/>
                  <a:gd name="connsiteY5" fmla="*/ 107769 h 283842"/>
                  <a:gd name="connsiteX6" fmla="*/ 217553 w 294759"/>
                  <a:gd name="connsiteY6" fmla="*/ 64101 h 283842"/>
                  <a:gd name="connsiteX7" fmla="*/ 226833 w 294759"/>
                  <a:gd name="connsiteY7" fmla="*/ 44450 h 283842"/>
                  <a:gd name="connsiteX8" fmla="*/ 219736 w 294759"/>
                  <a:gd name="connsiteY8" fmla="*/ 24254 h 283842"/>
                  <a:gd name="connsiteX9" fmla="*/ 197902 w 294759"/>
                  <a:gd name="connsiteY9" fmla="*/ 13883 h 283842"/>
                  <a:gd name="connsiteX10" fmla="*/ 177706 w 294759"/>
                  <a:gd name="connsiteY10" fmla="*/ 20979 h 283842"/>
                  <a:gd name="connsiteX11" fmla="*/ 168427 w 294759"/>
                  <a:gd name="connsiteY11" fmla="*/ 40629 h 283842"/>
                  <a:gd name="connsiteX12" fmla="*/ 116025 w 294759"/>
                  <a:gd name="connsiteY12" fmla="*/ 44450 h 283842"/>
                  <a:gd name="connsiteX13" fmla="*/ 103471 w 294759"/>
                  <a:gd name="connsiteY13" fmla="*/ 26437 h 283842"/>
                  <a:gd name="connsiteX14" fmla="*/ 82182 w 294759"/>
                  <a:gd name="connsiteY14" fmla="*/ 22616 h 283842"/>
                  <a:gd name="connsiteX15" fmla="*/ 62532 w 294759"/>
                  <a:gd name="connsiteY15" fmla="*/ 36262 h 283842"/>
                  <a:gd name="connsiteX16" fmla="*/ 58711 w 294759"/>
                  <a:gd name="connsiteY16" fmla="*/ 57551 h 283842"/>
                  <a:gd name="connsiteX17" fmla="*/ 71265 w 294759"/>
                  <a:gd name="connsiteY17" fmla="*/ 75564 h 283842"/>
                  <a:gd name="connsiteX18" fmla="*/ 48339 w 294759"/>
                  <a:gd name="connsiteY18" fmla="*/ 123053 h 283842"/>
                  <a:gd name="connsiteX19" fmla="*/ 26505 w 294759"/>
                  <a:gd name="connsiteY19" fmla="*/ 124690 h 283842"/>
                  <a:gd name="connsiteX20" fmla="*/ 12313 w 294759"/>
                  <a:gd name="connsiteY20" fmla="*/ 141066 h 283842"/>
                  <a:gd name="connsiteX21" fmla="*/ 13951 w 294759"/>
                  <a:gd name="connsiteY21" fmla="*/ 165083 h 283842"/>
                  <a:gd name="connsiteX22" fmla="*/ 30326 w 294759"/>
                  <a:gd name="connsiteY22" fmla="*/ 179275 h 283842"/>
                  <a:gd name="connsiteX23" fmla="*/ 52160 w 294759"/>
                  <a:gd name="connsiteY23" fmla="*/ 177638 h 283842"/>
                  <a:gd name="connsiteX24" fmla="*/ 82182 w 294759"/>
                  <a:gd name="connsiteY24" fmla="*/ 221306 h 283842"/>
                  <a:gd name="connsiteX25" fmla="*/ 72903 w 294759"/>
                  <a:gd name="connsiteY25" fmla="*/ 240956 h 283842"/>
                  <a:gd name="connsiteX26" fmla="*/ 79999 w 294759"/>
                  <a:gd name="connsiteY26" fmla="*/ 261153 h 283842"/>
                  <a:gd name="connsiteX27" fmla="*/ 101833 w 294759"/>
                  <a:gd name="connsiteY27" fmla="*/ 271524 h 283842"/>
                  <a:gd name="connsiteX28" fmla="*/ 122029 w 294759"/>
                  <a:gd name="connsiteY28" fmla="*/ 264428 h 283842"/>
                  <a:gd name="connsiteX29" fmla="*/ 131309 w 294759"/>
                  <a:gd name="connsiteY29" fmla="*/ 244777 h 283842"/>
                  <a:gd name="connsiteX30" fmla="*/ 183710 w 294759"/>
                  <a:gd name="connsiteY30" fmla="*/ 240956 h 283842"/>
                  <a:gd name="connsiteX31" fmla="*/ 196265 w 294759"/>
                  <a:gd name="connsiteY31" fmla="*/ 258970 h 283842"/>
                  <a:gd name="connsiteX32" fmla="*/ 217553 w 294759"/>
                  <a:gd name="connsiteY32" fmla="*/ 262790 h 283842"/>
                  <a:gd name="connsiteX33" fmla="*/ 237204 w 294759"/>
                  <a:gd name="connsiteY33" fmla="*/ 249144 h 283842"/>
                  <a:gd name="connsiteX34" fmla="*/ 241025 w 294759"/>
                  <a:gd name="connsiteY34" fmla="*/ 227856 h 283842"/>
                  <a:gd name="connsiteX35" fmla="*/ 228471 w 294759"/>
                  <a:gd name="connsiteY35" fmla="*/ 209843 h 283842"/>
                  <a:gd name="connsiteX36" fmla="*/ 251396 w 294759"/>
                  <a:gd name="connsiteY36" fmla="*/ 162354 h 283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94759" h="283842">
                    <a:moveTo>
                      <a:pt x="251396" y="162354"/>
                    </a:moveTo>
                    <a:lnTo>
                      <a:pt x="273230" y="160716"/>
                    </a:lnTo>
                    <a:cubicBezTo>
                      <a:pt x="281418" y="160171"/>
                      <a:pt x="287968" y="152529"/>
                      <a:pt x="287422" y="144341"/>
                    </a:cubicBezTo>
                    <a:lnTo>
                      <a:pt x="285785" y="120324"/>
                    </a:lnTo>
                    <a:cubicBezTo>
                      <a:pt x="285238" y="112136"/>
                      <a:pt x="277597" y="105585"/>
                      <a:pt x="269409" y="106131"/>
                    </a:cubicBezTo>
                    <a:lnTo>
                      <a:pt x="247575" y="107769"/>
                    </a:lnTo>
                    <a:cubicBezTo>
                      <a:pt x="241570" y="90302"/>
                      <a:pt x="230653" y="75564"/>
                      <a:pt x="217553" y="64101"/>
                    </a:cubicBezTo>
                    <a:lnTo>
                      <a:pt x="226833" y="44450"/>
                    </a:lnTo>
                    <a:cubicBezTo>
                      <a:pt x="230653" y="36808"/>
                      <a:pt x="227378" y="28075"/>
                      <a:pt x="219736" y="24254"/>
                    </a:cubicBezTo>
                    <a:lnTo>
                      <a:pt x="197902" y="13883"/>
                    </a:lnTo>
                    <a:cubicBezTo>
                      <a:pt x="190261" y="10062"/>
                      <a:pt x="181527" y="13337"/>
                      <a:pt x="177706" y="20979"/>
                    </a:cubicBezTo>
                    <a:lnTo>
                      <a:pt x="168427" y="40629"/>
                    </a:lnTo>
                    <a:cubicBezTo>
                      <a:pt x="151505" y="37354"/>
                      <a:pt x="133492" y="38446"/>
                      <a:pt x="116025" y="44450"/>
                    </a:cubicBezTo>
                    <a:lnTo>
                      <a:pt x="103471" y="26437"/>
                    </a:lnTo>
                    <a:cubicBezTo>
                      <a:pt x="98558" y="19341"/>
                      <a:pt x="89278" y="17703"/>
                      <a:pt x="82182" y="22616"/>
                    </a:cubicBezTo>
                    <a:lnTo>
                      <a:pt x="62532" y="36262"/>
                    </a:lnTo>
                    <a:cubicBezTo>
                      <a:pt x="55435" y="41175"/>
                      <a:pt x="53798" y="50455"/>
                      <a:pt x="58711" y="57551"/>
                    </a:cubicBezTo>
                    <a:lnTo>
                      <a:pt x="71265" y="75564"/>
                    </a:lnTo>
                    <a:cubicBezTo>
                      <a:pt x="59803" y="89210"/>
                      <a:pt x="52160" y="105585"/>
                      <a:pt x="48339" y="123053"/>
                    </a:cubicBezTo>
                    <a:lnTo>
                      <a:pt x="26505" y="124690"/>
                    </a:lnTo>
                    <a:cubicBezTo>
                      <a:pt x="18318" y="125236"/>
                      <a:pt x="11767" y="132878"/>
                      <a:pt x="12313" y="141066"/>
                    </a:cubicBezTo>
                    <a:lnTo>
                      <a:pt x="13951" y="165083"/>
                    </a:lnTo>
                    <a:cubicBezTo>
                      <a:pt x="14497" y="173271"/>
                      <a:pt x="22139" y="179821"/>
                      <a:pt x="30326" y="179275"/>
                    </a:cubicBezTo>
                    <a:lnTo>
                      <a:pt x="52160" y="177638"/>
                    </a:lnTo>
                    <a:cubicBezTo>
                      <a:pt x="58165" y="195105"/>
                      <a:pt x="69082" y="209843"/>
                      <a:pt x="82182" y="221306"/>
                    </a:cubicBezTo>
                    <a:lnTo>
                      <a:pt x="72903" y="240956"/>
                    </a:lnTo>
                    <a:cubicBezTo>
                      <a:pt x="69082" y="248598"/>
                      <a:pt x="72357" y="257332"/>
                      <a:pt x="79999" y="261153"/>
                    </a:cubicBezTo>
                    <a:lnTo>
                      <a:pt x="101833" y="271524"/>
                    </a:lnTo>
                    <a:cubicBezTo>
                      <a:pt x="109475" y="275345"/>
                      <a:pt x="118208" y="272070"/>
                      <a:pt x="122029" y="264428"/>
                    </a:cubicBezTo>
                    <a:lnTo>
                      <a:pt x="131309" y="244777"/>
                    </a:lnTo>
                    <a:cubicBezTo>
                      <a:pt x="148230" y="248053"/>
                      <a:pt x="166243" y="246961"/>
                      <a:pt x="183710" y="240956"/>
                    </a:cubicBezTo>
                    <a:lnTo>
                      <a:pt x="196265" y="258970"/>
                    </a:lnTo>
                    <a:cubicBezTo>
                      <a:pt x="201178" y="266066"/>
                      <a:pt x="210457" y="267703"/>
                      <a:pt x="217553" y="262790"/>
                    </a:cubicBezTo>
                    <a:lnTo>
                      <a:pt x="237204" y="249144"/>
                    </a:lnTo>
                    <a:cubicBezTo>
                      <a:pt x="244300" y="244232"/>
                      <a:pt x="245937" y="234952"/>
                      <a:pt x="241025" y="227856"/>
                    </a:cubicBezTo>
                    <a:lnTo>
                      <a:pt x="228471" y="209843"/>
                    </a:lnTo>
                    <a:cubicBezTo>
                      <a:pt x="239933" y="196197"/>
                      <a:pt x="248121" y="179821"/>
                      <a:pt x="251396" y="162354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2" name="Freihandform: Form 70">
                <a:extLst>
                  <a:ext uri="{FF2B5EF4-FFF2-40B4-BE49-F238E27FC236}">
                    <a16:creationId xmlns:a16="http://schemas.microsoft.com/office/drawing/2014/main" id="{771509DF-D629-194E-B879-AA91EB43448D}"/>
                  </a:ext>
                </a:extLst>
              </p:cNvPr>
              <p:cNvSpPr/>
              <p:nvPr/>
            </p:nvSpPr>
            <p:spPr bwMode="gray">
              <a:xfrm>
                <a:off x="10048514" y="7400847"/>
                <a:ext cx="98253" cy="98253"/>
              </a:xfrm>
              <a:custGeom>
                <a:avLst/>
                <a:gdLst>
                  <a:gd name="connsiteX0" fmla="*/ 90884 w 98253"/>
                  <a:gd name="connsiteY0" fmla="*/ 51583 h 98253"/>
                  <a:gd name="connsiteX1" fmla="*/ 51583 w 98253"/>
                  <a:gd name="connsiteY1" fmla="*/ 12282 h 98253"/>
                  <a:gd name="connsiteX2" fmla="*/ 12282 w 98253"/>
                  <a:gd name="connsiteY2" fmla="*/ 51583 h 98253"/>
                  <a:gd name="connsiteX3" fmla="*/ 51583 w 98253"/>
                  <a:gd name="connsiteY3" fmla="*/ 90884 h 98253"/>
                  <a:gd name="connsiteX4" fmla="*/ 90884 w 98253"/>
                  <a:gd name="connsiteY4" fmla="*/ 51583 h 9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253" h="98253">
                    <a:moveTo>
                      <a:pt x="90884" y="51583"/>
                    </a:moveTo>
                    <a:cubicBezTo>
                      <a:pt x="90884" y="29749"/>
                      <a:pt x="73417" y="12282"/>
                      <a:pt x="51583" y="12282"/>
                    </a:cubicBezTo>
                    <a:cubicBezTo>
                      <a:pt x="29749" y="12282"/>
                      <a:pt x="12282" y="29749"/>
                      <a:pt x="12282" y="51583"/>
                    </a:cubicBezTo>
                    <a:cubicBezTo>
                      <a:pt x="12282" y="73417"/>
                      <a:pt x="29749" y="90884"/>
                      <a:pt x="51583" y="90884"/>
                    </a:cubicBezTo>
                    <a:cubicBezTo>
                      <a:pt x="73417" y="90884"/>
                      <a:pt x="90884" y="73417"/>
                      <a:pt x="90884" y="5158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3" name="Freihandform: Form 71">
                <a:extLst>
                  <a:ext uri="{FF2B5EF4-FFF2-40B4-BE49-F238E27FC236}">
                    <a16:creationId xmlns:a16="http://schemas.microsoft.com/office/drawing/2014/main" id="{6C435044-BB94-7DEC-6EBE-82A8F50D05D4}"/>
                  </a:ext>
                </a:extLst>
              </p:cNvPr>
              <p:cNvSpPr/>
              <p:nvPr/>
            </p:nvSpPr>
            <p:spPr bwMode="gray">
              <a:xfrm>
                <a:off x="10047416" y="7835880"/>
                <a:ext cx="98253" cy="98252"/>
              </a:xfrm>
              <a:custGeom>
                <a:avLst/>
                <a:gdLst>
                  <a:gd name="connsiteX0" fmla="*/ 90884 w 98253"/>
                  <a:gd name="connsiteY0" fmla="*/ 51583 h 98253"/>
                  <a:gd name="connsiteX1" fmla="*/ 51583 w 98253"/>
                  <a:gd name="connsiteY1" fmla="*/ 90884 h 98253"/>
                  <a:gd name="connsiteX2" fmla="*/ 12282 w 98253"/>
                  <a:gd name="connsiteY2" fmla="*/ 51583 h 98253"/>
                  <a:gd name="connsiteX3" fmla="*/ 51583 w 98253"/>
                  <a:gd name="connsiteY3" fmla="*/ 12282 h 98253"/>
                  <a:gd name="connsiteX4" fmla="*/ 90884 w 98253"/>
                  <a:gd name="connsiteY4" fmla="*/ 51583 h 9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253" h="98253">
                    <a:moveTo>
                      <a:pt x="90884" y="51583"/>
                    </a:moveTo>
                    <a:cubicBezTo>
                      <a:pt x="90884" y="73288"/>
                      <a:pt x="73289" y="90884"/>
                      <a:pt x="51583" y="90884"/>
                    </a:cubicBezTo>
                    <a:cubicBezTo>
                      <a:pt x="29878" y="90884"/>
                      <a:pt x="12282" y="73288"/>
                      <a:pt x="12282" y="51583"/>
                    </a:cubicBezTo>
                    <a:cubicBezTo>
                      <a:pt x="12282" y="29877"/>
                      <a:pt x="29878" y="12282"/>
                      <a:pt x="51583" y="12282"/>
                    </a:cubicBezTo>
                    <a:cubicBezTo>
                      <a:pt x="73289" y="12282"/>
                      <a:pt x="90884" y="29877"/>
                      <a:pt x="90884" y="5158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4" name="Freihandform: Form 72">
                <a:extLst>
                  <a:ext uri="{FF2B5EF4-FFF2-40B4-BE49-F238E27FC236}">
                    <a16:creationId xmlns:a16="http://schemas.microsoft.com/office/drawing/2014/main" id="{F35CB20C-8105-5ABF-2A0A-2C6AEDB573DC}"/>
                  </a:ext>
                </a:extLst>
              </p:cNvPr>
              <p:cNvSpPr/>
              <p:nvPr/>
            </p:nvSpPr>
            <p:spPr bwMode="gray">
              <a:xfrm>
                <a:off x="10304648" y="7621507"/>
                <a:ext cx="92795" cy="92795"/>
              </a:xfrm>
              <a:custGeom>
                <a:avLst/>
                <a:gdLst>
                  <a:gd name="connsiteX0" fmla="*/ 72189 w 92794"/>
                  <a:gd name="connsiteY0" fmla="*/ 22516 h 92794"/>
                  <a:gd name="connsiteX1" fmla="*/ 22516 w 92794"/>
                  <a:gd name="connsiteY1" fmla="*/ 22516 h 92794"/>
                  <a:gd name="connsiteX2" fmla="*/ 22516 w 92794"/>
                  <a:gd name="connsiteY2" fmla="*/ 72189 h 92794"/>
                  <a:gd name="connsiteX3" fmla="*/ 72189 w 92794"/>
                  <a:gd name="connsiteY3" fmla="*/ 72189 h 92794"/>
                  <a:gd name="connsiteX4" fmla="*/ 72189 w 92794"/>
                  <a:gd name="connsiteY4" fmla="*/ 22516 h 92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794" h="92794">
                    <a:moveTo>
                      <a:pt x="72189" y="22516"/>
                    </a:moveTo>
                    <a:cubicBezTo>
                      <a:pt x="58542" y="8870"/>
                      <a:pt x="36163" y="8870"/>
                      <a:pt x="22516" y="22516"/>
                    </a:cubicBezTo>
                    <a:cubicBezTo>
                      <a:pt x="8870" y="36163"/>
                      <a:pt x="8870" y="58543"/>
                      <a:pt x="22516" y="72189"/>
                    </a:cubicBezTo>
                    <a:cubicBezTo>
                      <a:pt x="36163" y="85835"/>
                      <a:pt x="58542" y="85835"/>
                      <a:pt x="72189" y="72189"/>
                    </a:cubicBezTo>
                    <a:cubicBezTo>
                      <a:pt x="85835" y="58543"/>
                      <a:pt x="85835" y="36163"/>
                      <a:pt x="72189" y="22516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1" name="Gruppieren 73">
              <a:extLst>
                <a:ext uri="{FF2B5EF4-FFF2-40B4-BE49-F238E27FC236}">
                  <a16:creationId xmlns:a16="http://schemas.microsoft.com/office/drawing/2014/main" id="{ABB9B36C-3783-A318-6B73-FAA9D6335EDF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1089361" y="1658945"/>
              <a:ext cx="409880" cy="419491"/>
              <a:chOff x="9963221" y="4066766"/>
              <a:chExt cx="630632" cy="645417"/>
            </a:xfrm>
          </p:grpSpPr>
          <p:sp>
            <p:nvSpPr>
              <p:cNvPr id="116" name="Freihandform: Form 74">
                <a:extLst>
                  <a:ext uri="{FF2B5EF4-FFF2-40B4-BE49-F238E27FC236}">
                    <a16:creationId xmlns:a16="http://schemas.microsoft.com/office/drawing/2014/main" id="{54D0EA2A-2430-277B-440F-CA1A7A33ABAC}"/>
                  </a:ext>
                </a:extLst>
              </p:cNvPr>
              <p:cNvSpPr/>
              <p:nvPr/>
            </p:nvSpPr>
            <p:spPr bwMode="gray">
              <a:xfrm>
                <a:off x="10292469" y="4184476"/>
                <a:ext cx="301384" cy="420801"/>
              </a:xfrm>
              <a:custGeom>
                <a:avLst/>
                <a:gdLst>
                  <a:gd name="connsiteX0" fmla="*/ 303601 w 431679"/>
                  <a:gd name="connsiteY0" fmla="*/ 15272 h 602722"/>
                  <a:gd name="connsiteX1" fmla="*/ 240885 w 431679"/>
                  <a:gd name="connsiteY1" fmla="*/ 77987 h 602722"/>
                  <a:gd name="connsiteX2" fmla="*/ 15272 w 431679"/>
                  <a:gd name="connsiteY2" fmla="*/ 303601 h 602722"/>
                  <a:gd name="connsiteX3" fmla="*/ 240885 w 431679"/>
                  <a:gd name="connsiteY3" fmla="*/ 529214 h 602722"/>
                  <a:gd name="connsiteX4" fmla="*/ 303601 w 431679"/>
                  <a:gd name="connsiteY4" fmla="*/ 591930 h 602722"/>
                  <a:gd name="connsiteX5" fmla="*/ 423331 w 431679"/>
                  <a:gd name="connsiteY5" fmla="*/ 303601 h 602722"/>
                  <a:gd name="connsiteX6" fmla="*/ 303601 w 431679"/>
                  <a:gd name="connsiteY6" fmla="*/ 15272 h 602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1679" h="602722">
                    <a:moveTo>
                      <a:pt x="303601" y="15272"/>
                    </a:moveTo>
                    <a:lnTo>
                      <a:pt x="240885" y="77987"/>
                    </a:lnTo>
                    <a:lnTo>
                      <a:pt x="15272" y="303601"/>
                    </a:lnTo>
                    <a:lnTo>
                      <a:pt x="240885" y="529214"/>
                    </a:lnTo>
                    <a:lnTo>
                      <a:pt x="303601" y="591930"/>
                    </a:lnTo>
                    <a:cubicBezTo>
                      <a:pt x="377719" y="517812"/>
                      <a:pt x="423331" y="416000"/>
                      <a:pt x="423331" y="303601"/>
                    </a:cubicBezTo>
                    <a:cubicBezTo>
                      <a:pt x="423331" y="190387"/>
                      <a:pt x="377719" y="88576"/>
                      <a:pt x="303601" y="15272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7" name="Freihandform: Form 75">
                <a:extLst>
                  <a:ext uri="{FF2B5EF4-FFF2-40B4-BE49-F238E27FC236}">
                    <a16:creationId xmlns:a16="http://schemas.microsoft.com/office/drawing/2014/main" id="{D662DE44-7957-F1BE-EDA5-0523BBB32430}"/>
                  </a:ext>
                </a:extLst>
              </p:cNvPr>
              <p:cNvSpPr/>
              <p:nvPr/>
            </p:nvSpPr>
            <p:spPr bwMode="gray">
              <a:xfrm>
                <a:off x="10258918" y="4066766"/>
                <a:ext cx="221774" cy="301384"/>
              </a:xfrm>
              <a:custGeom>
                <a:avLst/>
                <a:gdLst>
                  <a:gd name="connsiteX0" fmla="*/ 303601 w 317650"/>
                  <a:gd name="connsiteY0" fmla="*/ 135002 h 431679"/>
                  <a:gd name="connsiteX1" fmla="*/ 15272 w 317650"/>
                  <a:gd name="connsiteY1" fmla="*/ 15272 h 431679"/>
                  <a:gd name="connsiteX2" fmla="*/ 15272 w 317650"/>
                  <a:gd name="connsiteY2" fmla="*/ 422516 h 431679"/>
                  <a:gd name="connsiteX3" fmla="*/ 303601 w 317650"/>
                  <a:gd name="connsiteY3" fmla="*/ 135002 h 431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7650" h="431679">
                    <a:moveTo>
                      <a:pt x="303601" y="135002"/>
                    </a:moveTo>
                    <a:cubicBezTo>
                      <a:pt x="229482" y="60883"/>
                      <a:pt x="127671" y="15272"/>
                      <a:pt x="15272" y="15272"/>
                    </a:cubicBezTo>
                    <a:lnTo>
                      <a:pt x="15272" y="422516"/>
                    </a:lnTo>
                    <a:lnTo>
                      <a:pt x="303601" y="13500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8" name="Freihandform: Form 76">
                <a:extLst>
                  <a:ext uri="{FF2B5EF4-FFF2-40B4-BE49-F238E27FC236}">
                    <a16:creationId xmlns:a16="http://schemas.microsoft.com/office/drawing/2014/main" id="{8F7A7D56-F659-F905-65F8-7F950691FD32}"/>
                  </a:ext>
                </a:extLst>
              </p:cNvPr>
              <p:cNvSpPr/>
              <p:nvPr/>
            </p:nvSpPr>
            <p:spPr bwMode="gray">
              <a:xfrm>
                <a:off x="10057617" y="4067334"/>
                <a:ext cx="221774" cy="301384"/>
              </a:xfrm>
              <a:custGeom>
                <a:avLst/>
                <a:gdLst>
                  <a:gd name="connsiteX0" fmla="*/ 303601 w 317650"/>
                  <a:gd name="connsiteY0" fmla="*/ 15272 h 431679"/>
                  <a:gd name="connsiteX1" fmla="*/ 15272 w 317650"/>
                  <a:gd name="connsiteY1" fmla="*/ 135002 h 431679"/>
                  <a:gd name="connsiteX2" fmla="*/ 303601 w 317650"/>
                  <a:gd name="connsiteY2" fmla="*/ 422516 h 431679"/>
                  <a:gd name="connsiteX3" fmla="*/ 303601 w 317650"/>
                  <a:gd name="connsiteY3" fmla="*/ 15272 h 431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7650" h="431679">
                    <a:moveTo>
                      <a:pt x="303601" y="15272"/>
                    </a:moveTo>
                    <a:cubicBezTo>
                      <a:pt x="191202" y="15272"/>
                      <a:pt x="89390" y="60883"/>
                      <a:pt x="15272" y="135002"/>
                    </a:cubicBezTo>
                    <a:lnTo>
                      <a:pt x="303601" y="422516"/>
                    </a:lnTo>
                    <a:lnTo>
                      <a:pt x="303601" y="152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9" name="Freihandform: Form 77">
                <a:extLst>
                  <a:ext uri="{FF2B5EF4-FFF2-40B4-BE49-F238E27FC236}">
                    <a16:creationId xmlns:a16="http://schemas.microsoft.com/office/drawing/2014/main" id="{64987D8D-2DAE-6CBA-F404-A2C960CF20A5}"/>
                  </a:ext>
                </a:extLst>
              </p:cNvPr>
              <p:cNvSpPr/>
              <p:nvPr/>
            </p:nvSpPr>
            <p:spPr bwMode="gray">
              <a:xfrm>
                <a:off x="9963221" y="4206085"/>
                <a:ext cx="506098" cy="506098"/>
              </a:xfrm>
              <a:custGeom>
                <a:avLst/>
                <a:gdLst>
                  <a:gd name="connsiteX0" fmla="*/ 135002 w 724895"/>
                  <a:gd name="connsiteY0" fmla="*/ 15272 h 724895"/>
                  <a:gd name="connsiteX1" fmla="*/ 15272 w 724895"/>
                  <a:gd name="connsiteY1" fmla="*/ 303601 h 724895"/>
                  <a:gd name="connsiteX2" fmla="*/ 422516 w 724895"/>
                  <a:gd name="connsiteY2" fmla="*/ 710846 h 724895"/>
                  <a:gd name="connsiteX3" fmla="*/ 710845 w 724895"/>
                  <a:gd name="connsiteY3" fmla="*/ 591116 h 724895"/>
                  <a:gd name="connsiteX4" fmla="*/ 422516 w 724895"/>
                  <a:gd name="connsiteY4" fmla="*/ 302786 h 724895"/>
                  <a:gd name="connsiteX5" fmla="*/ 135002 w 724895"/>
                  <a:gd name="connsiteY5" fmla="*/ 15272 h 72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24895" h="724895">
                    <a:moveTo>
                      <a:pt x="135002" y="15272"/>
                    </a:moveTo>
                    <a:cubicBezTo>
                      <a:pt x="60883" y="89390"/>
                      <a:pt x="15272" y="191201"/>
                      <a:pt x="15272" y="303601"/>
                    </a:cubicBezTo>
                    <a:cubicBezTo>
                      <a:pt x="15272" y="528400"/>
                      <a:pt x="197717" y="710846"/>
                      <a:pt x="422516" y="710846"/>
                    </a:cubicBezTo>
                    <a:cubicBezTo>
                      <a:pt x="534916" y="710846"/>
                      <a:pt x="636727" y="665234"/>
                      <a:pt x="710845" y="591116"/>
                    </a:cubicBezTo>
                    <a:lnTo>
                      <a:pt x="422516" y="302786"/>
                    </a:lnTo>
                    <a:lnTo>
                      <a:pt x="135002" y="152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2" name="Gruppieren 113">
              <a:extLst>
                <a:ext uri="{FF2B5EF4-FFF2-40B4-BE49-F238E27FC236}">
                  <a16:creationId xmlns:a16="http://schemas.microsoft.com/office/drawing/2014/main" id="{D9242F86-0DB3-5217-BC8F-CBA94D8F08D3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804295" y="1648614"/>
              <a:ext cx="459493" cy="260893"/>
              <a:chOff x="1806086" y="4262696"/>
              <a:chExt cx="785404" cy="445939"/>
            </a:xfrm>
          </p:grpSpPr>
          <p:sp>
            <p:nvSpPr>
              <p:cNvPr id="101" name="Freihandform: Form 114">
                <a:extLst>
                  <a:ext uri="{FF2B5EF4-FFF2-40B4-BE49-F238E27FC236}">
                    <a16:creationId xmlns:a16="http://schemas.microsoft.com/office/drawing/2014/main" id="{06B9728C-DCDE-F931-F36B-43869ACD66AE}"/>
                  </a:ext>
                </a:extLst>
              </p:cNvPr>
              <p:cNvSpPr/>
              <p:nvPr/>
            </p:nvSpPr>
            <p:spPr bwMode="gray">
              <a:xfrm>
                <a:off x="2101573" y="4373664"/>
                <a:ext cx="292270" cy="163671"/>
              </a:xfrm>
              <a:custGeom>
                <a:avLst/>
                <a:gdLst>
                  <a:gd name="connsiteX0" fmla="*/ 282330 w 293320"/>
                  <a:gd name="connsiteY0" fmla="*/ 132794 h 164259"/>
                  <a:gd name="connsiteX1" fmla="*/ 129017 w 293320"/>
                  <a:gd name="connsiteY1" fmla="*/ 94633 h 164259"/>
                  <a:gd name="connsiteX2" fmla="*/ 75768 w 293320"/>
                  <a:gd name="connsiteY2" fmla="*/ 96059 h 164259"/>
                  <a:gd name="connsiteX3" fmla="*/ 22014 w 293320"/>
                  <a:gd name="connsiteY3" fmla="*/ 125320 h 164259"/>
                  <a:gd name="connsiteX4" fmla="*/ 13894 w 293320"/>
                  <a:gd name="connsiteY4" fmla="*/ 106213 h 164259"/>
                  <a:gd name="connsiteX5" fmla="*/ 24372 w 293320"/>
                  <a:gd name="connsiteY5" fmla="*/ 70246 h 164259"/>
                  <a:gd name="connsiteX6" fmla="*/ 55347 w 293320"/>
                  <a:gd name="connsiteY6" fmla="*/ 34931 h 164259"/>
                  <a:gd name="connsiteX7" fmla="*/ 94957 w 293320"/>
                  <a:gd name="connsiteY7" fmla="*/ 17495 h 164259"/>
                  <a:gd name="connsiteX8" fmla="*/ 139670 w 293320"/>
                  <a:gd name="connsiteY8" fmla="*/ 16252 h 164259"/>
                  <a:gd name="connsiteX9" fmla="*/ 242931 w 293320"/>
                  <a:gd name="connsiteY9" fmla="*/ 40703 h 164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3320" h="164259">
                    <a:moveTo>
                      <a:pt x="282330" y="132794"/>
                    </a:moveTo>
                    <a:cubicBezTo>
                      <a:pt x="194522" y="191746"/>
                      <a:pt x="129017" y="94633"/>
                      <a:pt x="129017" y="94633"/>
                    </a:cubicBezTo>
                    <a:cubicBezTo>
                      <a:pt x="97978" y="52201"/>
                      <a:pt x="75768" y="96059"/>
                      <a:pt x="75768" y="96059"/>
                    </a:cubicBezTo>
                    <a:cubicBezTo>
                      <a:pt x="59435" y="135733"/>
                      <a:pt x="35894" y="132131"/>
                      <a:pt x="22014" y="125320"/>
                    </a:cubicBezTo>
                    <a:cubicBezTo>
                      <a:pt x="15044" y="121747"/>
                      <a:pt x="11630" y="113705"/>
                      <a:pt x="13894" y="106213"/>
                    </a:cubicBezTo>
                    <a:lnTo>
                      <a:pt x="24372" y="70246"/>
                    </a:lnTo>
                    <a:cubicBezTo>
                      <a:pt x="28965" y="54477"/>
                      <a:pt x="40305" y="41542"/>
                      <a:pt x="55347" y="34931"/>
                    </a:cubicBezTo>
                    <a:lnTo>
                      <a:pt x="94957" y="17495"/>
                    </a:lnTo>
                    <a:cubicBezTo>
                      <a:pt x="109124" y="11265"/>
                      <a:pt x="122183" y="12685"/>
                      <a:pt x="139670" y="16252"/>
                    </a:cubicBezTo>
                    <a:lnTo>
                      <a:pt x="242931" y="40703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2" name="Freihandform: Form 115">
                <a:extLst>
                  <a:ext uri="{FF2B5EF4-FFF2-40B4-BE49-F238E27FC236}">
                    <a16:creationId xmlns:a16="http://schemas.microsoft.com/office/drawing/2014/main" id="{78AF550E-8476-375B-CD17-4B44F7184322}"/>
                  </a:ext>
                </a:extLst>
              </p:cNvPr>
              <p:cNvSpPr/>
              <p:nvPr/>
            </p:nvSpPr>
            <p:spPr bwMode="gray">
              <a:xfrm>
                <a:off x="2281258" y="4492830"/>
                <a:ext cx="134444" cy="93527"/>
              </a:xfrm>
              <a:custGeom>
                <a:avLst/>
                <a:gdLst>
                  <a:gd name="connsiteX0" fmla="*/ 123805 w 134927"/>
                  <a:gd name="connsiteY0" fmla="*/ 64179 h 93862"/>
                  <a:gd name="connsiteX1" fmla="*/ 55801 w 134927"/>
                  <a:gd name="connsiteY1" fmla="*/ 85791 h 93862"/>
                  <a:gd name="connsiteX2" fmla="*/ 13199 w 134927"/>
                  <a:gd name="connsiteY2" fmla="*/ 26423 h 93862"/>
                  <a:gd name="connsiteX3" fmla="*/ 101999 w 134927"/>
                  <a:gd name="connsiteY3" fmla="*/ 13199 h 93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927" h="93862">
                    <a:moveTo>
                      <a:pt x="123805" y="64179"/>
                    </a:moveTo>
                    <a:lnTo>
                      <a:pt x="55801" y="85791"/>
                    </a:lnTo>
                    <a:lnTo>
                      <a:pt x="13199" y="26423"/>
                    </a:lnTo>
                    <a:cubicBezTo>
                      <a:pt x="13199" y="26423"/>
                      <a:pt x="62935" y="47019"/>
                      <a:pt x="101999" y="13199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3" name="Freihandform: Form 116">
                <a:extLst>
                  <a:ext uri="{FF2B5EF4-FFF2-40B4-BE49-F238E27FC236}">
                    <a16:creationId xmlns:a16="http://schemas.microsoft.com/office/drawing/2014/main" id="{5569A2BB-C379-D6F8-A6C7-050C48D329F1}"/>
                  </a:ext>
                </a:extLst>
              </p:cNvPr>
              <p:cNvSpPr/>
              <p:nvPr/>
            </p:nvSpPr>
            <p:spPr bwMode="gray">
              <a:xfrm>
                <a:off x="1806086" y="4262696"/>
                <a:ext cx="192898" cy="356569"/>
              </a:xfrm>
              <a:custGeom>
                <a:avLst/>
                <a:gdLst>
                  <a:gd name="connsiteX0" fmla="*/ 13199 w 193591"/>
                  <a:gd name="connsiteY0" fmla="*/ 13199 h 357851"/>
                  <a:gd name="connsiteX1" fmla="*/ 13199 w 193591"/>
                  <a:gd name="connsiteY1" fmla="*/ 321908 h 357851"/>
                  <a:gd name="connsiteX2" fmla="*/ 73577 w 193591"/>
                  <a:gd name="connsiteY2" fmla="*/ 345825 h 357851"/>
                  <a:gd name="connsiteX3" fmla="*/ 181794 w 193591"/>
                  <a:gd name="connsiteY3" fmla="*/ 81549 h 357851"/>
                  <a:gd name="connsiteX4" fmla="*/ 13199 w 193591"/>
                  <a:gd name="connsiteY4" fmla="*/ 13199 h 357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591" h="357851">
                    <a:moveTo>
                      <a:pt x="13199" y="13199"/>
                    </a:moveTo>
                    <a:lnTo>
                      <a:pt x="13199" y="321908"/>
                    </a:lnTo>
                    <a:lnTo>
                      <a:pt x="73577" y="345825"/>
                    </a:lnTo>
                    <a:lnTo>
                      <a:pt x="181794" y="81549"/>
                    </a:lnTo>
                    <a:lnTo>
                      <a:pt x="13199" y="13199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4" name="Freihandform: Form 117">
                <a:extLst>
                  <a:ext uri="{FF2B5EF4-FFF2-40B4-BE49-F238E27FC236}">
                    <a16:creationId xmlns:a16="http://schemas.microsoft.com/office/drawing/2014/main" id="{A3F5AB5A-43E9-E393-3160-DE7CF48BB2CC}"/>
                  </a:ext>
                </a:extLst>
              </p:cNvPr>
              <p:cNvSpPr/>
              <p:nvPr/>
            </p:nvSpPr>
            <p:spPr bwMode="gray">
              <a:xfrm>
                <a:off x="1898905" y="4352078"/>
                <a:ext cx="169516" cy="216279"/>
              </a:xfrm>
              <a:custGeom>
                <a:avLst/>
                <a:gdLst>
                  <a:gd name="connsiteX0" fmla="*/ 79895 w 170126"/>
                  <a:gd name="connsiteY0" fmla="*/ 13199 h 217057"/>
                  <a:gd name="connsiteX1" fmla="*/ 156991 w 170126"/>
                  <a:gd name="connsiteY1" fmla="*/ 45664 h 217057"/>
                  <a:gd name="connsiteX2" fmla="*/ 88642 w 170126"/>
                  <a:gd name="connsiteY2" fmla="*/ 205436 h 217057"/>
                  <a:gd name="connsiteX3" fmla="*/ 13199 w 170126"/>
                  <a:gd name="connsiteY3" fmla="*/ 176086 h 21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0126" h="217057">
                    <a:moveTo>
                      <a:pt x="79895" y="13199"/>
                    </a:moveTo>
                    <a:lnTo>
                      <a:pt x="156991" y="45664"/>
                    </a:lnTo>
                    <a:lnTo>
                      <a:pt x="88642" y="205436"/>
                    </a:lnTo>
                    <a:lnTo>
                      <a:pt x="13199" y="17608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5" name="Freihandform: Form 118">
                <a:extLst>
                  <a:ext uri="{FF2B5EF4-FFF2-40B4-BE49-F238E27FC236}">
                    <a16:creationId xmlns:a16="http://schemas.microsoft.com/office/drawing/2014/main" id="{9EA39D7F-F7D7-CCCF-50F3-F09C06ADAFBC}"/>
                  </a:ext>
                </a:extLst>
              </p:cNvPr>
              <p:cNvSpPr/>
              <p:nvPr/>
            </p:nvSpPr>
            <p:spPr bwMode="gray">
              <a:xfrm>
                <a:off x="2398592" y="4279337"/>
                <a:ext cx="192898" cy="356569"/>
              </a:xfrm>
              <a:custGeom>
                <a:avLst/>
                <a:gdLst>
                  <a:gd name="connsiteX0" fmla="*/ 181788 w 193591"/>
                  <a:gd name="connsiteY0" fmla="*/ 13199 h 357851"/>
                  <a:gd name="connsiteX1" fmla="*/ 181788 w 193591"/>
                  <a:gd name="connsiteY1" fmla="*/ 321908 h 357851"/>
                  <a:gd name="connsiteX2" fmla="*/ 121417 w 193591"/>
                  <a:gd name="connsiteY2" fmla="*/ 345825 h 357851"/>
                  <a:gd name="connsiteX3" fmla="*/ 13199 w 193591"/>
                  <a:gd name="connsiteY3" fmla="*/ 81543 h 357851"/>
                  <a:gd name="connsiteX4" fmla="*/ 181788 w 193591"/>
                  <a:gd name="connsiteY4" fmla="*/ 13199 h 357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591" h="357851">
                    <a:moveTo>
                      <a:pt x="181788" y="13199"/>
                    </a:moveTo>
                    <a:lnTo>
                      <a:pt x="181788" y="321908"/>
                    </a:lnTo>
                    <a:lnTo>
                      <a:pt x="121417" y="345825"/>
                    </a:lnTo>
                    <a:lnTo>
                      <a:pt x="13199" y="81543"/>
                    </a:lnTo>
                    <a:lnTo>
                      <a:pt x="181788" y="13199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6" name="Freihandform: Form 119">
                <a:extLst>
                  <a:ext uri="{FF2B5EF4-FFF2-40B4-BE49-F238E27FC236}">
                    <a16:creationId xmlns:a16="http://schemas.microsoft.com/office/drawing/2014/main" id="{96263BEA-84A6-4BCF-291B-7C05935D0CC6}"/>
                  </a:ext>
                </a:extLst>
              </p:cNvPr>
              <p:cNvSpPr/>
              <p:nvPr/>
            </p:nvSpPr>
            <p:spPr bwMode="gray">
              <a:xfrm>
                <a:off x="2330488" y="4368720"/>
                <a:ext cx="169516" cy="216279"/>
              </a:xfrm>
              <a:custGeom>
                <a:avLst/>
                <a:gdLst>
                  <a:gd name="connsiteX0" fmla="*/ 90290 w 170126"/>
                  <a:gd name="connsiteY0" fmla="*/ 13199 h 217057"/>
                  <a:gd name="connsiteX1" fmla="*/ 13199 w 170126"/>
                  <a:gd name="connsiteY1" fmla="*/ 45664 h 217057"/>
                  <a:gd name="connsiteX2" fmla="*/ 81549 w 170126"/>
                  <a:gd name="connsiteY2" fmla="*/ 205430 h 217057"/>
                  <a:gd name="connsiteX3" fmla="*/ 156991 w 170126"/>
                  <a:gd name="connsiteY3" fmla="*/ 176086 h 21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0126" h="217057">
                    <a:moveTo>
                      <a:pt x="90290" y="13199"/>
                    </a:moveTo>
                    <a:lnTo>
                      <a:pt x="13199" y="45664"/>
                    </a:lnTo>
                    <a:lnTo>
                      <a:pt x="81549" y="205430"/>
                    </a:lnTo>
                    <a:lnTo>
                      <a:pt x="156991" y="17608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7" name="Freihandform: Form 120">
                <a:extLst>
                  <a:ext uri="{FF2B5EF4-FFF2-40B4-BE49-F238E27FC236}">
                    <a16:creationId xmlns:a16="http://schemas.microsoft.com/office/drawing/2014/main" id="{AC88278D-9FDD-A6DF-E0BD-83990EAB7E49}"/>
                  </a:ext>
                </a:extLst>
              </p:cNvPr>
              <p:cNvSpPr/>
              <p:nvPr/>
            </p:nvSpPr>
            <p:spPr bwMode="gray">
              <a:xfrm>
                <a:off x="2218110" y="4505614"/>
                <a:ext cx="146134" cy="134444"/>
              </a:xfrm>
              <a:custGeom>
                <a:avLst/>
                <a:gdLst>
                  <a:gd name="connsiteX0" fmla="*/ 71523 w 146660"/>
                  <a:gd name="connsiteY0" fmla="*/ 13199 h 134927"/>
                  <a:gd name="connsiteX1" fmla="*/ 130158 w 146660"/>
                  <a:gd name="connsiteY1" fmla="*/ 86729 h 134927"/>
                  <a:gd name="connsiteX2" fmla="*/ 133531 w 146660"/>
                  <a:gd name="connsiteY2" fmla="*/ 106681 h 134927"/>
                  <a:gd name="connsiteX3" fmla="*/ 133531 w 146660"/>
                  <a:gd name="connsiteY3" fmla="*/ 106681 h 134927"/>
                  <a:gd name="connsiteX4" fmla="*/ 103143 w 146660"/>
                  <a:gd name="connsiteY4" fmla="*/ 121265 h 134927"/>
                  <a:gd name="connsiteX5" fmla="*/ 93698 w 146660"/>
                  <a:gd name="connsiteY5" fmla="*/ 115123 h 134927"/>
                  <a:gd name="connsiteX6" fmla="*/ 13199 w 146660"/>
                  <a:gd name="connsiteY6" fmla="*/ 29702 h 134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6660" h="134927">
                    <a:moveTo>
                      <a:pt x="71523" y="13199"/>
                    </a:moveTo>
                    <a:lnTo>
                      <a:pt x="130158" y="86729"/>
                    </a:lnTo>
                    <a:cubicBezTo>
                      <a:pt x="134646" y="92355"/>
                      <a:pt x="135919" y="99893"/>
                      <a:pt x="133531" y="106681"/>
                    </a:cubicBezTo>
                    <a:lnTo>
                      <a:pt x="133531" y="106681"/>
                    </a:lnTo>
                    <a:cubicBezTo>
                      <a:pt x="129167" y="119100"/>
                      <a:pt x="115563" y="125630"/>
                      <a:pt x="103143" y="121265"/>
                    </a:cubicBezTo>
                    <a:cubicBezTo>
                      <a:pt x="99547" y="119998"/>
                      <a:pt x="96309" y="117892"/>
                      <a:pt x="93698" y="115123"/>
                    </a:cubicBezTo>
                    <a:lnTo>
                      <a:pt x="13199" y="29702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8" name="Freihandform: Form 121">
                <a:extLst>
                  <a:ext uri="{FF2B5EF4-FFF2-40B4-BE49-F238E27FC236}">
                    <a16:creationId xmlns:a16="http://schemas.microsoft.com/office/drawing/2014/main" id="{D657D4CD-7877-2332-C90C-C9122C298631}"/>
                  </a:ext>
                </a:extLst>
              </p:cNvPr>
              <p:cNvSpPr/>
              <p:nvPr/>
            </p:nvSpPr>
            <p:spPr bwMode="gray">
              <a:xfrm>
                <a:off x="2182640" y="4562075"/>
                <a:ext cx="151980" cy="105217"/>
              </a:xfrm>
              <a:custGeom>
                <a:avLst/>
                <a:gdLst>
                  <a:gd name="connsiteX0" fmla="*/ 13199 w 152526"/>
                  <a:gd name="connsiteY0" fmla="*/ 13199 h 105595"/>
                  <a:gd name="connsiteX1" fmla="*/ 80945 w 152526"/>
                  <a:gd name="connsiteY1" fmla="*/ 84066 h 105595"/>
                  <a:gd name="connsiteX2" fmla="*/ 130539 w 152526"/>
                  <a:gd name="connsiteY2" fmla="*/ 85386 h 105595"/>
                  <a:gd name="connsiteX3" fmla="*/ 139679 w 152526"/>
                  <a:gd name="connsiteY3" fmla="*/ 71043 h 105595"/>
                  <a:gd name="connsiteX4" fmla="*/ 140043 w 152526"/>
                  <a:gd name="connsiteY4" fmla="*/ 69863 h 105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526" h="105595">
                    <a:moveTo>
                      <a:pt x="13199" y="13199"/>
                    </a:moveTo>
                    <a:lnTo>
                      <a:pt x="80945" y="84066"/>
                    </a:lnTo>
                    <a:cubicBezTo>
                      <a:pt x="94279" y="98127"/>
                      <a:pt x="116483" y="98714"/>
                      <a:pt x="130539" y="85386"/>
                    </a:cubicBezTo>
                    <a:cubicBezTo>
                      <a:pt x="134716" y="81426"/>
                      <a:pt x="137855" y="76504"/>
                      <a:pt x="139679" y="71043"/>
                    </a:cubicBezTo>
                    <a:cubicBezTo>
                      <a:pt x="139803" y="70655"/>
                      <a:pt x="139926" y="70256"/>
                      <a:pt x="140043" y="69863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9" name="Freihandform: Form 122">
                <a:extLst>
                  <a:ext uri="{FF2B5EF4-FFF2-40B4-BE49-F238E27FC236}">
                    <a16:creationId xmlns:a16="http://schemas.microsoft.com/office/drawing/2014/main" id="{B87B9760-6481-A6FC-10DD-EEB61568EE1F}"/>
                  </a:ext>
                </a:extLst>
              </p:cNvPr>
              <p:cNvSpPr/>
              <p:nvPr/>
            </p:nvSpPr>
            <p:spPr bwMode="gray">
              <a:xfrm>
                <a:off x="2150292" y="4595270"/>
                <a:ext cx="140289" cy="99372"/>
              </a:xfrm>
              <a:custGeom>
                <a:avLst/>
                <a:gdLst>
                  <a:gd name="connsiteX0" fmla="*/ 13199 w 140793"/>
                  <a:gd name="connsiteY0" fmla="*/ 13199 h 99729"/>
                  <a:gd name="connsiteX1" fmla="*/ 69230 w 140793"/>
                  <a:gd name="connsiteY1" fmla="*/ 75419 h 99729"/>
                  <a:gd name="connsiteX2" fmla="*/ 93335 w 140793"/>
                  <a:gd name="connsiteY2" fmla="*/ 87592 h 99729"/>
                  <a:gd name="connsiteX3" fmla="*/ 128539 w 140793"/>
                  <a:gd name="connsiteY3" fmla="*/ 65721 h 99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793" h="99729">
                    <a:moveTo>
                      <a:pt x="13199" y="13199"/>
                    </a:moveTo>
                    <a:lnTo>
                      <a:pt x="69230" y="75419"/>
                    </a:lnTo>
                    <a:cubicBezTo>
                      <a:pt x="75342" y="82494"/>
                      <a:pt x="84007" y="86870"/>
                      <a:pt x="93335" y="87592"/>
                    </a:cubicBezTo>
                    <a:cubicBezTo>
                      <a:pt x="103906" y="88172"/>
                      <a:pt x="117293" y="84142"/>
                      <a:pt x="128539" y="6572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0" name="Freihandform: Form 123">
                <a:extLst>
                  <a:ext uri="{FF2B5EF4-FFF2-40B4-BE49-F238E27FC236}">
                    <a16:creationId xmlns:a16="http://schemas.microsoft.com/office/drawing/2014/main" id="{BAF837DB-5A4D-D8DE-B12F-A0F65B95A86A}"/>
                  </a:ext>
                </a:extLst>
              </p:cNvPr>
              <p:cNvSpPr/>
              <p:nvPr/>
            </p:nvSpPr>
            <p:spPr bwMode="gray">
              <a:xfrm>
                <a:off x="2042175" y="4383298"/>
                <a:ext cx="134444" cy="29227"/>
              </a:xfrm>
              <a:custGeom>
                <a:avLst/>
                <a:gdLst>
                  <a:gd name="connsiteX0" fmla="*/ 125213 w 134927"/>
                  <a:gd name="connsiteY0" fmla="*/ 20745 h 29332"/>
                  <a:gd name="connsiteX1" fmla="*/ 13199 w 134927"/>
                  <a:gd name="connsiteY1" fmla="*/ 14332 h 29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927" h="29332">
                    <a:moveTo>
                      <a:pt x="125213" y="20745"/>
                    </a:moveTo>
                    <a:cubicBezTo>
                      <a:pt x="74885" y="9211"/>
                      <a:pt x="13199" y="14332"/>
                      <a:pt x="13199" y="14332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1" name="Freihandform: Form 124">
                <a:extLst>
                  <a:ext uri="{FF2B5EF4-FFF2-40B4-BE49-F238E27FC236}">
                    <a16:creationId xmlns:a16="http://schemas.microsoft.com/office/drawing/2014/main" id="{B4140052-4CE8-2856-0AAB-81788C6A60A4}"/>
                  </a:ext>
                </a:extLst>
              </p:cNvPr>
              <p:cNvSpPr/>
              <p:nvPr/>
            </p:nvSpPr>
            <p:spPr bwMode="gray">
              <a:xfrm>
                <a:off x="1986001" y="4515737"/>
                <a:ext cx="251352" cy="192898"/>
              </a:xfrm>
              <a:custGeom>
                <a:avLst/>
                <a:gdLst>
                  <a:gd name="connsiteX0" fmla="*/ 13199 w 252255"/>
                  <a:gd name="connsiteY0" fmla="*/ 13199 h 193591"/>
                  <a:gd name="connsiteX1" fmla="*/ 174948 w 252255"/>
                  <a:gd name="connsiteY1" fmla="*/ 149406 h 193591"/>
                  <a:gd name="connsiteX2" fmla="*/ 201206 w 252255"/>
                  <a:gd name="connsiteY2" fmla="*/ 174614 h 193591"/>
                  <a:gd name="connsiteX3" fmla="*/ 233642 w 252255"/>
                  <a:gd name="connsiteY3" fmla="*/ 174203 h 193591"/>
                  <a:gd name="connsiteX4" fmla="*/ 239772 w 252255"/>
                  <a:gd name="connsiteY4" fmla="*/ 162388 h 193591"/>
                  <a:gd name="connsiteX5" fmla="*/ 239878 w 252255"/>
                  <a:gd name="connsiteY5" fmla="*/ 161655 h 193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2255" h="193591">
                    <a:moveTo>
                      <a:pt x="13199" y="13199"/>
                    </a:moveTo>
                    <a:cubicBezTo>
                      <a:pt x="70503" y="54429"/>
                      <a:pt x="124573" y="99964"/>
                      <a:pt x="174948" y="149406"/>
                    </a:cubicBezTo>
                    <a:lnTo>
                      <a:pt x="201206" y="174614"/>
                    </a:lnTo>
                    <a:cubicBezTo>
                      <a:pt x="210276" y="183461"/>
                      <a:pt x="224801" y="183273"/>
                      <a:pt x="233642" y="174203"/>
                    </a:cubicBezTo>
                    <a:cubicBezTo>
                      <a:pt x="236810" y="170959"/>
                      <a:pt x="238945" y="166847"/>
                      <a:pt x="239772" y="162388"/>
                    </a:cubicBezTo>
                    <a:cubicBezTo>
                      <a:pt x="239807" y="162148"/>
                      <a:pt x="239848" y="161902"/>
                      <a:pt x="239878" y="161655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2" name="Freihandform: Form 125">
                <a:extLst>
                  <a:ext uri="{FF2B5EF4-FFF2-40B4-BE49-F238E27FC236}">
                    <a16:creationId xmlns:a16="http://schemas.microsoft.com/office/drawing/2014/main" id="{D0670E56-801C-3491-3204-87E87B679F5F}"/>
                  </a:ext>
                </a:extLst>
              </p:cNvPr>
              <p:cNvSpPr/>
              <p:nvPr/>
            </p:nvSpPr>
            <p:spPr bwMode="gray">
              <a:xfrm>
                <a:off x="2018928" y="4548969"/>
                <a:ext cx="64300" cy="58454"/>
              </a:xfrm>
              <a:custGeom>
                <a:avLst/>
                <a:gdLst>
                  <a:gd name="connsiteX0" fmla="*/ 24628 w 64530"/>
                  <a:gd name="connsiteY0" fmla="*/ 13199 h 58664"/>
                  <a:gd name="connsiteX1" fmla="*/ 17723 w 64530"/>
                  <a:gd name="connsiteY1" fmla="*/ 20914 h 58664"/>
                  <a:gd name="connsiteX2" fmla="*/ 19119 w 64530"/>
                  <a:gd name="connsiteY2" fmla="*/ 45993 h 58664"/>
                  <a:gd name="connsiteX3" fmla="*/ 19712 w 64530"/>
                  <a:gd name="connsiteY3" fmla="*/ 46497 h 58664"/>
                  <a:gd name="connsiteX4" fmla="*/ 19712 w 64530"/>
                  <a:gd name="connsiteY4" fmla="*/ 46503 h 58664"/>
                  <a:gd name="connsiteX5" fmla="*/ 46985 w 64530"/>
                  <a:gd name="connsiteY5" fmla="*/ 44321 h 58664"/>
                  <a:gd name="connsiteX6" fmla="*/ 53725 w 64530"/>
                  <a:gd name="connsiteY6" fmla="*/ 36706 h 58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530" h="58664">
                    <a:moveTo>
                      <a:pt x="24628" y="13199"/>
                    </a:moveTo>
                    <a:lnTo>
                      <a:pt x="17723" y="20914"/>
                    </a:lnTo>
                    <a:cubicBezTo>
                      <a:pt x="11182" y="28229"/>
                      <a:pt x="11810" y="39458"/>
                      <a:pt x="19119" y="45993"/>
                    </a:cubicBezTo>
                    <a:cubicBezTo>
                      <a:pt x="19313" y="46169"/>
                      <a:pt x="19512" y="46339"/>
                      <a:pt x="19712" y="46497"/>
                    </a:cubicBezTo>
                    <a:lnTo>
                      <a:pt x="19712" y="46503"/>
                    </a:lnTo>
                    <a:cubicBezTo>
                      <a:pt x="27913" y="53220"/>
                      <a:pt x="39957" y="52258"/>
                      <a:pt x="46985" y="44321"/>
                    </a:cubicBezTo>
                    <a:lnTo>
                      <a:pt x="53725" y="3670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3" name="Freihandform: Form 126">
                <a:extLst>
                  <a:ext uri="{FF2B5EF4-FFF2-40B4-BE49-F238E27FC236}">
                    <a16:creationId xmlns:a16="http://schemas.microsoft.com/office/drawing/2014/main" id="{17F243A7-37C6-8F29-DEAF-F74F220ED045}"/>
                  </a:ext>
                </a:extLst>
              </p:cNvPr>
              <p:cNvSpPr/>
              <p:nvPr/>
            </p:nvSpPr>
            <p:spPr bwMode="gray">
              <a:xfrm>
                <a:off x="2041581" y="4573806"/>
                <a:ext cx="75990" cy="75990"/>
              </a:xfrm>
              <a:custGeom>
                <a:avLst/>
                <a:gdLst>
                  <a:gd name="connsiteX0" fmla="*/ 66670 w 76263"/>
                  <a:gd name="connsiteY0" fmla="*/ 42320 h 76263"/>
                  <a:gd name="connsiteX1" fmla="*/ 51534 w 76263"/>
                  <a:gd name="connsiteY1" fmla="*/ 58829 h 76263"/>
                  <a:gd name="connsiteX2" fmla="*/ 20830 w 76263"/>
                  <a:gd name="connsiteY2" fmla="*/ 60600 h 76263"/>
                  <a:gd name="connsiteX3" fmla="*/ 20830 w 76263"/>
                  <a:gd name="connsiteY3" fmla="*/ 60600 h 76263"/>
                  <a:gd name="connsiteX4" fmla="*/ 18577 w 76263"/>
                  <a:gd name="connsiteY4" fmla="*/ 29479 h 76263"/>
                  <a:gd name="connsiteX5" fmla="*/ 18600 w 76263"/>
                  <a:gd name="connsiteY5" fmla="*/ 29450 h 76263"/>
                  <a:gd name="connsiteX6" fmla="*/ 32697 w 76263"/>
                  <a:gd name="connsiteY6" fmla="*/ 13199 h 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263" h="76263">
                    <a:moveTo>
                      <a:pt x="66670" y="42320"/>
                    </a:moveTo>
                    <a:lnTo>
                      <a:pt x="51534" y="58829"/>
                    </a:lnTo>
                    <a:cubicBezTo>
                      <a:pt x="43462" y="67628"/>
                      <a:pt x="29858" y="68414"/>
                      <a:pt x="20830" y="60600"/>
                    </a:cubicBezTo>
                    <a:lnTo>
                      <a:pt x="20830" y="60600"/>
                    </a:lnTo>
                    <a:cubicBezTo>
                      <a:pt x="11613" y="52628"/>
                      <a:pt x="10604" y="38695"/>
                      <a:pt x="18577" y="29479"/>
                    </a:cubicBezTo>
                    <a:cubicBezTo>
                      <a:pt x="18583" y="29467"/>
                      <a:pt x="18588" y="29461"/>
                      <a:pt x="18600" y="29450"/>
                    </a:cubicBezTo>
                    <a:lnTo>
                      <a:pt x="32697" y="1319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4" name="Freihandform: Form 127">
                <a:extLst>
                  <a:ext uri="{FF2B5EF4-FFF2-40B4-BE49-F238E27FC236}">
                    <a16:creationId xmlns:a16="http://schemas.microsoft.com/office/drawing/2014/main" id="{D9FDD7EC-1E1A-9134-6AE6-DF29F23473CC}"/>
                  </a:ext>
                </a:extLst>
              </p:cNvPr>
              <p:cNvSpPr/>
              <p:nvPr/>
            </p:nvSpPr>
            <p:spPr bwMode="gray">
              <a:xfrm>
                <a:off x="2079365" y="4602822"/>
                <a:ext cx="70145" cy="70145"/>
              </a:xfrm>
              <a:custGeom>
                <a:avLst/>
                <a:gdLst>
                  <a:gd name="connsiteX0" fmla="*/ 28749 w 70396"/>
                  <a:gd name="connsiteY0" fmla="*/ 13199 h 70396"/>
                  <a:gd name="connsiteX1" fmla="*/ 18958 w 70396"/>
                  <a:gd name="connsiteY1" fmla="*/ 23882 h 70396"/>
                  <a:gd name="connsiteX2" fmla="*/ 20173 w 70396"/>
                  <a:gd name="connsiteY2" fmla="*/ 54716 h 70396"/>
                  <a:gd name="connsiteX3" fmla="*/ 20173 w 70396"/>
                  <a:gd name="connsiteY3" fmla="*/ 54716 h 70396"/>
                  <a:gd name="connsiteX4" fmla="*/ 51042 w 70396"/>
                  <a:gd name="connsiteY4" fmla="*/ 53707 h 70396"/>
                  <a:gd name="connsiteX5" fmla="*/ 61279 w 70396"/>
                  <a:gd name="connsiteY5" fmla="*/ 42843 h 70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396" h="70396">
                    <a:moveTo>
                      <a:pt x="28749" y="13199"/>
                    </a:moveTo>
                    <a:lnTo>
                      <a:pt x="18958" y="23882"/>
                    </a:lnTo>
                    <a:cubicBezTo>
                      <a:pt x="10828" y="32752"/>
                      <a:pt x="11373" y="46515"/>
                      <a:pt x="20173" y="54716"/>
                    </a:cubicBezTo>
                    <a:lnTo>
                      <a:pt x="20173" y="54716"/>
                    </a:lnTo>
                    <a:cubicBezTo>
                      <a:pt x="28990" y="62923"/>
                      <a:pt x="42782" y="62471"/>
                      <a:pt x="51042" y="53707"/>
                    </a:cubicBezTo>
                    <a:lnTo>
                      <a:pt x="61279" y="42843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5" name="Freihandform: Form 128">
                <a:extLst>
                  <a:ext uri="{FF2B5EF4-FFF2-40B4-BE49-F238E27FC236}">
                    <a16:creationId xmlns:a16="http://schemas.microsoft.com/office/drawing/2014/main" id="{3B805114-7A15-1FF1-90EE-48AFEDC26752}"/>
                  </a:ext>
                </a:extLst>
              </p:cNvPr>
              <p:cNvSpPr/>
              <p:nvPr/>
            </p:nvSpPr>
            <p:spPr bwMode="gray">
              <a:xfrm>
                <a:off x="2116386" y="4633855"/>
                <a:ext cx="64300" cy="64300"/>
              </a:xfrm>
              <a:custGeom>
                <a:avLst/>
                <a:gdLst>
                  <a:gd name="connsiteX0" fmla="*/ 54102 w 64530"/>
                  <a:gd name="connsiteY0" fmla="*/ 40472 h 64530"/>
                  <a:gd name="connsiteX1" fmla="*/ 48717 w 64530"/>
                  <a:gd name="connsiteY1" fmla="*/ 45981 h 64530"/>
                  <a:gd name="connsiteX2" fmla="*/ 19608 w 64530"/>
                  <a:gd name="connsiteY2" fmla="*/ 46486 h 64530"/>
                  <a:gd name="connsiteX3" fmla="*/ 19608 w 64530"/>
                  <a:gd name="connsiteY3" fmla="*/ 46486 h 64530"/>
                  <a:gd name="connsiteX4" fmla="*/ 18839 w 64530"/>
                  <a:gd name="connsiteY4" fmla="*/ 17306 h 64530"/>
                  <a:gd name="connsiteX5" fmla="*/ 22711 w 64530"/>
                  <a:gd name="connsiteY5" fmla="*/ 13199 h 64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4530" h="64530">
                    <a:moveTo>
                      <a:pt x="54102" y="40472"/>
                    </a:moveTo>
                    <a:lnTo>
                      <a:pt x="48717" y="45981"/>
                    </a:lnTo>
                    <a:cubicBezTo>
                      <a:pt x="40791" y="54094"/>
                      <a:pt x="27809" y="54317"/>
                      <a:pt x="19608" y="46486"/>
                    </a:cubicBezTo>
                    <a:lnTo>
                      <a:pt x="19608" y="46486"/>
                    </a:lnTo>
                    <a:cubicBezTo>
                      <a:pt x="11371" y="38624"/>
                      <a:pt x="11031" y="25589"/>
                      <a:pt x="18839" y="17306"/>
                    </a:cubicBezTo>
                    <a:lnTo>
                      <a:pt x="22711" y="1319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3" name="Gruppieren 129">
              <a:extLst>
                <a:ext uri="{FF2B5EF4-FFF2-40B4-BE49-F238E27FC236}">
                  <a16:creationId xmlns:a16="http://schemas.microsoft.com/office/drawing/2014/main" id="{7FF29A8C-A859-E5DE-F5DE-55A6127B7F0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6597732" y="1626303"/>
              <a:ext cx="452080" cy="452133"/>
              <a:chOff x="8113816" y="1811130"/>
              <a:chExt cx="747504" cy="747591"/>
            </a:xfrm>
          </p:grpSpPr>
          <p:sp>
            <p:nvSpPr>
              <p:cNvPr id="91" name="Freihandform: Form 130">
                <a:extLst>
                  <a:ext uri="{FF2B5EF4-FFF2-40B4-BE49-F238E27FC236}">
                    <a16:creationId xmlns:a16="http://schemas.microsoft.com/office/drawing/2014/main" id="{A9AFF495-5D1F-25F3-B97F-AD5BECFE9064}"/>
                  </a:ext>
                </a:extLst>
              </p:cNvPr>
              <p:cNvSpPr/>
              <p:nvPr/>
            </p:nvSpPr>
            <p:spPr bwMode="gray">
              <a:xfrm>
                <a:off x="8476941" y="2028444"/>
                <a:ext cx="140284" cy="280569"/>
              </a:xfrm>
              <a:custGeom>
                <a:avLst/>
                <a:gdLst>
                  <a:gd name="connsiteX0" fmla="*/ 192627 w 203622"/>
                  <a:gd name="connsiteY0" fmla="*/ 392177 h 407244"/>
                  <a:gd name="connsiteX1" fmla="*/ 173893 w 203622"/>
                  <a:gd name="connsiteY1" fmla="*/ 300139 h 407244"/>
                  <a:gd name="connsiteX2" fmla="*/ 142943 w 203622"/>
                  <a:gd name="connsiteY2" fmla="*/ 248012 h 407244"/>
                  <a:gd name="connsiteX3" fmla="*/ 112807 w 203622"/>
                  <a:gd name="connsiteY3" fmla="*/ 231722 h 407244"/>
                  <a:gd name="connsiteX4" fmla="*/ 33802 w 203622"/>
                  <a:gd name="connsiteY4" fmla="*/ 208917 h 407244"/>
                  <a:gd name="connsiteX5" fmla="*/ 28914 w 203622"/>
                  <a:gd name="connsiteY5" fmla="*/ 206473 h 407244"/>
                  <a:gd name="connsiteX6" fmla="*/ 21584 w 203622"/>
                  <a:gd name="connsiteY6" fmla="*/ 194256 h 407244"/>
                  <a:gd name="connsiteX7" fmla="*/ 18326 w 203622"/>
                  <a:gd name="connsiteY7" fmla="*/ 163305 h 407244"/>
                  <a:gd name="connsiteX8" fmla="*/ 64752 w 203622"/>
                  <a:gd name="connsiteY8" fmla="*/ 90816 h 407244"/>
                  <a:gd name="connsiteX9" fmla="*/ 90001 w 203622"/>
                  <a:gd name="connsiteY9" fmla="*/ 54164 h 407244"/>
                  <a:gd name="connsiteX10" fmla="*/ 68010 w 203622"/>
                  <a:gd name="connsiteY10" fmla="*/ 18326 h 407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3622" h="407244">
                    <a:moveTo>
                      <a:pt x="192627" y="392177"/>
                    </a:moveTo>
                    <a:lnTo>
                      <a:pt x="173893" y="300139"/>
                    </a:lnTo>
                    <a:cubicBezTo>
                      <a:pt x="169821" y="279777"/>
                      <a:pt x="158418" y="261044"/>
                      <a:pt x="142943" y="248012"/>
                    </a:cubicBezTo>
                    <a:cubicBezTo>
                      <a:pt x="132355" y="239867"/>
                      <a:pt x="122581" y="234166"/>
                      <a:pt x="112807" y="231722"/>
                    </a:cubicBezTo>
                    <a:lnTo>
                      <a:pt x="33802" y="208917"/>
                    </a:lnTo>
                    <a:cubicBezTo>
                      <a:pt x="32172" y="208102"/>
                      <a:pt x="30543" y="207288"/>
                      <a:pt x="28914" y="206473"/>
                    </a:cubicBezTo>
                    <a:cubicBezTo>
                      <a:pt x="24842" y="204030"/>
                      <a:pt x="22398" y="199143"/>
                      <a:pt x="21584" y="194256"/>
                    </a:cubicBezTo>
                    <a:lnTo>
                      <a:pt x="18326" y="163305"/>
                    </a:lnTo>
                    <a:cubicBezTo>
                      <a:pt x="40317" y="146201"/>
                      <a:pt x="56607" y="120952"/>
                      <a:pt x="64752" y="90816"/>
                    </a:cubicBezTo>
                    <a:cubicBezTo>
                      <a:pt x="78598" y="89187"/>
                      <a:pt x="90001" y="73711"/>
                      <a:pt x="90001" y="54164"/>
                    </a:cubicBezTo>
                    <a:cubicBezTo>
                      <a:pt x="90001" y="36245"/>
                      <a:pt x="81042" y="20770"/>
                      <a:pt x="6801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2" name="Freihandform: Form 131">
                <a:extLst>
                  <a:ext uri="{FF2B5EF4-FFF2-40B4-BE49-F238E27FC236}">
                    <a16:creationId xmlns:a16="http://schemas.microsoft.com/office/drawing/2014/main" id="{F321C3FF-7514-2D18-D21B-C21668EFF3E7}"/>
                  </a:ext>
                </a:extLst>
              </p:cNvPr>
              <p:cNvSpPr/>
              <p:nvPr/>
            </p:nvSpPr>
            <p:spPr bwMode="gray">
              <a:xfrm>
                <a:off x="8271564" y="2027883"/>
                <a:ext cx="140284" cy="280569"/>
              </a:xfrm>
              <a:custGeom>
                <a:avLst/>
                <a:gdLst>
                  <a:gd name="connsiteX0" fmla="*/ 142943 w 203622"/>
                  <a:gd name="connsiteY0" fmla="*/ 18326 h 407244"/>
                  <a:gd name="connsiteX1" fmla="*/ 121766 w 203622"/>
                  <a:gd name="connsiteY1" fmla="*/ 54163 h 407244"/>
                  <a:gd name="connsiteX2" fmla="*/ 146200 w 203622"/>
                  <a:gd name="connsiteY2" fmla="*/ 90816 h 407244"/>
                  <a:gd name="connsiteX3" fmla="*/ 192626 w 203622"/>
                  <a:gd name="connsiteY3" fmla="*/ 163305 h 407244"/>
                  <a:gd name="connsiteX4" fmla="*/ 189369 w 203622"/>
                  <a:gd name="connsiteY4" fmla="*/ 194256 h 407244"/>
                  <a:gd name="connsiteX5" fmla="*/ 182038 w 203622"/>
                  <a:gd name="connsiteY5" fmla="*/ 206473 h 407244"/>
                  <a:gd name="connsiteX6" fmla="*/ 177151 w 203622"/>
                  <a:gd name="connsiteY6" fmla="*/ 208916 h 407244"/>
                  <a:gd name="connsiteX7" fmla="*/ 98960 w 203622"/>
                  <a:gd name="connsiteY7" fmla="*/ 231722 h 407244"/>
                  <a:gd name="connsiteX8" fmla="*/ 68010 w 203622"/>
                  <a:gd name="connsiteY8" fmla="*/ 248012 h 407244"/>
                  <a:gd name="connsiteX9" fmla="*/ 37059 w 203622"/>
                  <a:gd name="connsiteY9" fmla="*/ 300139 h 407244"/>
                  <a:gd name="connsiteX10" fmla="*/ 18326 w 203622"/>
                  <a:gd name="connsiteY10" fmla="*/ 392177 h 407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3622" h="407244">
                    <a:moveTo>
                      <a:pt x="142943" y="18326"/>
                    </a:moveTo>
                    <a:cubicBezTo>
                      <a:pt x="130725" y="21584"/>
                      <a:pt x="121766" y="36245"/>
                      <a:pt x="121766" y="54163"/>
                    </a:cubicBezTo>
                    <a:cubicBezTo>
                      <a:pt x="121766" y="73711"/>
                      <a:pt x="132355" y="89187"/>
                      <a:pt x="146200" y="90816"/>
                    </a:cubicBezTo>
                    <a:cubicBezTo>
                      <a:pt x="154345" y="120952"/>
                      <a:pt x="170635" y="146201"/>
                      <a:pt x="192626" y="163305"/>
                    </a:cubicBezTo>
                    <a:lnTo>
                      <a:pt x="189369" y="194256"/>
                    </a:lnTo>
                    <a:cubicBezTo>
                      <a:pt x="188554" y="199143"/>
                      <a:pt x="186111" y="204029"/>
                      <a:pt x="182038" y="206473"/>
                    </a:cubicBezTo>
                    <a:cubicBezTo>
                      <a:pt x="180409" y="207288"/>
                      <a:pt x="178780" y="208102"/>
                      <a:pt x="177151" y="208916"/>
                    </a:cubicBezTo>
                    <a:lnTo>
                      <a:pt x="98960" y="231722"/>
                    </a:lnTo>
                    <a:cubicBezTo>
                      <a:pt x="89186" y="234166"/>
                      <a:pt x="78598" y="239053"/>
                      <a:pt x="68010" y="248012"/>
                    </a:cubicBezTo>
                    <a:cubicBezTo>
                      <a:pt x="51720" y="261044"/>
                      <a:pt x="41132" y="279777"/>
                      <a:pt x="37059" y="300139"/>
                    </a:cubicBezTo>
                    <a:lnTo>
                      <a:pt x="18326" y="392177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3" name="Freihandform: Form 132">
                <a:extLst>
                  <a:ext uri="{FF2B5EF4-FFF2-40B4-BE49-F238E27FC236}">
                    <a16:creationId xmlns:a16="http://schemas.microsoft.com/office/drawing/2014/main" id="{A380CDC1-3192-207F-ED2F-273D5B190CD7}"/>
                  </a:ext>
                </a:extLst>
              </p:cNvPr>
              <p:cNvSpPr/>
              <p:nvPr/>
            </p:nvSpPr>
            <p:spPr bwMode="gray">
              <a:xfrm>
                <a:off x="8357387" y="1938102"/>
                <a:ext cx="173953" cy="112228"/>
              </a:xfrm>
              <a:custGeom>
                <a:avLst/>
                <a:gdLst>
                  <a:gd name="connsiteX0" fmla="*/ 240726 w 252491"/>
                  <a:gd name="connsiteY0" fmla="*/ 148644 h 162897"/>
                  <a:gd name="connsiteX1" fmla="*/ 129956 w 252491"/>
                  <a:gd name="connsiteY1" fmla="*/ 18326 h 162897"/>
                  <a:gd name="connsiteX2" fmla="*/ 18371 w 252491"/>
                  <a:gd name="connsiteY2" fmla="*/ 149459 h 162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2491" h="162897">
                    <a:moveTo>
                      <a:pt x="240726" y="148644"/>
                    </a:moveTo>
                    <a:cubicBezTo>
                      <a:pt x="240726" y="148644"/>
                      <a:pt x="247242" y="18326"/>
                      <a:pt x="129956" y="18326"/>
                    </a:cubicBezTo>
                    <a:cubicBezTo>
                      <a:pt x="12669" y="18326"/>
                      <a:pt x="18371" y="149459"/>
                      <a:pt x="18371" y="149459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4" name="Freihandform: Form 133">
                <a:extLst>
                  <a:ext uri="{FF2B5EF4-FFF2-40B4-BE49-F238E27FC236}">
                    <a16:creationId xmlns:a16="http://schemas.microsoft.com/office/drawing/2014/main" id="{4A559CB7-AB59-D524-FAB8-9E4145275D9F}"/>
                  </a:ext>
                </a:extLst>
              </p:cNvPr>
              <p:cNvSpPr/>
              <p:nvPr/>
            </p:nvSpPr>
            <p:spPr bwMode="gray">
              <a:xfrm>
                <a:off x="8363029" y="1973403"/>
                <a:ext cx="162730" cy="44891"/>
              </a:xfrm>
              <a:custGeom>
                <a:avLst/>
                <a:gdLst>
                  <a:gd name="connsiteX0" fmla="*/ 18326 w 236201"/>
                  <a:gd name="connsiteY0" fmla="*/ 41205 h 65159"/>
                  <a:gd name="connsiteX1" fmla="*/ 41946 w 236201"/>
                  <a:gd name="connsiteY1" fmla="*/ 20843 h 65159"/>
                  <a:gd name="connsiteX2" fmla="*/ 90815 w 236201"/>
                  <a:gd name="connsiteY2" fmla="*/ 26544 h 65159"/>
                  <a:gd name="connsiteX3" fmla="*/ 157603 w 236201"/>
                  <a:gd name="connsiteY3" fmla="*/ 50979 h 65159"/>
                  <a:gd name="connsiteX4" fmla="*/ 224392 w 236201"/>
                  <a:gd name="connsiteY4" fmla="*/ 40390 h 65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6201" h="65159">
                    <a:moveTo>
                      <a:pt x="18326" y="41205"/>
                    </a:moveTo>
                    <a:cubicBezTo>
                      <a:pt x="23213" y="31431"/>
                      <a:pt x="32172" y="24915"/>
                      <a:pt x="41946" y="20843"/>
                    </a:cubicBezTo>
                    <a:cubicBezTo>
                      <a:pt x="58236" y="15141"/>
                      <a:pt x="75340" y="20028"/>
                      <a:pt x="90815" y="26544"/>
                    </a:cubicBezTo>
                    <a:cubicBezTo>
                      <a:pt x="112807" y="36318"/>
                      <a:pt x="132355" y="48535"/>
                      <a:pt x="157603" y="50979"/>
                    </a:cubicBezTo>
                    <a:cubicBezTo>
                      <a:pt x="181224" y="53422"/>
                      <a:pt x="203215" y="50979"/>
                      <a:pt x="224392" y="40390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5" name="Freihandform: Form 134">
                <a:extLst>
                  <a:ext uri="{FF2B5EF4-FFF2-40B4-BE49-F238E27FC236}">
                    <a16:creationId xmlns:a16="http://schemas.microsoft.com/office/drawing/2014/main" id="{92E3A969-0D06-03BD-7600-A20487ADCF3E}"/>
                  </a:ext>
                </a:extLst>
              </p:cNvPr>
              <p:cNvSpPr/>
              <p:nvPr/>
            </p:nvSpPr>
            <p:spPr bwMode="gray">
              <a:xfrm>
                <a:off x="8384352" y="2158068"/>
                <a:ext cx="72948" cy="72948"/>
              </a:xfrm>
              <a:custGeom>
                <a:avLst/>
                <a:gdLst>
                  <a:gd name="connsiteX0" fmla="*/ 18326 w 105883"/>
                  <a:gd name="connsiteY0" fmla="*/ 18326 h 105883"/>
                  <a:gd name="connsiteX1" fmla="*/ 90816 w 105883"/>
                  <a:gd name="connsiteY1" fmla="*/ 93259 h 10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883" h="105883">
                    <a:moveTo>
                      <a:pt x="18326" y="18326"/>
                    </a:moveTo>
                    <a:lnTo>
                      <a:pt x="90816" y="9325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6" name="Freihandform: Form 135">
                <a:extLst>
                  <a:ext uri="{FF2B5EF4-FFF2-40B4-BE49-F238E27FC236}">
                    <a16:creationId xmlns:a16="http://schemas.microsoft.com/office/drawing/2014/main" id="{839DB50C-BA45-AE58-0924-187A8BAFBC7C}"/>
                  </a:ext>
                </a:extLst>
              </p:cNvPr>
              <p:cNvSpPr/>
              <p:nvPr/>
            </p:nvSpPr>
            <p:spPr bwMode="gray">
              <a:xfrm>
                <a:off x="8434294" y="2158068"/>
                <a:ext cx="72948" cy="72948"/>
              </a:xfrm>
              <a:custGeom>
                <a:avLst/>
                <a:gdLst>
                  <a:gd name="connsiteX0" fmla="*/ 90815 w 105883"/>
                  <a:gd name="connsiteY0" fmla="*/ 18326 h 105883"/>
                  <a:gd name="connsiteX1" fmla="*/ 18326 w 105883"/>
                  <a:gd name="connsiteY1" fmla="*/ 93259 h 10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883" h="105883">
                    <a:moveTo>
                      <a:pt x="90815" y="18326"/>
                    </a:moveTo>
                    <a:lnTo>
                      <a:pt x="18326" y="9325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7" name="Freihandform: Form 136">
                <a:extLst>
                  <a:ext uri="{FF2B5EF4-FFF2-40B4-BE49-F238E27FC236}">
                    <a16:creationId xmlns:a16="http://schemas.microsoft.com/office/drawing/2014/main" id="{DB0FD39E-5378-F937-9FAC-1FAF340D4DDD}"/>
                  </a:ext>
                </a:extLst>
              </p:cNvPr>
              <p:cNvSpPr/>
              <p:nvPr/>
            </p:nvSpPr>
            <p:spPr bwMode="gray">
              <a:xfrm>
                <a:off x="8434294" y="2209693"/>
                <a:ext cx="22446" cy="56114"/>
              </a:xfrm>
              <a:custGeom>
                <a:avLst/>
                <a:gdLst>
                  <a:gd name="connsiteX0" fmla="*/ 18326 w 32579"/>
                  <a:gd name="connsiteY0" fmla="*/ 18326 h 81448"/>
                  <a:gd name="connsiteX1" fmla="*/ 18326 w 32579"/>
                  <a:gd name="connsiteY1" fmla="*/ 68010 h 81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579" h="81448">
                    <a:moveTo>
                      <a:pt x="18326" y="18326"/>
                    </a:moveTo>
                    <a:lnTo>
                      <a:pt x="18326" y="68010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8" name="Freihandform: Form 137">
                <a:extLst>
                  <a:ext uri="{FF2B5EF4-FFF2-40B4-BE49-F238E27FC236}">
                    <a16:creationId xmlns:a16="http://schemas.microsoft.com/office/drawing/2014/main" id="{D84C309A-CC8B-007E-3E4E-44C397923847}"/>
                  </a:ext>
                </a:extLst>
              </p:cNvPr>
              <p:cNvSpPr/>
              <p:nvPr/>
            </p:nvSpPr>
            <p:spPr bwMode="gray">
              <a:xfrm>
                <a:off x="8113816" y="1811130"/>
                <a:ext cx="662142" cy="662142"/>
              </a:xfrm>
              <a:custGeom>
                <a:avLst/>
                <a:gdLst>
                  <a:gd name="connsiteX0" fmla="*/ 923635 w 961097"/>
                  <a:gd name="connsiteY0" fmla="*/ 459290 h 961097"/>
                  <a:gd name="connsiteX1" fmla="*/ 508025 w 961097"/>
                  <a:gd name="connsiteY1" fmla="*/ 923635 h 961097"/>
                  <a:gd name="connsiteX2" fmla="*/ 43680 w 961097"/>
                  <a:gd name="connsiteY2" fmla="*/ 508025 h 961097"/>
                  <a:gd name="connsiteX3" fmla="*/ 459290 w 961097"/>
                  <a:gd name="connsiteY3" fmla="*/ 43679 h 961097"/>
                  <a:gd name="connsiteX4" fmla="*/ 923635 w 961097"/>
                  <a:gd name="connsiteY4" fmla="*/ 459290 h 96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1097" h="961097">
                    <a:moveTo>
                      <a:pt x="923635" y="459290"/>
                    </a:moveTo>
                    <a:cubicBezTo>
                      <a:pt x="937093" y="702283"/>
                      <a:pt x="751018" y="910177"/>
                      <a:pt x="508025" y="923635"/>
                    </a:cubicBezTo>
                    <a:cubicBezTo>
                      <a:pt x="265032" y="937093"/>
                      <a:pt x="57138" y="751018"/>
                      <a:pt x="43680" y="508025"/>
                    </a:cubicBezTo>
                    <a:cubicBezTo>
                      <a:pt x="30222" y="265032"/>
                      <a:pt x="216297" y="57137"/>
                      <a:pt x="459290" y="43679"/>
                    </a:cubicBezTo>
                    <a:cubicBezTo>
                      <a:pt x="702283" y="30222"/>
                      <a:pt x="910177" y="216297"/>
                      <a:pt x="923635" y="459290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9" name="Freihandform: Form 138">
                <a:extLst>
                  <a:ext uri="{FF2B5EF4-FFF2-40B4-BE49-F238E27FC236}">
                    <a16:creationId xmlns:a16="http://schemas.microsoft.com/office/drawing/2014/main" id="{D70630AF-3B4C-122D-EDB9-6124AE878E5C}"/>
                  </a:ext>
                </a:extLst>
              </p:cNvPr>
              <p:cNvSpPr/>
              <p:nvPr/>
            </p:nvSpPr>
            <p:spPr bwMode="gray">
              <a:xfrm>
                <a:off x="8659310" y="2356711"/>
                <a:ext cx="202010" cy="202010"/>
              </a:xfrm>
              <a:custGeom>
                <a:avLst/>
                <a:gdLst>
                  <a:gd name="connsiteX0" fmla="*/ 100589 w 293216"/>
                  <a:gd name="connsiteY0" fmla="*/ 18326 h 293216"/>
                  <a:gd name="connsiteX1" fmla="*/ 261044 w 293216"/>
                  <a:gd name="connsiteY1" fmla="*/ 178780 h 293216"/>
                  <a:gd name="connsiteX2" fmla="*/ 261044 w 293216"/>
                  <a:gd name="connsiteY2" fmla="*/ 261044 h 293216"/>
                  <a:gd name="connsiteX3" fmla="*/ 261044 w 293216"/>
                  <a:gd name="connsiteY3" fmla="*/ 261044 h 293216"/>
                  <a:gd name="connsiteX4" fmla="*/ 178780 w 293216"/>
                  <a:gd name="connsiteY4" fmla="*/ 261044 h 293216"/>
                  <a:gd name="connsiteX5" fmla="*/ 18326 w 293216"/>
                  <a:gd name="connsiteY5" fmla="*/ 100589 h 293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3216" h="293216">
                    <a:moveTo>
                      <a:pt x="100589" y="18326"/>
                    </a:moveTo>
                    <a:lnTo>
                      <a:pt x="261044" y="178780"/>
                    </a:lnTo>
                    <a:cubicBezTo>
                      <a:pt x="283849" y="201586"/>
                      <a:pt x="283849" y="238238"/>
                      <a:pt x="261044" y="261044"/>
                    </a:cubicBezTo>
                    <a:lnTo>
                      <a:pt x="261044" y="261044"/>
                    </a:lnTo>
                    <a:cubicBezTo>
                      <a:pt x="238238" y="283849"/>
                      <a:pt x="201586" y="283849"/>
                      <a:pt x="178780" y="261044"/>
                    </a:cubicBezTo>
                    <a:lnTo>
                      <a:pt x="18326" y="100589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0" name="Freihandform: Form 139">
                <a:extLst>
                  <a:ext uri="{FF2B5EF4-FFF2-40B4-BE49-F238E27FC236}">
                    <a16:creationId xmlns:a16="http://schemas.microsoft.com/office/drawing/2014/main" id="{5B461BA0-1F18-7869-73B8-6A359D0985C3}"/>
                  </a:ext>
                </a:extLst>
              </p:cNvPr>
              <p:cNvSpPr/>
              <p:nvPr/>
            </p:nvSpPr>
            <p:spPr bwMode="gray">
              <a:xfrm>
                <a:off x="8559988" y="2257391"/>
                <a:ext cx="230068" cy="230066"/>
              </a:xfrm>
              <a:custGeom>
                <a:avLst/>
                <a:gdLst>
                  <a:gd name="connsiteX0" fmla="*/ 18326 w 333940"/>
                  <a:gd name="connsiteY0" fmla="*/ 322130 h 333940"/>
                  <a:gd name="connsiteX1" fmla="*/ 322130 w 333940"/>
                  <a:gd name="connsiteY1" fmla="*/ 18326 h 333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3940" h="333940">
                    <a:moveTo>
                      <a:pt x="18326" y="322130"/>
                    </a:moveTo>
                    <a:cubicBezTo>
                      <a:pt x="159233" y="271632"/>
                      <a:pt x="270818" y="159233"/>
                      <a:pt x="32213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4" name="Gruppieren 140">
              <a:extLst>
                <a:ext uri="{FF2B5EF4-FFF2-40B4-BE49-F238E27FC236}">
                  <a16:creationId xmlns:a16="http://schemas.microsoft.com/office/drawing/2014/main" id="{84142B47-6C1B-DC56-757B-D15385B14905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921751" y="3197527"/>
              <a:ext cx="355624" cy="360952"/>
              <a:chOff x="7986064" y="5303416"/>
              <a:chExt cx="734069" cy="745069"/>
            </a:xfrm>
          </p:grpSpPr>
          <p:sp>
            <p:nvSpPr>
              <p:cNvPr id="80" name="Freihandform: Form 141">
                <a:extLst>
                  <a:ext uri="{FF2B5EF4-FFF2-40B4-BE49-F238E27FC236}">
                    <a16:creationId xmlns:a16="http://schemas.microsoft.com/office/drawing/2014/main" id="{3DB3AB1B-B5A2-A5BB-9F29-D7200199895D}"/>
                  </a:ext>
                </a:extLst>
              </p:cNvPr>
              <p:cNvSpPr/>
              <p:nvPr/>
            </p:nvSpPr>
            <p:spPr bwMode="gray">
              <a:xfrm>
                <a:off x="8383353" y="5963527"/>
                <a:ext cx="48897" cy="24449"/>
              </a:xfrm>
              <a:custGeom>
                <a:avLst/>
                <a:gdLst>
                  <a:gd name="connsiteX0" fmla="*/ 50905 w 65159"/>
                  <a:gd name="connsiteY0" fmla="*/ 18326 h 32579"/>
                  <a:gd name="connsiteX1" fmla="*/ 18326 w 65159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159" h="32579">
                    <a:moveTo>
                      <a:pt x="50905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1" name="Freihandform: Form 142">
                <a:extLst>
                  <a:ext uri="{FF2B5EF4-FFF2-40B4-BE49-F238E27FC236}">
                    <a16:creationId xmlns:a16="http://schemas.microsoft.com/office/drawing/2014/main" id="{1B19B53B-87C6-B59F-A499-EC65DB64DEE0}"/>
                  </a:ext>
                </a:extLst>
              </p:cNvPr>
              <p:cNvSpPr/>
              <p:nvPr/>
            </p:nvSpPr>
            <p:spPr bwMode="gray">
              <a:xfrm>
                <a:off x="8387632" y="5898739"/>
                <a:ext cx="61121" cy="24449"/>
              </a:xfrm>
              <a:custGeom>
                <a:avLst/>
                <a:gdLst>
                  <a:gd name="connsiteX0" fmla="*/ 67195 w 81448"/>
                  <a:gd name="connsiteY0" fmla="*/ 18326 h 32579"/>
                  <a:gd name="connsiteX1" fmla="*/ 18326 w 81448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32579">
                    <a:moveTo>
                      <a:pt x="67195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2" name="Freihandform: Form 143">
                <a:extLst>
                  <a:ext uri="{FF2B5EF4-FFF2-40B4-BE49-F238E27FC236}">
                    <a16:creationId xmlns:a16="http://schemas.microsoft.com/office/drawing/2014/main" id="{4928CFBF-B60C-B31A-45EC-7DF2540DBE2C}"/>
                  </a:ext>
                </a:extLst>
              </p:cNvPr>
              <p:cNvSpPr/>
              <p:nvPr/>
            </p:nvSpPr>
            <p:spPr bwMode="gray">
              <a:xfrm>
                <a:off x="8392522" y="5833950"/>
                <a:ext cx="67234" cy="24449"/>
              </a:xfrm>
              <a:custGeom>
                <a:avLst/>
                <a:gdLst>
                  <a:gd name="connsiteX0" fmla="*/ 76969 w 89593"/>
                  <a:gd name="connsiteY0" fmla="*/ 18326 h 32579"/>
                  <a:gd name="connsiteX1" fmla="*/ 18326 w 89593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32579">
                    <a:moveTo>
                      <a:pt x="76969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3" name="Freihandform: Form 144">
                <a:extLst>
                  <a:ext uri="{FF2B5EF4-FFF2-40B4-BE49-F238E27FC236}">
                    <a16:creationId xmlns:a16="http://schemas.microsoft.com/office/drawing/2014/main" id="{1E06BC50-0327-5D61-15EA-59398085EC79}"/>
                  </a:ext>
                </a:extLst>
              </p:cNvPr>
              <p:cNvSpPr/>
              <p:nvPr/>
            </p:nvSpPr>
            <p:spPr bwMode="gray">
              <a:xfrm>
                <a:off x="7986064" y="5755102"/>
                <a:ext cx="134467" cy="293383"/>
              </a:xfrm>
              <a:custGeom>
                <a:avLst/>
                <a:gdLst>
                  <a:gd name="connsiteX0" fmla="*/ 18326 w 179187"/>
                  <a:gd name="connsiteY0" fmla="*/ 375072 h 390954"/>
                  <a:gd name="connsiteX1" fmla="*/ 150273 w 179187"/>
                  <a:gd name="connsiteY1" fmla="*/ 375072 h 390954"/>
                  <a:gd name="connsiteX2" fmla="*/ 168192 w 179187"/>
                  <a:gd name="connsiteY2" fmla="*/ 357154 h 390954"/>
                  <a:gd name="connsiteX3" fmla="*/ 168192 w 179187"/>
                  <a:gd name="connsiteY3" fmla="*/ 36245 h 390954"/>
                  <a:gd name="connsiteX4" fmla="*/ 150273 w 179187"/>
                  <a:gd name="connsiteY4" fmla="*/ 18326 h 390954"/>
                  <a:gd name="connsiteX5" fmla="*/ 18326 w 179187"/>
                  <a:gd name="connsiteY5" fmla="*/ 18326 h 390954"/>
                  <a:gd name="connsiteX6" fmla="*/ 18326 w 179187"/>
                  <a:gd name="connsiteY6" fmla="*/ 375072 h 39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9187" h="390954">
                    <a:moveTo>
                      <a:pt x="18326" y="375072"/>
                    </a:moveTo>
                    <a:lnTo>
                      <a:pt x="150273" y="375072"/>
                    </a:lnTo>
                    <a:cubicBezTo>
                      <a:pt x="160047" y="375072"/>
                      <a:pt x="168192" y="366928"/>
                      <a:pt x="168192" y="357154"/>
                    </a:cubicBezTo>
                    <a:lnTo>
                      <a:pt x="168192" y="36245"/>
                    </a:lnTo>
                    <a:cubicBezTo>
                      <a:pt x="168192" y="26471"/>
                      <a:pt x="160047" y="18326"/>
                      <a:pt x="150273" y="18326"/>
                    </a:cubicBezTo>
                    <a:lnTo>
                      <a:pt x="18326" y="18326"/>
                    </a:lnTo>
                    <a:lnTo>
                      <a:pt x="18326" y="3750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4" name="Freihandform: Form 145">
                <a:extLst>
                  <a:ext uri="{FF2B5EF4-FFF2-40B4-BE49-F238E27FC236}">
                    <a16:creationId xmlns:a16="http://schemas.microsoft.com/office/drawing/2014/main" id="{CD338184-DF7F-8991-A6D0-66469A309032}"/>
                  </a:ext>
                </a:extLst>
              </p:cNvPr>
              <p:cNvSpPr/>
              <p:nvPr/>
            </p:nvSpPr>
            <p:spPr bwMode="gray">
              <a:xfrm>
                <a:off x="8099139" y="5768549"/>
                <a:ext cx="409514" cy="275046"/>
              </a:xfrm>
              <a:custGeom>
                <a:avLst/>
                <a:gdLst>
                  <a:gd name="connsiteX0" fmla="*/ 299325 w 545707"/>
                  <a:gd name="connsiteY0" fmla="*/ 18326 h 366520"/>
                  <a:gd name="connsiteX1" fmla="*/ 489915 w 545707"/>
                  <a:gd name="connsiteY1" fmla="*/ 18326 h 366520"/>
                  <a:gd name="connsiteX2" fmla="*/ 533083 w 545707"/>
                  <a:gd name="connsiteY2" fmla="*/ 63123 h 366520"/>
                  <a:gd name="connsiteX3" fmla="*/ 488286 w 545707"/>
                  <a:gd name="connsiteY3" fmla="*/ 104662 h 366520"/>
                  <a:gd name="connsiteX4" fmla="*/ 470368 w 545707"/>
                  <a:gd name="connsiteY4" fmla="*/ 104662 h 366520"/>
                  <a:gd name="connsiteX5" fmla="*/ 513536 w 545707"/>
                  <a:gd name="connsiteY5" fmla="*/ 149459 h 366520"/>
                  <a:gd name="connsiteX6" fmla="*/ 468739 w 545707"/>
                  <a:gd name="connsiteY6" fmla="*/ 190998 h 366520"/>
                  <a:gd name="connsiteX7" fmla="*/ 450820 w 545707"/>
                  <a:gd name="connsiteY7" fmla="*/ 190998 h 366520"/>
                  <a:gd name="connsiteX8" fmla="*/ 493988 w 545707"/>
                  <a:gd name="connsiteY8" fmla="*/ 235795 h 366520"/>
                  <a:gd name="connsiteX9" fmla="*/ 449191 w 545707"/>
                  <a:gd name="connsiteY9" fmla="*/ 277334 h 366520"/>
                  <a:gd name="connsiteX10" fmla="*/ 431272 w 545707"/>
                  <a:gd name="connsiteY10" fmla="*/ 277334 h 366520"/>
                  <a:gd name="connsiteX11" fmla="*/ 474440 w 545707"/>
                  <a:gd name="connsiteY11" fmla="*/ 316429 h 366520"/>
                  <a:gd name="connsiteX12" fmla="*/ 429643 w 545707"/>
                  <a:gd name="connsiteY12" fmla="*/ 355525 h 366520"/>
                  <a:gd name="connsiteX13" fmla="*/ 158418 w 545707"/>
                  <a:gd name="connsiteY13" fmla="*/ 312357 h 366520"/>
                  <a:gd name="connsiteX14" fmla="*/ 68010 w 545707"/>
                  <a:gd name="connsiteY14" fmla="*/ 303397 h 366520"/>
                  <a:gd name="connsiteX15" fmla="*/ 18326 w 545707"/>
                  <a:gd name="connsiteY15" fmla="*/ 315615 h 366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45707" h="366520">
                    <a:moveTo>
                      <a:pt x="299325" y="18326"/>
                    </a:moveTo>
                    <a:lnTo>
                      <a:pt x="489915" y="18326"/>
                    </a:lnTo>
                    <a:cubicBezTo>
                      <a:pt x="514350" y="18326"/>
                      <a:pt x="533898" y="38688"/>
                      <a:pt x="533083" y="63123"/>
                    </a:cubicBezTo>
                    <a:cubicBezTo>
                      <a:pt x="532269" y="85929"/>
                      <a:pt x="511092" y="104662"/>
                      <a:pt x="488286" y="104662"/>
                    </a:cubicBezTo>
                    <a:lnTo>
                      <a:pt x="470368" y="104662"/>
                    </a:lnTo>
                    <a:cubicBezTo>
                      <a:pt x="494802" y="104662"/>
                      <a:pt x="514350" y="125024"/>
                      <a:pt x="513536" y="149459"/>
                    </a:cubicBezTo>
                    <a:cubicBezTo>
                      <a:pt x="512721" y="172264"/>
                      <a:pt x="491545" y="190998"/>
                      <a:pt x="468739" y="190998"/>
                    </a:cubicBezTo>
                    <a:lnTo>
                      <a:pt x="450820" y="190998"/>
                    </a:lnTo>
                    <a:cubicBezTo>
                      <a:pt x="475255" y="190998"/>
                      <a:pt x="494802" y="211360"/>
                      <a:pt x="493988" y="235795"/>
                    </a:cubicBezTo>
                    <a:cubicBezTo>
                      <a:pt x="493174" y="258600"/>
                      <a:pt x="471997" y="277334"/>
                      <a:pt x="449191" y="277334"/>
                    </a:cubicBezTo>
                    <a:lnTo>
                      <a:pt x="431272" y="277334"/>
                    </a:lnTo>
                    <a:cubicBezTo>
                      <a:pt x="455707" y="277334"/>
                      <a:pt x="474440" y="294438"/>
                      <a:pt x="474440" y="316429"/>
                    </a:cubicBezTo>
                    <a:cubicBezTo>
                      <a:pt x="474440" y="343307"/>
                      <a:pt x="452449" y="355525"/>
                      <a:pt x="429643" y="355525"/>
                    </a:cubicBezTo>
                    <a:cubicBezTo>
                      <a:pt x="283035" y="355525"/>
                      <a:pt x="200772" y="331090"/>
                      <a:pt x="158418" y="312357"/>
                    </a:cubicBezTo>
                    <a:cubicBezTo>
                      <a:pt x="129911" y="299325"/>
                      <a:pt x="98146" y="296067"/>
                      <a:pt x="68010" y="303397"/>
                    </a:cubicBezTo>
                    <a:lnTo>
                      <a:pt x="18326" y="315615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5" name="Freihandform: Form 146">
                <a:extLst>
                  <a:ext uri="{FF2B5EF4-FFF2-40B4-BE49-F238E27FC236}">
                    <a16:creationId xmlns:a16="http://schemas.microsoft.com/office/drawing/2014/main" id="{C6C11467-A220-1C52-4CCD-91F8C77F33F6}"/>
                  </a:ext>
                </a:extLst>
              </p:cNvPr>
              <p:cNvSpPr/>
              <p:nvPr/>
            </p:nvSpPr>
            <p:spPr bwMode="gray">
              <a:xfrm>
                <a:off x="8098527" y="5676867"/>
                <a:ext cx="262822" cy="122243"/>
              </a:xfrm>
              <a:custGeom>
                <a:avLst/>
                <a:gdLst>
                  <a:gd name="connsiteX0" fmla="*/ 18326 w 350230"/>
                  <a:gd name="connsiteY0" fmla="*/ 149459 h 162897"/>
                  <a:gd name="connsiteX1" fmla="*/ 121766 w 350230"/>
                  <a:gd name="connsiteY1" fmla="*/ 149459 h 162897"/>
                  <a:gd name="connsiteX2" fmla="*/ 179595 w 350230"/>
                  <a:gd name="connsiteY2" fmla="*/ 149459 h 162897"/>
                  <a:gd name="connsiteX3" fmla="*/ 338420 w 350230"/>
                  <a:gd name="connsiteY3" fmla="*/ 18326 h 162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0230" h="162897">
                    <a:moveTo>
                      <a:pt x="18326" y="149459"/>
                    </a:moveTo>
                    <a:lnTo>
                      <a:pt x="121766" y="149459"/>
                    </a:lnTo>
                    <a:lnTo>
                      <a:pt x="179595" y="149459"/>
                    </a:lnTo>
                    <a:cubicBezTo>
                      <a:pt x="179595" y="149459"/>
                      <a:pt x="186925" y="44390"/>
                      <a:pt x="33842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6" name="Freihandform: Form 147">
                <a:extLst>
                  <a:ext uri="{FF2B5EF4-FFF2-40B4-BE49-F238E27FC236}">
                    <a16:creationId xmlns:a16="http://schemas.microsoft.com/office/drawing/2014/main" id="{03D12D90-6236-4F72-73BB-13DBF1B667B0}"/>
                  </a:ext>
                </a:extLst>
              </p:cNvPr>
              <p:cNvSpPr/>
              <p:nvPr/>
            </p:nvSpPr>
            <p:spPr bwMode="gray">
              <a:xfrm>
                <a:off x="8124809" y="5326642"/>
                <a:ext cx="537869" cy="140580"/>
              </a:xfrm>
              <a:custGeom>
                <a:avLst/>
                <a:gdLst>
                  <a:gd name="connsiteX0" fmla="*/ 705755 w 716750"/>
                  <a:gd name="connsiteY0" fmla="*/ 18326 h 187332"/>
                  <a:gd name="connsiteX1" fmla="*/ 323759 w 716750"/>
                  <a:gd name="connsiteY1" fmla="*/ 155160 h 187332"/>
                  <a:gd name="connsiteX2" fmla="*/ 18326 w 716750"/>
                  <a:gd name="connsiteY2" fmla="*/ 163305 h 187332"/>
                  <a:gd name="connsiteX3" fmla="*/ 18326 w 716750"/>
                  <a:gd name="connsiteY3" fmla="*/ 163305 h 187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6750" h="187332">
                    <a:moveTo>
                      <a:pt x="705755" y="18326"/>
                    </a:moveTo>
                    <a:cubicBezTo>
                      <a:pt x="551816" y="92445"/>
                      <a:pt x="421498" y="133169"/>
                      <a:pt x="323759" y="155160"/>
                    </a:cubicBezTo>
                    <a:cubicBezTo>
                      <a:pt x="223577" y="177966"/>
                      <a:pt x="120137" y="180409"/>
                      <a:pt x="18326" y="163305"/>
                    </a:cubicBezTo>
                    <a:lnTo>
                      <a:pt x="18326" y="163305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7" name="Freihandform: Form 148">
                <a:extLst>
                  <a:ext uri="{FF2B5EF4-FFF2-40B4-BE49-F238E27FC236}">
                    <a16:creationId xmlns:a16="http://schemas.microsoft.com/office/drawing/2014/main" id="{6A78075A-9A5C-F443-3903-82F1DDA7828A}"/>
                  </a:ext>
                </a:extLst>
              </p:cNvPr>
              <p:cNvSpPr/>
              <p:nvPr/>
            </p:nvSpPr>
            <p:spPr bwMode="gray">
              <a:xfrm>
                <a:off x="8338735" y="5596798"/>
                <a:ext cx="97794" cy="195589"/>
              </a:xfrm>
              <a:custGeom>
                <a:avLst/>
                <a:gdLst>
                  <a:gd name="connsiteX0" fmla="*/ 117694 w 130318"/>
                  <a:gd name="connsiteY0" fmla="*/ 42761 h 260636"/>
                  <a:gd name="connsiteX1" fmla="*/ 117694 w 130318"/>
                  <a:gd name="connsiteY1" fmla="*/ 247198 h 260636"/>
                  <a:gd name="connsiteX2" fmla="*/ 18326 w 130318"/>
                  <a:gd name="connsiteY2" fmla="*/ 247198 h 260636"/>
                  <a:gd name="connsiteX3" fmla="*/ 18326 w 130318"/>
                  <a:gd name="connsiteY3" fmla="*/ 18326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260636">
                    <a:moveTo>
                      <a:pt x="117694" y="42761"/>
                    </a:moveTo>
                    <a:lnTo>
                      <a:pt x="117694" y="247198"/>
                    </a:lnTo>
                    <a:lnTo>
                      <a:pt x="18326" y="247198"/>
                    </a:ln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8" name="Freihandform: Form 149">
                <a:extLst>
                  <a:ext uri="{FF2B5EF4-FFF2-40B4-BE49-F238E27FC236}">
                    <a16:creationId xmlns:a16="http://schemas.microsoft.com/office/drawing/2014/main" id="{9895C9B3-25D4-B3B2-D0DE-B1E4A9C1A954}"/>
                  </a:ext>
                </a:extLst>
              </p:cNvPr>
              <p:cNvSpPr/>
              <p:nvPr/>
            </p:nvSpPr>
            <p:spPr bwMode="gray">
              <a:xfrm>
                <a:off x="8640675" y="5303416"/>
                <a:ext cx="79458" cy="446186"/>
              </a:xfrm>
              <a:custGeom>
                <a:avLst/>
                <a:gdLst>
                  <a:gd name="connsiteX0" fmla="*/ 61494 w 105883"/>
                  <a:gd name="connsiteY0" fmla="*/ 581953 h 594577"/>
                  <a:gd name="connsiteX1" fmla="*/ 18326 w 105883"/>
                  <a:gd name="connsiteY1" fmla="*/ 581953 h 594577"/>
                  <a:gd name="connsiteX2" fmla="*/ 18326 w 105883"/>
                  <a:gd name="connsiteY2" fmla="*/ 18326 h 594577"/>
                  <a:gd name="connsiteX3" fmla="*/ 61494 w 105883"/>
                  <a:gd name="connsiteY3" fmla="*/ 18326 h 594577"/>
                  <a:gd name="connsiteX4" fmla="*/ 94073 w 105883"/>
                  <a:gd name="connsiteY4" fmla="*/ 50906 h 594577"/>
                  <a:gd name="connsiteX5" fmla="*/ 94073 w 105883"/>
                  <a:gd name="connsiteY5" fmla="*/ 549373 h 594577"/>
                  <a:gd name="connsiteX6" fmla="*/ 61494 w 105883"/>
                  <a:gd name="connsiteY6" fmla="*/ 581953 h 594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5883" h="594577">
                    <a:moveTo>
                      <a:pt x="61494" y="581953"/>
                    </a:moveTo>
                    <a:lnTo>
                      <a:pt x="18326" y="581953"/>
                    </a:lnTo>
                    <a:lnTo>
                      <a:pt x="18326" y="18326"/>
                    </a:lnTo>
                    <a:lnTo>
                      <a:pt x="61494" y="18326"/>
                    </a:lnTo>
                    <a:cubicBezTo>
                      <a:pt x="79413" y="18326"/>
                      <a:pt x="94073" y="32987"/>
                      <a:pt x="94073" y="50906"/>
                    </a:cubicBezTo>
                    <a:lnTo>
                      <a:pt x="94073" y="549373"/>
                    </a:lnTo>
                    <a:cubicBezTo>
                      <a:pt x="94073" y="567292"/>
                      <a:pt x="79413" y="581953"/>
                      <a:pt x="61494" y="58195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9" name="Freihandform: Form 150">
                <a:extLst>
                  <a:ext uri="{FF2B5EF4-FFF2-40B4-BE49-F238E27FC236}">
                    <a16:creationId xmlns:a16="http://schemas.microsoft.com/office/drawing/2014/main" id="{2D6FD5AF-ABF4-E8B4-3BF2-ED86C82376B8}"/>
                  </a:ext>
                </a:extLst>
              </p:cNvPr>
              <p:cNvSpPr/>
              <p:nvPr/>
            </p:nvSpPr>
            <p:spPr bwMode="gray">
              <a:xfrm>
                <a:off x="8125421" y="5585273"/>
                <a:ext cx="537869" cy="140580"/>
              </a:xfrm>
              <a:custGeom>
                <a:avLst/>
                <a:gdLst>
                  <a:gd name="connsiteX0" fmla="*/ 704940 w 716750"/>
                  <a:gd name="connsiteY0" fmla="*/ 174591 h 187332"/>
                  <a:gd name="connsiteX1" fmla="*/ 331904 w 716750"/>
                  <a:gd name="connsiteY1" fmla="*/ 39386 h 187332"/>
                  <a:gd name="connsiteX2" fmla="*/ 18326 w 716750"/>
                  <a:gd name="connsiteY2" fmla="*/ 28797 h 187332"/>
                  <a:gd name="connsiteX3" fmla="*/ 18326 w 716750"/>
                  <a:gd name="connsiteY3" fmla="*/ 28797 h 187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6750" h="187332">
                    <a:moveTo>
                      <a:pt x="704940" y="174591"/>
                    </a:moveTo>
                    <a:cubicBezTo>
                      <a:pt x="555074" y="102101"/>
                      <a:pt x="428014" y="62191"/>
                      <a:pt x="331904" y="39386"/>
                    </a:cubicBezTo>
                    <a:cubicBezTo>
                      <a:pt x="229278" y="15765"/>
                      <a:pt x="122581" y="11693"/>
                      <a:pt x="18326" y="28797"/>
                    </a:cubicBezTo>
                    <a:lnTo>
                      <a:pt x="18326" y="28797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0" name="Freihandform: Form 151">
                <a:extLst>
                  <a:ext uri="{FF2B5EF4-FFF2-40B4-BE49-F238E27FC236}">
                    <a16:creationId xmlns:a16="http://schemas.microsoft.com/office/drawing/2014/main" id="{595D3152-1BFF-70FD-6F67-BEF62724CF11}"/>
                  </a:ext>
                </a:extLst>
              </p:cNvPr>
              <p:cNvSpPr/>
              <p:nvPr/>
            </p:nvSpPr>
            <p:spPr bwMode="gray">
              <a:xfrm>
                <a:off x="8071634" y="5415267"/>
                <a:ext cx="79458" cy="226149"/>
              </a:xfrm>
              <a:custGeom>
                <a:avLst/>
                <a:gdLst>
                  <a:gd name="connsiteX0" fmla="*/ 89187 w 105883"/>
                  <a:gd name="connsiteY0" fmla="*/ 283035 h 301361"/>
                  <a:gd name="connsiteX1" fmla="*/ 52535 w 105883"/>
                  <a:gd name="connsiteY1" fmla="*/ 283035 h 301361"/>
                  <a:gd name="connsiteX2" fmla="*/ 18326 w 105883"/>
                  <a:gd name="connsiteY2" fmla="*/ 248827 h 301361"/>
                  <a:gd name="connsiteX3" fmla="*/ 18326 w 105883"/>
                  <a:gd name="connsiteY3" fmla="*/ 52535 h 301361"/>
                  <a:gd name="connsiteX4" fmla="*/ 52535 w 105883"/>
                  <a:gd name="connsiteY4" fmla="*/ 18326 h 301361"/>
                  <a:gd name="connsiteX5" fmla="*/ 89187 w 105883"/>
                  <a:gd name="connsiteY5" fmla="*/ 18326 h 301361"/>
                  <a:gd name="connsiteX6" fmla="*/ 89187 w 105883"/>
                  <a:gd name="connsiteY6" fmla="*/ 283035 h 301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5883" h="301361">
                    <a:moveTo>
                      <a:pt x="89187" y="283035"/>
                    </a:moveTo>
                    <a:lnTo>
                      <a:pt x="52535" y="283035"/>
                    </a:lnTo>
                    <a:cubicBezTo>
                      <a:pt x="33802" y="283035"/>
                      <a:pt x="18326" y="267560"/>
                      <a:pt x="18326" y="248827"/>
                    </a:cubicBezTo>
                    <a:lnTo>
                      <a:pt x="18326" y="52535"/>
                    </a:lnTo>
                    <a:cubicBezTo>
                      <a:pt x="18326" y="33801"/>
                      <a:pt x="33802" y="18326"/>
                      <a:pt x="52535" y="18326"/>
                    </a:cubicBezTo>
                    <a:lnTo>
                      <a:pt x="89187" y="18326"/>
                    </a:lnTo>
                    <a:lnTo>
                      <a:pt x="89187" y="283035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5" name="Gruppieren 152">
              <a:extLst>
                <a:ext uri="{FF2B5EF4-FFF2-40B4-BE49-F238E27FC236}">
                  <a16:creationId xmlns:a16="http://schemas.microsoft.com/office/drawing/2014/main" id="{8872F882-AA25-4F42-700A-300D1E880F5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4363116" y="1676645"/>
              <a:ext cx="442498" cy="390279"/>
              <a:chOff x="8797658" y="7629428"/>
              <a:chExt cx="712335" cy="628274"/>
            </a:xfrm>
          </p:grpSpPr>
          <p:sp>
            <p:nvSpPr>
              <p:cNvPr id="61" name="Freihandform: Form 153">
                <a:extLst>
                  <a:ext uri="{FF2B5EF4-FFF2-40B4-BE49-F238E27FC236}">
                    <a16:creationId xmlns:a16="http://schemas.microsoft.com/office/drawing/2014/main" id="{25319030-2B7E-580C-FDB2-F491361149F3}"/>
                  </a:ext>
                </a:extLst>
              </p:cNvPr>
              <p:cNvSpPr/>
              <p:nvPr/>
            </p:nvSpPr>
            <p:spPr bwMode="gray">
              <a:xfrm>
                <a:off x="9030736" y="7823205"/>
                <a:ext cx="92795" cy="141921"/>
              </a:xfrm>
              <a:custGeom>
                <a:avLst/>
                <a:gdLst>
                  <a:gd name="connsiteX0" fmla="*/ 12282 w 92794"/>
                  <a:gd name="connsiteY0" fmla="*/ 132369 h 141921"/>
                  <a:gd name="connsiteX1" fmla="*/ 12282 w 92794"/>
                  <a:gd name="connsiteY1" fmla="*/ 12282 h 141921"/>
                  <a:gd name="connsiteX2" fmla="*/ 82150 w 92794"/>
                  <a:gd name="connsiteY2" fmla="*/ 12282 h 141921"/>
                  <a:gd name="connsiteX3" fmla="*/ 82150 w 92794"/>
                  <a:gd name="connsiteY3" fmla="*/ 132369 h 141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794" h="141921">
                    <a:moveTo>
                      <a:pt x="12282" y="132369"/>
                    </a:moveTo>
                    <a:lnTo>
                      <a:pt x="12282" y="12282"/>
                    </a:lnTo>
                    <a:lnTo>
                      <a:pt x="82150" y="12282"/>
                    </a:lnTo>
                    <a:lnTo>
                      <a:pt x="82150" y="13236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2" name="Freihandform: Form 154">
                <a:extLst>
                  <a:ext uri="{FF2B5EF4-FFF2-40B4-BE49-F238E27FC236}">
                    <a16:creationId xmlns:a16="http://schemas.microsoft.com/office/drawing/2014/main" id="{235C5CF7-484A-CA36-78DA-0B7B94F45AB3}"/>
                  </a:ext>
                </a:extLst>
              </p:cNvPr>
              <p:cNvSpPr/>
              <p:nvPr/>
            </p:nvSpPr>
            <p:spPr bwMode="gray">
              <a:xfrm>
                <a:off x="9065671" y="7823205"/>
                <a:ext cx="21834" cy="174672"/>
              </a:xfrm>
              <a:custGeom>
                <a:avLst/>
                <a:gdLst>
                  <a:gd name="connsiteX0" fmla="*/ 12282 w 21834"/>
                  <a:gd name="connsiteY0" fmla="*/ 12282 h 174672"/>
                  <a:gd name="connsiteX1" fmla="*/ 12282 w 21834"/>
                  <a:gd name="connsiteY1" fmla="*/ 165120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174672">
                    <a:moveTo>
                      <a:pt x="12282" y="12282"/>
                    </a:moveTo>
                    <a:lnTo>
                      <a:pt x="12282" y="165120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3" name="Freihandform: Form 155">
                <a:extLst>
                  <a:ext uri="{FF2B5EF4-FFF2-40B4-BE49-F238E27FC236}">
                    <a16:creationId xmlns:a16="http://schemas.microsoft.com/office/drawing/2014/main" id="{B355B21C-B0BD-D60C-2C96-5002D7824A09}"/>
                  </a:ext>
                </a:extLst>
              </p:cNvPr>
              <p:cNvSpPr/>
              <p:nvPr/>
            </p:nvSpPr>
            <p:spPr bwMode="gray">
              <a:xfrm>
                <a:off x="9043836" y="7656720"/>
                <a:ext cx="65502" cy="65502"/>
              </a:xfrm>
              <a:custGeom>
                <a:avLst/>
                <a:gdLst>
                  <a:gd name="connsiteX0" fmla="*/ 55950 w 65502"/>
                  <a:gd name="connsiteY0" fmla="*/ 34116 h 65502"/>
                  <a:gd name="connsiteX1" fmla="*/ 34116 w 65502"/>
                  <a:gd name="connsiteY1" fmla="*/ 55950 h 65502"/>
                  <a:gd name="connsiteX2" fmla="*/ 12282 w 65502"/>
                  <a:gd name="connsiteY2" fmla="*/ 34116 h 65502"/>
                  <a:gd name="connsiteX3" fmla="*/ 34116 w 65502"/>
                  <a:gd name="connsiteY3" fmla="*/ 12282 h 65502"/>
                  <a:gd name="connsiteX4" fmla="*/ 55950 w 65502"/>
                  <a:gd name="connsiteY4" fmla="*/ 34116 h 65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502" h="65502">
                    <a:moveTo>
                      <a:pt x="55950" y="34116"/>
                    </a:moveTo>
                    <a:cubicBezTo>
                      <a:pt x="55950" y="46124"/>
                      <a:pt x="46124" y="55950"/>
                      <a:pt x="34116" y="55950"/>
                    </a:cubicBezTo>
                    <a:cubicBezTo>
                      <a:pt x="22107" y="55950"/>
                      <a:pt x="12282" y="46124"/>
                      <a:pt x="12282" y="34116"/>
                    </a:cubicBezTo>
                    <a:cubicBezTo>
                      <a:pt x="12282" y="22107"/>
                      <a:pt x="22107" y="12282"/>
                      <a:pt x="34116" y="12282"/>
                    </a:cubicBezTo>
                    <a:cubicBezTo>
                      <a:pt x="46124" y="12282"/>
                      <a:pt x="55950" y="22107"/>
                      <a:pt x="55950" y="34116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4" name="Freihandform: Form 156">
                <a:extLst>
                  <a:ext uri="{FF2B5EF4-FFF2-40B4-BE49-F238E27FC236}">
                    <a16:creationId xmlns:a16="http://schemas.microsoft.com/office/drawing/2014/main" id="{EA834B4A-DC92-BC1B-C4B0-ABDD36303C87}"/>
                  </a:ext>
                </a:extLst>
              </p:cNvPr>
              <p:cNvSpPr/>
              <p:nvPr/>
            </p:nvSpPr>
            <p:spPr bwMode="gray">
              <a:xfrm>
                <a:off x="9065671" y="7726043"/>
                <a:ext cx="21834" cy="87336"/>
              </a:xfrm>
              <a:custGeom>
                <a:avLst/>
                <a:gdLst>
                  <a:gd name="connsiteX0" fmla="*/ 12282 w 21834"/>
                  <a:gd name="connsiteY0" fmla="*/ 12282 h 87336"/>
                  <a:gd name="connsiteX1" fmla="*/ 12282 w 21834"/>
                  <a:gd name="connsiteY1" fmla="*/ 78875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87336">
                    <a:moveTo>
                      <a:pt x="12282" y="12282"/>
                    </a:moveTo>
                    <a:lnTo>
                      <a:pt x="12282" y="78875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5" name="Freihandform: Form 157">
                <a:extLst>
                  <a:ext uri="{FF2B5EF4-FFF2-40B4-BE49-F238E27FC236}">
                    <a16:creationId xmlns:a16="http://schemas.microsoft.com/office/drawing/2014/main" id="{BD4CE683-062A-C30C-5C7F-BA60B2448AEF}"/>
                  </a:ext>
                </a:extLst>
              </p:cNvPr>
              <p:cNvSpPr/>
              <p:nvPr/>
            </p:nvSpPr>
            <p:spPr bwMode="gray">
              <a:xfrm>
                <a:off x="9030736" y="7770803"/>
                <a:ext cx="92795" cy="76419"/>
              </a:xfrm>
              <a:custGeom>
                <a:avLst/>
                <a:gdLst>
                  <a:gd name="connsiteX0" fmla="*/ 12282 w 92794"/>
                  <a:gd name="connsiteY0" fmla="*/ 12282 h 76419"/>
                  <a:gd name="connsiteX1" fmla="*/ 12282 w 92794"/>
                  <a:gd name="connsiteY1" fmla="*/ 64683 h 76419"/>
                  <a:gd name="connsiteX2" fmla="*/ 82150 w 92794"/>
                  <a:gd name="connsiteY2" fmla="*/ 64683 h 76419"/>
                  <a:gd name="connsiteX3" fmla="*/ 82150 w 92794"/>
                  <a:gd name="connsiteY3" fmla="*/ 12282 h 76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794" h="76419">
                    <a:moveTo>
                      <a:pt x="12282" y="12282"/>
                    </a:moveTo>
                    <a:lnTo>
                      <a:pt x="12282" y="64683"/>
                    </a:lnTo>
                    <a:lnTo>
                      <a:pt x="82150" y="64683"/>
                    </a:lnTo>
                    <a:lnTo>
                      <a:pt x="82150" y="12282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6" name="Freihandform: Form 158">
                <a:extLst>
                  <a:ext uri="{FF2B5EF4-FFF2-40B4-BE49-F238E27FC236}">
                    <a16:creationId xmlns:a16="http://schemas.microsoft.com/office/drawing/2014/main" id="{01888448-A7B1-4F7E-A7DD-DFE88E5F0B24}"/>
                  </a:ext>
                </a:extLst>
              </p:cNvPr>
              <p:cNvSpPr/>
              <p:nvPr/>
            </p:nvSpPr>
            <p:spPr bwMode="gray">
              <a:xfrm>
                <a:off x="8957592" y="7682375"/>
                <a:ext cx="169214" cy="87336"/>
              </a:xfrm>
              <a:custGeom>
                <a:avLst/>
                <a:gdLst>
                  <a:gd name="connsiteX0" fmla="*/ 158570 w 169213"/>
                  <a:gd name="connsiteY0" fmla="*/ 55950 h 87336"/>
                  <a:gd name="connsiteX1" fmla="*/ 101801 w 169213"/>
                  <a:gd name="connsiteY1" fmla="*/ 55950 h 87336"/>
                  <a:gd name="connsiteX2" fmla="*/ 66867 w 169213"/>
                  <a:gd name="connsiteY2" fmla="*/ 69596 h 87336"/>
                  <a:gd name="connsiteX3" fmla="*/ 66867 w 169213"/>
                  <a:gd name="connsiteY3" fmla="*/ 69596 h 87336"/>
                  <a:gd name="connsiteX4" fmla="*/ 32478 w 169213"/>
                  <a:gd name="connsiteY4" fmla="*/ 61954 h 87336"/>
                  <a:gd name="connsiteX5" fmla="*/ 12282 w 169213"/>
                  <a:gd name="connsiteY5" fmla="*/ 12282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9213" h="87336">
                    <a:moveTo>
                      <a:pt x="158570" y="55950"/>
                    </a:moveTo>
                    <a:lnTo>
                      <a:pt x="101801" y="55950"/>
                    </a:lnTo>
                    <a:cubicBezTo>
                      <a:pt x="88701" y="55950"/>
                      <a:pt x="76146" y="60862"/>
                      <a:pt x="66867" y="69596"/>
                    </a:cubicBezTo>
                    <a:lnTo>
                      <a:pt x="66867" y="69596"/>
                    </a:lnTo>
                    <a:cubicBezTo>
                      <a:pt x="55950" y="79967"/>
                      <a:pt x="37937" y="76146"/>
                      <a:pt x="32478" y="61954"/>
                    </a:cubicBezTo>
                    <a:lnTo>
                      <a:pt x="12282" y="12282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7" name="Freihandform: Form 159">
                <a:extLst>
                  <a:ext uri="{FF2B5EF4-FFF2-40B4-BE49-F238E27FC236}">
                    <a16:creationId xmlns:a16="http://schemas.microsoft.com/office/drawing/2014/main" id="{564B1CCB-583D-84D2-C1FF-45BB85D1DC13}"/>
                  </a:ext>
                </a:extLst>
              </p:cNvPr>
              <p:cNvSpPr/>
              <p:nvPr/>
            </p:nvSpPr>
            <p:spPr bwMode="gray">
              <a:xfrm>
                <a:off x="9103880" y="7726043"/>
                <a:ext cx="49127" cy="120087"/>
              </a:xfrm>
              <a:custGeom>
                <a:avLst/>
                <a:gdLst>
                  <a:gd name="connsiteX0" fmla="*/ 12282 w 49126"/>
                  <a:gd name="connsiteY0" fmla="*/ 12282 h 120087"/>
                  <a:gd name="connsiteX1" fmla="*/ 12282 w 49126"/>
                  <a:gd name="connsiteY1" fmla="*/ 12282 h 120087"/>
                  <a:gd name="connsiteX2" fmla="*/ 36845 w 49126"/>
                  <a:gd name="connsiteY2" fmla="*/ 41758 h 120087"/>
                  <a:gd name="connsiteX3" fmla="*/ 36845 w 49126"/>
                  <a:gd name="connsiteY3" fmla="*/ 109443 h 120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126" h="120087">
                    <a:moveTo>
                      <a:pt x="12282" y="12282"/>
                    </a:moveTo>
                    <a:lnTo>
                      <a:pt x="12282" y="12282"/>
                    </a:lnTo>
                    <a:cubicBezTo>
                      <a:pt x="28657" y="12282"/>
                      <a:pt x="36845" y="25382"/>
                      <a:pt x="36845" y="41758"/>
                    </a:cubicBezTo>
                    <a:lnTo>
                      <a:pt x="36845" y="109443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8" name="Freihandform: Form 160">
                <a:extLst>
                  <a:ext uri="{FF2B5EF4-FFF2-40B4-BE49-F238E27FC236}">
                    <a16:creationId xmlns:a16="http://schemas.microsoft.com/office/drawing/2014/main" id="{8EE81A2F-EED7-2CCE-648C-8670F3F7301B}"/>
                  </a:ext>
                </a:extLst>
              </p:cNvPr>
              <p:cNvSpPr/>
              <p:nvPr/>
            </p:nvSpPr>
            <p:spPr bwMode="gray">
              <a:xfrm>
                <a:off x="8797658" y="7900170"/>
                <a:ext cx="447597" cy="262008"/>
              </a:xfrm>
              <a:custGeom>
                <a:avLst/>
                <a:gdLst>
                  <a:gd name="connsiteX0" fmla="*/ 12282 w 447597"/>
                  <a:gd name="connsiteY0" fmla="*/ 189137 h 262008"/>
                  <a:gd name="connsiteX1" fmla="*/ 204967 w 447597"/>
                  <a:gd name="connsiteY1" fmla="*/ 12282 h 262008"/>
                  <a:gd name="connsiteX2" fmla="*/ 438045 w 447597"/>
                  <a:gd name="connsiteY2" fmla="*/ 253548 h 262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7597" h="262008">
                    <a:moveTo>
                      <a:pt x="12282" y="189137"/>
                    </a:moveTo>
                    <a:lnTo>
                      <a:pt x="204967" y="12282"/>
                    </a:lnTo>
                    <a:lnTo>
                      <a:pt x="438045" y="253548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9" name="Freihandform: Form 161">
                <a:extLst>
                  <a:ext uri="{FF2B5EF4-FFF2-40B4-BE49-F238E27FC236}">
                    <a16:creationId xmlns:a16="http://schemas.microsoft.com/office/drawing/2014/main" id="{D8A54E3A-8205-253A-EC04-BFB7218B9BA3}"/>
                  </a:ext>
                </a:extLst>
              </p:cNvPr>
              <p:cNvSpPr/>
              <p:nvPr/>
            </p:nvSpPr>
            <p:spPr bwMode="gray">
              <a:xfrm>
                <a:off x="9062396" y="7779537"/>
                <a:ext cx="447597" cy="251091"/>
              </a:xfrm>
              <a:custGeom>
                <a:avLst/>
                <a:gdLst>
                  <a:gd name="connsiteX0" fmla="*/ 12282 w 447597"/>
                  <a:gd name="connsiteY0" fmla="*/ 211517 h 251091"/>
                  <a:gd name="connsiteX1" fmla="*/ 222980 w 447597"/>
                  <a:gd name="connsiteY1" fmla="*/ 12282 h 251091"/>
                  <a:gd name="connsiteX2" fmla="*/ 438591 w 447597"/>
                  <a:gd name="connsiteY2" fmla="*/ 242085 h 251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7597" h="251091">
                    <a:moveTo>
                      <a:pt x="12282" y="211517"/>
                    </a:moveTo>
                    <a:lnTo>
                      <a:pt x="222980" y="12282"/>
                    </a:lnTo>
                    <a:lnTo>
                      <a:pt x="438591" y="24208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0" name="Freihandform: Form 162">
                <a:extLst>
                  <a:ext uri="{FF2B5EF4-FFF2-40B4-BE49-F238E27FC236}">
                    <a16:creationId xmlns:a16="http://schemas.microsoft.com/office/drawing/2014/main" id="{38A1A52F-A498-8E31-72B0-AA762EB7C947}"/>
                  </a:ext>
                </a:extLst>
              </p:cNvPr>
              <p:cNvSpPr/>
              <p:nvPr/>
            </p:nvSpPr>
            <p:spPr bwMode="gray">
              <a:xfrm>
                <a:off x="9223421" y="7924733"/>
                <a:ext cx="21834" cy="332969"/>
              </a:xfrm>
              <a:custGeom>
                <a:avLst/>
                <a:gdLst>
                  <a:gd name="connsiteX0" fmla="*/ 12282 w 21834"/>
                  <a:gd name="connsiteY0" fmla="*/ 12282 h 332968"/>
                  <a:gd name="connsiteX1" fmla="*/ 12282 w 21834"/>
                  <a:gd name="connsiteY1" fmla="*/ 325054 h 332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32968">
                    <a:moveTo>
                      <a:pt x="12282" y="12282"/>
                    </a:moveTo>
                    <a:lnTo>
                      <a:pt x="12282" y="325054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1" name="Freihandform: Form 163">
                <a:extLst>
                  <a:ext uri="{FF2B5EF4-FFF2-40B4-BE49-F238E27FC236}">
                    <a16:creationId xmlns:a16="http://schemas.microsoft.com/office/drawing/2014/main" id="{5BFBA4E4-2B5A-8435-51DD-AE5AC4B3A67C}"/>
                  </a:ext>
                </a:extLst>
              </p:cNvPr>
              <p:cNvSpPr/>
              <p:nvPr/>
            </p:nvSpPr>
            <p:spPr bwMode="gray">
              <a:xfrm>
                <a:off x="9308574" y="7924733"/>
                <a:ext cx="21834" cy="332969"/>
              </a:xfrm>
              <a:custGeom>
                <a:avLst/>
                <a:gdLst>
                  <a:gd name="connsiteX0" fmla="*/ 12282 w 21834"/>
                  <a:gd name="connsiteY0" fmla="*/ 12282 h 332968"/>
                  <a:gd name="connsiteX1" fmla="*/ 12282 w 21834"/>
                  <a:gd name="connsiteY1" fmla="*/ 325054 h 332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32968">
                    <a:moveTo>
                      <a:pt x="12282" y="12282"/>
                    </a:moveTo>
                    <a:lnTo>
                      <a:pt x="12282" y="325054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2" name="Freihandform: Form 164">
                <a:extLst>
                  <a:ext uri="{FF2B5EF4-FFF2-40B4-BE49-F238E27FC236}">
                    <a16:creationId xmlns:a16="http://schemas.microsoft.com/office/drawing/2014/main" id="{09880B39-BD16-8CE0-6528-8952C9EEBF3D}"/>
                  </a:ext>
                </a:extLst>
              </p:cNvPr>
              <p:cNvSpPr/>
              <p:nvPr/>
            </p:nvSpPr>
            <p:spPr bwMode="gray">
              <a:xfrm>
                <a:off x="9227788" y="7962943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3" name="Freihandform: Form 165">
                <a:extLst>
                  <a:ext uri="{FF2B5EF4-FFF2-40B4-BE49-F238E27FC236}">
                    <a16:creationId xmlns:a16="http://schemas.microsoft.com/office/drawing/2014/main" id="{295AC6F2-68CB-62E9-F456-E8FD8EA4249D}"/>
                  </a:ext>
                </a:extLst>
              </p:cNvPr>
              <p:cNvSpPr/>
              <p:nvPr/>
            </p:nvSpPr>
            <p:spPr bwMode="gray">
              <a:xfrm>
                <a:off x="9227788" y="8021894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4" name="Freihandform: Form 166">
                <a:extLst>
                  <a:ext uri="{FF2B5EF4-FFF2-40B4-BE49-F238E27FC236}">
                    <a16:creationId xmlns:a16="http://schemas.microsoft.com/office/drawing/2014/main" id="{45B0FAB3-68B4-8E26-9797-562ED89CFAD3}"/>
                  </a:ext>
                </a:extLst>
              </p:cNvPr>
              <p:cNvSpPr/>
              <p:nvPr/>
            </p:nvSpPr>
            <p:spPr bwMode="gray">
              <a:xfrm>
                <a:off x="9227788" y="8080846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5" name="Freihandform: Form 167">
                <a:extLst>
                  <a:ext uri="{FF2B5EF4-FFF2-40B4-BE49-F238E27FC236}">
                    <a16:creationId xmlns:a16="http://schemas.microsoft.com/office/drawing/2014/main" id="{A608F61F-A41E-5644-A6F4-E2782D0E93A4}"/>
                  </a:ext>
                </a:extLst>
              </p:cNvPr>
              <p:cNvSpPr/>
              <p:nvPr/>
            </p:nvSpPr>
            <p:spPr bwMode="gray">
              <a:xfrm>
                <a:off x="9227788" y="8140344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6" name="Freihandform: Form 168">
                <a:extLst>
                  <a:ext uri="{FF2B5EF4-FFF2-40B4-BE49-F238E27FC236}">
                    <a16:creationId xmlns:a16="http://schemas.microsoft.com/office/drawing/2014/main" id="{CCB4D8FA-2EC8-BC00-65D1-503D353BD989}"/>
                  </a:ext>
                </a:extLst>
              </p:cNvPr>
              <p:cNvSpPr/>
              <p:nvPr/>
            </p:nvSpPr>
            <p:spPr bwMode="gray">
              <a:xfrm>
                <a:off x="9227788" y="8199296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7" name="Freihandform: Form 169">
                <a:extLst>
                  <a:ext uri="{FF2B5EF4-FFF2-40B4-BE49-F238E27FC236}">
                    <a16:creationId xmlns:a16="http://schemas.microsoft.com/office/drawing/2014/main" id="{36FF92CC-1531-DA0A-4DD3-C1C0227A921A}"/>
                  </a:ext>
                </a:extLst>
              </p:cNvPr>
              <p:cNvSpPr/>
              <p:nvPr/>
            </p:nvSpPr>
            <p:spPr bwMode="gray">
              <a:xfrm>
                <a:off x="9273094" y="7629428"/>
                <a:ext cx="98253" cy="87336"/>
              </a:xfrm>
              <a:custGeom>
                <a:avLst/>
                <a:gdLst>
                  <a:gd name="connsiteX0" fmla="*/ 12282 w 98253"/>
                  <a:gd name="connsiteY0" fmla="*/ 12282 h 87336"/>
                  <a:gd name="connsiteX1" fmla="*/ 89246 w 98253"/>
                  <a:gd name="connsiteY1" fmla="*/ 12282 h 87336"/>
                  <a:gd name="connsiteX2" fmla="*/ 89246 w 98253"/>
                  <a:gd name="connsiteY2" fmla="*/ 79967 h 87336"/>
                  <a:gd name="connsiteX3" fmla="*/ 12282 w 98253"/>
                  <a:gd name="connsiteY3" fmla="*/ 79967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53" h="87336">
                    <a:moveTo>
                      <a:pt x="12282" y="12282"/>
                    </a:moveTo>
                    <a:lnTo>
                      <a:pt x="89246" y="12282"/>
                    </a:lnTo>
                    <a:lnTo>
                      <a:pt x="89246" y="79967"/>
                    </a:lnTo>
                    <a:lnTo>
                      <a:pt x="12282" y="7996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8" name="Freihandform: Form 170">
                <a:extLst>
                  <a:ext uri="{FF2B5EF4-FFF2-40B4-BE49-F238E27FC236}">
                    <a16:creationId xmlns:a16="http://schemas.microsoft.com/office/drawing/2014/main" id="{301B466A-9F17-AC7E-8F7A-0DD6657DB3BD}"/>
                  </a:ext>
                </a:extLst>
              </p:cNvPr>
              <p:cNvSpPr/>
              <p:nvPr/>
            </p:nvSpPr>
            <p:spPr bwMode="gray">
              <a:xfrm>
                <a:off x="9350059" y="7663271"/>
                <a:ext cx="98253" cy="87336"/>
              </a:xfrm>
              <a:custGeom>
                <a:avLst/>
                <a:gdLst>
                  <a:gd name="connsiteX0" fmla="*/ 12282 w 98253"/>
                  <a:gd name="connsiteY0" fmla="*/ 12282 h 87336"/>
                  <a:gd name="connsiteX1" fmla="*/ 89247 w 98253"/>
                  <a:gd name="connsiteY1" fmla="*/ 12282 h 87336"/>
                  <a:gd name="connsiteX2" fmla="*/ 89247 w 98253"/>
                  <a:gd name="connsiteY2" fmla="*/ 79967 h 87336"/>
                  <a:gd name="connsiteX3" fmla="*/ 12282 w 98253"/>
                  <a:gd name="connsiteY3" fmla="*/ 79967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53" h="87336">
                    <a:moveTo>
                      <a:pt x="12282" y="12282"/>
                    </a:moveTo>
                    <a:lnTo>
                      <a:pt x="89247" y="12282"/>
                    </a:lnTo>
                    <a:lnTo>
                      <a:pt x="89247" y="79967"/>
                    </a:lnTo>
                    <a:lnTo>
                      <a:pt x="12282" y="7996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9" name="Freihandform: Form 171">
                <a:extLst>
                  <a:ext uri="{FF2B5EF4-FFF2-40B4-BE49-F238E27FC236}">
                    <a16:creationId xmlns:a16="http://schemas.microsoft.com/office/drawing/2014/main" id="{DE6E8ED5-4098-B867-A25C-5884D17FB746}"/>
                  </a:ext>
                </a:extLst>
              </p:cNvPr>
              <p:cNvSpPr/>
              <p:nvPr/>
            </p:nvSpPr>
            <p:spPr bwMode="gray">
              <a:xfrm>
                <a:off x="9273094" y="7629428"/>
                <a:ext cx="21834" cy="174672"/>
              </a:xfrm>
              <a:custGeom>
                <a:avLst/>
                <a:gdLst>
                  <a:gd name="connsiteX0" fmla="*/ 12282 w 21834"/>
                  <a:gd name="connsiteY0" fmla="*/ 162390 h 174672"/>
                  <a:gd name="connsiteX1" fmla="*/ 12282 w 21834"/>
                  <a:gd name="connsiteY1" fmla="*/ 12282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174672">
                    <a:moveTo>
                      <a:pt x="12282" y="162390"/>
                    </a:moveTo>
                    <a:lnTo>
                      <a:pt x="12282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6" name="Gruppieren 174">
              <a:extLst>
                <a:ext uri="{FF2B5EF4-FFF2-40B4-BE49-F238E27FC236}">
                  <a16:creationId xmlns:a16="http://schemas.microsoft.com/office/drawing/2014/main" id="{286DA8C0-E6E1-8BFC-B825-E353CDB1D4B3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1006530" y="4761255"/>
              <a:ext cx="474967" cy="430310"/>
              <a:chOff x="8663730" y="8525169"/>
              <a:chExt cx="716156" cy="648821"/>
            </a:xfrm>
          </p:grpSpPr>
          <p:sp>
            <p:nvSpPr>
              <p:cNvPr id="48" name="Freihandform: Form 175">
                <a:extLst>
                  <a:ext uri="{FF2B5EF4-FFF2-40B4-BE49-F238E27FC236}">
                    <a16:creationId xmlns:a16="http://schemas.microsoft.com/office/drawing/2014/main" id="{2C1F0C23-2E13-2A0C-287B-3C4F0EDB1C90}"/>
                  </a:ext>
                </a:extLst>
              </p:cNvPr>
              <p:cNvSpPr/>
              <p:nvPr/>
            </p:nvSpPr>
            <p:spPr bwMode="gray">
              <a:xfrm>
                <a:off x="8855869" y="8911268"/>
                <a:ext cx="360261" cy="114629"/>
              </a:xfrm>
              <a:custGeom>
                <a:avLst/>
                <a:gdLst>
                  <a:gd name="connsiteX0" fmla="*/ 205708 w 360261"/>
                  <a:gd name="connsiteY0" fmla="*/ 107623 h 114628"/>
                  <a:gd name="connsiteX1" fmla="*/ 239005 w 360261"/>
                  <a:gd name="connsiteY1" fmla="*/ 107623 h 114628"/>
                  <a:gd name="connsiteX2" fmla="*/ 327978 w 360261"/>
                  <a:gd name="connsiteY2" fmla="*/ 80331 h 114628"/>
                  <a:gd name="connsiteX3" fmla="*/ 352541 w 360261"/>
                  <a:gd name="connsiteY3" fmla="*/ 63955 h 114628"/>
                  <a:gd name="connsiteX4" fmla="*/ 355271 w 360261"/>
                  <a:gd name="connsiteY4" fmla="*/ 51946 h 114628"/>
                  <a:gd name="connsiteX5" fmla="*/ 341078 w 360261"/>
                  <a:gd name="connsiteY5" fmla="*/ 38846 h 114628"/>
                  <a:gd name="connsiteX6" fmla="*/ 302323 w 360261"/>
                  <a:gd name="connsiteY6" fmla="*/ 38300 h 114628"/>
                  <a:gd name="connsiteX7" fmla="*/ 217171 w 360261"/>
                  <a:gd name="connsiteY7" fmla="*/ 41576 h 114628"/>
                  <a:gd name="connsiteX8" fmla="*/ 175140 w 360261"/>
                  <a:gd name="connsiteY8" fmla="*/ 19741 h 114628"/>
                  <a:gd name="connsiteX9" fmla="*/ 7018 w 360261"/>
                  <a:gd name="connsiteY9" fmla="*/ 40483 h 114628"/>
                  <a:gd name="connsiteX10" fmla="*/ 7018 w 360261"/>
                  <a:gd name="connsiteY10" fmla="*/ 40483 h 11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0261" h="114628">
                    <a:moveTo>
                      <a:pt x="205708" y="107623"/>
                    </a:moveTo>
                    <a:lnTo>
                      <a:pt x="239005" y="107623"/>
                    </a:lnTo>
                    <a:cubicBezTo>
                      <a:pt x="270664" y="107623"/>
                      <a:pt x="301777" y="98343"/>
                      <a:pt x="327978" y="80331"/>
                    </a:cubicBezTo>
                    <a:lnTo>
                      <a:pt x="352541" y="63955"/>
                    </a:lnTo>
                    <a:cubicBezTo>
                      <a:pt x="356362" y="61226"/>
                      <a:pt x="358000" y="55768"/>
                      <a:pt x="355271" y="51946"/>
                    </a:cubicBezTo>
                    <a:cubicBezTo>
                      <a:pt x="351450" y="45942"/>
                      <a:pt x="346537" y="42121"/>
                      <a:pt x="341078" y="38846"/>
                    </a:cubicBezTo>
                    <a:cubicBezTo>
                      <a:pt x="329070" y="31750"/>
                      <a:pt x="314332" y="32296"/>
                      <a:pt x="302323" y="38300"/>
                    </a:cubicBezTo>
                    <a:cubicBezTo>
                      <a:pt x="257018" y="60134"/>
                      <a:pt x="217171" y="41576"/>
                      <a:pt x="217171" y="41576"/>
                    </a:cubicBezTo>
                    <a:cubicBezTo>
                      <a:pt x="202433" y="32296"/>
                      <a:pt x="188786" y="25200"/>
                      <a:pt x="175140" y="19741"/>
                    </a:cubicBezTo>
                    <a:cubicBezTo>
                      <a:pt x="119463" y="-3185"/>
                      <a:pt x="55599" y="5549"/>
                      <a:pt x="7018" y="40483"/>
                    </a:cubicBezTo>
                    <a:lnTo>
                      <a:pt x="7018" y="40483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9" name="Freihandform: Form 176">
                <a:extLst>
                  <a:ext uri="{FF2B5EF4-FFF2-40B4-BE49-F238E27FC236}">
                    <a16:creationId xmlns:a16="http://schemas.microsoft.com/office/drawing/2014/main" id="{2FCA1D6E-F1A4-7384-7056-3913E5F75F2E}"/>
                  </a:ext>
                </a:extLst>
              </p:cNvPr>
              <p:cNvSpPr/>
              <p:nvPr/>
            </p:nvSpPr>
            <p:spPr bwMode="gray">
              <a:xfrm>
                <a:off x="8855869" y="8898661"/>
                <a:ext cx="524017" cy="174672"/>
              </a:xfrm>
              <a:custGeom>
                <a:avLst/>
                <a:gdLst>
                  <a:gd name="connsiteX0" fmla="*/ 7018 w 524016"/>
                  <a:gd name="connsiteY0" fmla="*/ 169902 h 174672"/>
                  <a:gd name="connsiteX1" fmla="*/ 213895 w 524016"/>
                  <a:gd name="connsiteY1" fmla="*/ 162806 h 174672"/>
                  <a:gd name="connsiteX2" fmla="*/ 313786 w 524016"/>
                  <a:gd name="connsiteY2" fmla="*/ 140972 h 174672"/>
                  <a:gd name="connsiteX3" fmla="*/ 514113 w 524016"/>
                  <a:gd name="connsiteY3" fmla="*/ 35077 h 174672"/>
                  <a:gd name="connsiteX4" fmla="*/ 516842 w 524016"/>
                  <a:gd name="connsiteY4" fmla="*/ 23068 h 174672"/>
                  <a:gd name="connsiteX5" fmla="*/ 460620 w 524016"/>
                  <a:gd name="connsiteY5" fmla="*/ 9967 h 174672"/>
                  <a:gd name="connsiteX6" fmla="*/ 449703 w 524016"/>
                  <a:gd name="connsiteY6" fmla="*/ 13789 h 174672"/>
                  <a:gd name="connsiteX7" fmla="*/ 348720 w 524016"/>
                  <a:gd name="connsiteY7" fmla="*/ 56911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4016" h="174672">
                    <a:moveTo>
                      <a:pt x="7018" y="169902"/>
                    </a:moveTo>
                    <a:cubicBezTo>
                      <a:pt x="7018" y="169902"/>
                      <a:pt x="82345" y="155164"/>
                      <a:pt x="213895" y="162806"/>
                    </a:cubicBezTo>
                    <a:cubicBezTo>
                      <a:pt x="248830" y="164989"/>
                      <a:pt x="283218" y="156801"/>
                      <a:pt x="313786" y="140972"/>
                    </a:cubicBezTo>
                    <a:lnTo>
                      <a:pt x="514113" y="35077"/>
                    </a:lnTo>
                    <a:cubicBezTo>
                      <a:pt x="518480" y="32894"/>
                      <a:pt x="519572" y="26889"/>
                      <a:pt x="516842" y="23068"/>
                    </a:cubicBezTo>
                    <a:cubicBezTo>
                      <a:pt x="509746" y="13789"/>
                      <a:pt x="493371" y="1234"/>
                      <a:pt x="460620" y="9967"/>
                    </a:cubicBezTo>
                    <a:cubicBezTo>
                      <a:pt x="456799" y="11059"/>
                      <a:pt x="453524" y="12151"/>
                      <a:pt x="449703" y="13789"/>
                    </a:cubicBezTo>
                    <a:lnTo>
                      <a:pt x="348720" y="56911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0" name="Freihandform: Form 177">
                <a:extLst>
                  <a:ext uri="{FF2B5EF4-FFF2-40B4-BE49-F238E27FC236}">
                    <a16:creationId xmlns:a16="http://schemas.microsoft.com/office/drawing/2014/main" id="{53B74D0C-FE90-397B-49C4-A1B6B67483AC}"/>
                  </a:ext>
                </a:extLst>
              </p:cNvPr>
              <p:cNvSpPr/>
              <p:nvPr/>
            </p:nvSpPr>
            <p:spPr bwMode="gray">
              <a:xfrm>
                <a:off x="8779996" y="8918533"/>
                <a:ext cx="87336" cy="201965"/>
              </a:xfrm>
              <a:custGeom>
                <a:avLst/>
                <a:gdLst>
                  <a:gd name="connsiteX0" fmla="*/ 7018 w 87336"/>
                  <a:gd name="connsiteY0" fmla="*/ 198066 h 201964"/>
                  <a:gd name="connsiteX1" fmla="*/ 80708 w 87336"/>
                  <a:gd name="connsiteY1" fmla="*/ 198066 h 201964"/>
                  <a:gd name="connsiteX2" fmla="*/ 80708 w 87336"/>
                  <a:gd name="connsiteY2" fmla="*/ 7018 h 201964"/>
                  <a:gd name="connsiteX3" fmla="*/ 7018 w 87336"/>
                  <a:gd name="connsiteY3" fmla="*/ 7018 h 201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7336" h="201964">
                    <a:moveTo>
                      <a:pt x="7018" y="198066"/>
                    </a:moveTo>
                    <a:lnTo>
                      <a:pt x="80708" y="198066"/>
                    </a:lnTo>
                    <a:lnTo>
                      <a:pt x="80708" y="7018"/>
                    </a:lnTo>
                    <a:lnTo>
                      <a:pt x="7018" y="7018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1" name="Freihandform: Form 178">
                <a:extLst>
                  <a:ext uri="{FF2B5EF4-FFF2-40B4-BE49-F238E27FC236}">
                    <a16:creationId xmlns:a16="http://schemas.microsoft.com/office/drawing/2014/main" id="{16C34792-1994-48E2-F244-70B3A0605D5E}"/>
                  </a:ext>
                </a:extLst>
              </p:cNvPr>
              <p:cNvSpPr/>
              <p:nvPr/>
            </p:nvSpPr>
            <p:spPr bwMode="gray">
              <a:xfrm>
                <a:off x="8663730" y="8862855"/>
                <a:ext cx="125546" cy="311135"/>
              </a:xfrm>
              <a:custGeom>
                <a:avLst/>
                <a:gdLst>
                  <a:gd name="connsiteX0" fmla="*/ 7018 w 125545"/>
                  <a:gd name="connsiteY0" fmla="*/ 304507 h 311134"/>
                  <a:gd name="connsiteX1" fmla="*/ 123284 w 125545"/>
                  <a:gd name="connsiteY1" fmla="*/ 304507 h 311134"/>
                  <a:gd name="connsiteX2" fmla="*/ 123284 w 125545"/>
                  <a:gd name="connsiteY2" fmla="*/ 7018 h 311134"/>
                  <a:gd name="connsiteX3" fmla="*/ 7018 w 125545"/>
                  <a:gd name="connsiteY3" fmla="*/ 7018 h 311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5545" h="311134">
                    <a:moveTo>
                      <a:pt x="7018" y="304507"/>
                    </a:moveTo>
                    <a:lnTo>
                      <a:pt x="123284" y="304507"/>
                    </a:lnTo>
                    <a:lnTo>
                      <a:pt x="123284" y="7018"/>
                    </a:lnTo>
                    <a:lnTo>
                      <a:pt x="7018" y="7018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2" name="Freihandform: Form 179">
                <a:extLst>
                  <a:ext uri="{FF2B5EF4-FFF2-40B4-BE49-F238E27FC236}">
                    <a16:creationId xmlns:a16="http://schemas.microsoft.com/office/drawing/2014/main" id="{1FBA7514-9694-B559-D0BA-352095D8E010}"/>
                  </a:ext>
                </a:extLst>
              </p:cNvPr>
              <p:cNvSpPr/>
              <p:nvPr/>
            </p:nvSpPr>
            <p:spPr bwMode="gray">
              <a:xfrm>
                <a:off x="9052024" y="8745147"/>
                <a:ext cx="87336" cy="147380"/>
              </a:xfrm>
              <a:custGeom>
                <a:avLst/>
                <a:gdLst>
                  <a:gd name="connsiteX0" fmla="*/ 12282 w 87336"/>
                  <a:gd name="connsiteY0" fmla="*/ 107260 h 147379"/>
                  <a:gd name="connsiteX1" fmla="*/ 43941 w 87336"/>
                  <a:gd name="connsiteY1" fmla="*/ 138919 h 147379"/>
                  <a:gd name="connsiteX2" fmla="*/ 75601 w 87336"/>
                  <a:gd name="connsiteY2" fmla="*/ 107260 h 147379"/>
                  <a:gd name="connsiteX3" fmla="*/ 43941 w 87336"/>
                  <a:gd name="connsiteY3" fmla="*/ 75600 h 147379"/>
                  <a:gd name="connsiteX4" fmla="*/ 12282 w 87336"/>
                  <a:gd name="connsiteY4" fmla="*/ 43941 h 147379"/>
                  <a:gd name="connsiteX5" fmla="*/ 43941 w 87336"/>
                  <a:gd name="connsiteY5" fmla="*/ 12282 h 147379"/>
                  <a:gd name="connsiteX6" fmla="*/ 75601 w 87336"/>
                  <a:gd name="connsiteY6" fmla="*/ 43941 h 14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7336" h="147379">
                    <a:moveTo>
                      <a:pt x="12282" y="107260"/>
                    </a:moveTo>
                    <a:cubicBezTo>
                      <a:pt x="12282" y="124727"/>
                      <a:pt x="26474" y="138919"/>
                      <a:pt x="43941" y="138919"/>
                    </a:cubicBezTo>
                    <a:cubicBezTo>
                      <a:pt x="61408" y="138919"/>
                      <a:pt x="75601" y="124727"/>
                      <a:pt x="75601" y="107260"/>
                    </a:cubicBezTo>
                    <a:cubicBezTo>
                      <a:pt x="75601" y="89792"/>
                      <a:pt x="62500" y="81604"/>
                      <a:pt x="43941" y="75600"/>
                    </a:cubicBezTo>
                    <a:cubicBezTo>
                      <a:pt x="27565" y="70142"/>
                      <a:pt x="12282" y="61408"/>
                      <a:pt x="12282" y="43941"/>
                    </a:cubicBezTo>
                    <a:cubicBezTo>
                      <a:pt x="12282" y="26474"/>
                      <a:pt x="26474" y="12282"/>
                      <a:pt x="43941" y="12282"/>
                    </a:cubicBezTo>
                    <a:cubicBezTo>
                      <a:pt x="61408" y="12282"/>
                      <a:pt x="75601" y="26474"/>
                      <a:pt x="75601" y="4394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3" name="Freihandform: Form 180">
                <a:extLst>
                  <a:ext uri="{FF2B5EF4-FFF2-40B4-BE49-F238E27FC236}">
                    <a16:creationId xmlns:a16="http://schemas.microsoft.com/office/drawing/2014/main" id="{5378908A-3CD7-C218-E24B-66C8DAE0DD3F}"/>
                  </a:ext>
                </a:extLst>
              </p:cNvPr>
              <p:cNvSpPr/>
              <p:nvPr/>
            </p:nvSpPr>
            <p:spPr bwMode="gray">
              <a:xfrm>
                <a:off x="9083684" y="8727134"/>
                <a:ext cx="21834" cy="38210"/>
              </a:xfrm>
              <a:custGeom>
                <a:avLst/>
                <a:gdLst>
                  <a:gd name="connsiteX0" fmla="*/ 12282 w 21834"/>
                  <a:gd name="connsiteY0" fmla="*/ 12281 h 38209"/>
                  <a:gd name="connsiteX1" fmla="*/ 12282 w 21834"/>
                  <a:gd name="connsiteY1" fmla="*/ 30295 h 3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8209">
                    <a:moveTo>
                      <a:pt x="12282" y="12281"/>
                    </a:moveTo>
                    <a:lnTo>
                      <a:pt x="12282" y="3029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4" name="Freihandform: Form 181">
                <a:extLst>
                  <a:ext uri="{FF2B5EF4-FFF2-40B4-BE49-F238E27FC236}">
                    <a16:creationId xmlns:a16="http://schemas.microsoft.com/office/drawing/2014/main" id="{13B0C4FF-803B-28E0-E847-1C9AA02F20F8}"/>
                  </a:ext>
                </a:extLst>
              </p:cNvPr>
              <p:cNvSpPr/>
              <p:nvPr/>
            </p:nvSpPr>
            <p:spPr bwMode="gray">
              <a:xfrm>
                <a:off x="9083684" y="8871784"/>
                <a:ext cx="21834" cy="38210"/>
              </a:xfrm>
              <a:custGeom>
                <a:avLst/>
                <a:gdLst>
                  <a:gd name="connsiteX0" fmla="*/ 12282 w 21834"/>
                  <a:gd name="connsiteY0" fmla="*/ 12281 h 38209"/>
                  <a:gd name="connsiteX1" fmla="*/ 12282 w 21834"/>
                  <a:gd name="connsiteY1" fmla="*/ 29749 h 3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8209">
                    <a:moveTo>
                      <a:pt x="12282" y="12281"/>
                    </a:moveTo>
                    <a:lnTo>
                      <a:pt x="12282" y="2974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5" name="Freihandform: Form 182">
                <a:extLst>
                  <a:ext uri="{FF2B5EF4-FFF2-40B4-BE49-F238E27FC236}">
                    <a16:creationId xmlns:a16="http://schemas.microsoft.com/office/drawing/2014/main" id="{3D0AC06F-7936-238E-CC89-14ECA6136DA1}"/>
                  </a:ext>
                </a:extLst>
              </p:cNvPr>
              <p:cNvSpPr/>
              <p:nvPr/>
            </p:nvSpPr>
            <p:spPr bwMode="gray">
              <a:xfrm>
                <a:off x="9198858" y="8709121"/>
                <a:ext cx="103712" cy="229257"/>
              </a:xfrm>
              <a:custGeom>
                <a:avLst/>
                <a:gdLst>
                  <a:gd name="connsiteX0" fmla="*/ 64137 w 103711"/>
                  <a:gd name="connsiteY0" fmla="*/ 221888 h 229257"/>
                  <a:gd name="connsiteX1" fmla="*/ 85425 w 103711"/>
                  <a:gd name="connsiteY1" fmla="*/ 94705 h 229257"/>
                  <a:gd name="connsiteX2" fmla="*/ 12282 w 103711"/>
                  <a:gd name="connsiteY2" fmla="*/ 12282 h 229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3711" h="229257">
                    <a:moveTo>
                      <a:pt x="64137" y="221888"/>
                    </a:moveTo>
                    <a:cubicBezTo>
                      <a:pt x="87609" y="193504"/>
                      <a:pt x="108351" y="140011"/>
                      <a:pt x="85425" y="94705"/>
                    </a:cubicBezTo>
                    <a:cubicBezTo>
                      <a:pt x="70688" y="65775"/>
                      <a:pt x="47216" y="36845"/>
                      <a:pt x="12282" y="1228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6" name="Freihandform: Form 183">
                <a:extLst>
                  <a:ext uri="{FF2B5EF4-FFF2-40B4-BE49-F238E27FC236}">
                    <a16:creationId xmlns:a16="http://schemas.microsoft.com/office/drawing/2014/main" id="{4FBFF65C-FB3C-EC76-F17C-E16B054A1B36}"/>
                  </a:ext>
                </a:extLst>
              </p:cNvPr>
              <p:cNvSpPr/>
              <p:nvPr/>
            </p:nvSpPr>
            <p:spPr bwMode="gray">
              <a:xfrm>
                <a:off x="8883582" y="8708575"/>
                <a:ext cx="109170" cy="223799"/>
              </a:xfrm>
              <a:custGeom>
                <a:avLst/>
                <a:gdLst>
                  <a:gd name="connsiteX0" fmla="*/ 97209 w 109170"/>
                  <a:gd name="connsiteY0" fmla="*/ 12282 h 223798"/>
                  <a:gd name="connsiteX1" fmla="*/ 24065 w 109170"/>
                  <a:gd name="connsiteY1" fmla="*/ 94705 h 223798"/>
                  <a:gd name="connsiteX2" fmla="*/ 39895 w 109170"/>
                  <a:gd name="connsiteY2" fmla="*/ 214792 h 223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170" h="223798">
                    <a:moveTo>
                      <a:pt x="97209" y="12282"/>
                    </a:moveTo>
                    <a:cubicBezTo>
                      <a:pt x="61729" y="36845"/>
                      <a:pt x="38803" y="65775"/>
                      <a:pt x="24065" y="94705"/>
                    </a:cubicBezTo>
                    <a:cubicBezTo>
                      <a:pt x="2231" y="136735"/>
                      <a:pt x="12602" y="187500"/>
                      <a:pt x="39895" y="21479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7" name="Freihandform: Form 184">
                <a:extLst>
                  <a:ext uri="{FF2B5EF4-FFF2-40B4-BE49-F238E27FC236}">
                    <a16:creationId xmlns:a16="http://schemas.microsoft.com/office/drawing/2014/main" id="{8C6E00CB-1ED1-241B-EACC-B33DE9B81184}"/>
                  </a:ext>
                </a:extLst>
              </p:cNvPr>
              <p:cNvSpPr/>
              <p:nvPr/>
            </p:nvSpPr>
            <p:spPr bwMode="gray">
              <a:xfrm>
                <a:off x="8920474" y="8619055"/>
                <a:ext cx="349344" cy="114629"/>
              </a:xfrm>
              <a:custGeom>
                <a:avLst/>
                <a:gdLst>
                  <a:gd name="connsiteX0" fmla="*/ 12282 w 349344"/>
                  <a:gd name="connsiteY0" fmla="*/ 107260 h 114628"/>
                  <a:gd name="connsiteX1" fmla="*/ 12282 w 349344"/>
                  <a:gd name="connsiteY1" fmla="*/ 68504 h 114628"/>
                  <a:gd name="connsiteX2" fmla="*/ 68504 w 349344"/>
                  <a:gd name="connsiteY2" fmla="*/ 12282 h 114628"/>
                  <a:gd name="connsiteX3" fmla="*/ 281932 w 349344"/>
                  <a:gd name="connsiteY3" fmla="*/ 12282 h 114628"/>
                  <a:gd name="connsiteX4" fmla="*/ 338155 w 349344"/>
                  <a:gd name="connsiteY4" fmla="*/ 68504 h 114628"/>
                  <a:gd name="connsiteX5" fmla="*/ 338155 w 349344"/>
                  <a:gd name="connsiteY5" fmla="*/ 107260 h 11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9344" h="114628">
                    <a:moveTo>
                      <a:pt x="12282" y="107260"/>
                    </a:moveTo>
                    <a:lnTo>
                      <a:pt x="12282" y="68504"/>
                    </a:lnTo>
                    <a:cubicBezTo>
                      <a:pt x="12282" y="37391"/>
                      <a:pt x="37391" y="12282"/>
                      <a:pt x="68504" y="12282"/>
                    </a:cubicBezTo>
                    <a:lnTo>
                      <a:pt x="281932" y="12282"/>
                    </a:lnTo>
                    <a:cubicBezTo>
                      <a:pt x="313045" y="12282"/>
                      <a:pt x="338155" y="37391"/>
                      <a:pt x="338155" y="68504"/>
                    </a:cubicBezTo>
                    <a:lnTo>
                      <a:pt x="338155" y="10726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8" name="Freihandform: Form 185">
                <a:extLst>
                  <a:ext uri="{FF2B5EF4-FFF2-40B4-BE49-F238E27FC236}">
                    <a16:creationId xmlns:a16="http://schemas.microsoft.com/office/drawing/2014/main" id="{C0FD4CFA-44AF-109A-F6A6-B5DD4EC6FB80}"/>
                  </a:ext>
                </a:extLst>
              </p:cNvPr>
              <p:cNvSpPr/>
              <p:nvPr/>
            </p:nvSpPr>
            <p:spPr bwMode="gray">
              <a:xfrm>
                <a:off x="9030736" y="8525169"/>
                <a:ext cx="81878" cy="81878"/>
              </a:xfrm>
              <a:custGeom>
                <a:avLst/>
                <a:gdLst>
                  <a:gd name="connsiteX0" fmla="*/ 71234 w 81877"/>
                  <a:gd name="connsiteY0" fmla="*/ 41757 h 81877"/>
                  <a:gd name="connsiteX1" fmla="*/ 41758 w 81877"/>
                  <a:gd name="connsiteY1" fmla="*/ 71234 h 81877"/>
                  <a:gd name="connsiteX2" fmla="*/ 12281 w 81877"/>
                  <a:gd name="connsiteY2" fmla="*/ 41757 h 81877"/>
                  <a:gd name="connsiteX3" fmla="*/ 41758 w 81877"/>
                  <a:gd name="connsiteY3" fmla="*/ 12281 h 81877"/>
                  <a:gd name="connsiteX4" fmla="*/ 71234 w 81877"/>
                  <a:gd name="connsiteY4" fmla="*/ 41757 h 81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877" h="81877">
                    <a:moveTo>
                      <a:pt x="71234" y="41757"/>
                    </a:moveTo>
                    <a:cubicBezTo>
                      <a:pt x="71234" y="58036"/>
                      <a:pt x="58037" y="71234"/>
                      <a:pt x="41758" y="71234"/>
                    </a:cubicBezTo>
                    <a:cubicBezTo>
                      <a:pt x="25478" y="71234"/>
                      <a:pt x="12281" y="58037"/>
                      <a:pt x="12281" y="41757"/>
                    </a:cubicBezTo>
                    <a:cubicBezTo>
                      <a:pt x="12281" y="25479"/>
                      <a:pt x="25478" y="12281"/>
                      <a:pt x="41758" y="12281"/>
                    </a:cubicBezTo>
                    <a:cubicBezTo>
                      <a:pt x="58037" y="12281"/>
                      <a:pt x="71234" y="25478"/>
                      <a:pt x="71234" y="41757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9" name="Freihandform: Form 186">
                <a:extLst>
                  <a:ext uri="{FF2B5EF4-FFF2-40B4-BE49-F238E27FC236}">
                    <a16:creationId xmlns:a16="http://schemas.microsoft.com/office/drawing/2014/main" id="{131B7C5F-B3F2-6AC7-752E-5D9FFF694C9F}"/>
                  </a:ext>
                </a:extLst>
              </p:cNvPr>
              <p:cNvSpPr/>
              <p:nvPr/>
            </p:nvSpPr>
            <p:spPr bwMode="gray">
              <a:xfrm>
                <a:off x="9107155" y="8525169"/>
                <a:ext cx="49127" cy="81878"/>
              </a:xfrm>
              <a:custGeom>
                <a:avLst/>
                <a:gdLst>
                  <a:gd name="connsiteX0" fmla="*/ 12282 w 49126"/>
                  <a:gd name="connsiteY0" fmla="*/ 12282 h 81877"/>
                  <a:gd name="connsiteX1" fmla="*/ 41757 w 49126"/>
                  <a:gd name="connsiteY1" fmla="*/ 41758 h 81877"/>
                  <a:gd name="connsiteX2" fmla="*/ 12282 w 49126"/>
                  <a:gd name="connsiteY2" fmla="*/ 71234 h 81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126" h="81877">
                    <a:moveTo>
                      <a:pt x="12282" y="12282"/>
                    </a:moveTo>
                    <a:cubicBezTo>
                      <a:pt x="28657" y="12282"/>
                      <a:pt x="41757" y="25382"/>
                      <a:pt x="41757" y="41758"/>
                    </a:cubicBezTo>
                    <a:cubicBezTo>
                      <a:pt x="41757" y="58133"/>
                      <a:pt x="28657" y="71234"/>
                      <a:pt x="12282" y="71234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0" name="Freihandform: Form 187">
                <a:extLst>
                  <a:ext uri="{FF2B5EF4-FFF2-40B4-BE49-F238E27FC236}">
                    <a16:creationId xmlns:a16="http://schemas.microsoft.com/office/drawing/2014/main" id="{27B08D01-A4E2-B7EE-C6BD-32BB2313D96A}"/>
                  </a:ext>
                </a:extLst>
              </p:cNvPr>
              <p:cNvSpPr/>
              <p:nvPr/>
            </p:nvSpPr>
            <p:spPr bwMode="gray">
              <a:xfrm>
                <a:off x="8971784" y="8668728"/>
                <a:ext cx="245633" cy="21834"/>
              </a:xfrm>
              <a:custGeom>
                <a:avLst/>
                <a:gdLst>
                  <a:gd name="connsiteX0" fmla="*/ 12282 w 245632"/>
                  <a:gd name="connsiteY0" fmla="*/ 12282 h 21834"/>
                  <a:gd name="connsiteX1" fmla="*/ 236080 w 245632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632" h="21834">
                    <a:moveTo>
                      <a:pt x="12282" y="12282"/>
                    </a:moveTo>
                    <a:lnTo>
                      <a:pt x="236080" y="12282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7" name="Gruppieren 188">
              <a:extLst>
                <a:ext uri="{FF2B5EF4-FFF2-40B4-BE49-F238E27FC236}">
                  <a16:creationId xmlns:a16="http://schemas.microsoft.com/office/drawing/2014/main" id="{E5004FEF-1CB9-75AE-521A-250C7EEA12F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5505450" y="4751731"/>
              <a:ext cx="429848" cy="500110"/>
              <a:chOff x="3034366" y="4089085"/>
              <a:chExt cx="619260" cy="720479"/>
            </a:xfrm>
          </p:grpSpPr>
          <p:sp>
            <p:nvSpPr>
              <p:cNvPr id="28" name="Freihandform: Form 189">
                <a:extLst>
                  <a:ext uri="{FF2B5EF4-FFF2-40B4-BE49-F238E27FC236}">
                    <a16:creationId xmlns:a16="http://schemas.microsoft.com/office/drawing/2014/main" id="{72F8F7BA-E28E-ABA6-B7EB-E63B84C6EAAE}"/>
                  </a:ext>
                </a:extLst>
              </p:cNvPr>
              <p:cNvSpPr/>
              <p:nvPr/>
            </p:nvSpPr>
            <p:spPr bwMode="gray">
              <a:xfrm>
                <a:off x="3136154" y="4089085"/>
                <a:ext cx="420801" cy="420801"/>
              </a:xfrm>
              <a:custGeom>
                <a:avLst/>
                <a:gdLst>
                  <a:gd name="connsiteX0" fmla="*/ 585211 w 602722"/>
                  <a:gd name="connsiteY0" fmla="*/ 301768 h 602722"/>
                  <a:gd name="connsiteX1" fmla="*/ 301768 w 602722"/>
                  <a:gd name="connsiteY1" fmla="*/ 585211 h 602722"/>
                  <a:gd name="connsiteX2" fmla="*/ 18326 w 602722"/>
                  <a:gd name="connsiteY2" fmla="*/ 301768 h 602722"/>
                  <a:gd name="connsiteX3" fmla="*/ 301768 w 602722"/>
                  <a:gd name="connsiteY3" fmla="*/ 18326 h 602722"/>
                  <a:gd name="connsiteX4" fmla="*/ 585211 w 602722"/>
                  <a:gd name="connsiteY4" fmla="*/ 301768 h 602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2722" h="602722">
                    <a:moveTo>
                      <a:pt x="585211" y="301768"/>
                    </a:moveTo>
                    <a:cubicBezTo>
                      <a:pt x="585211" y="458309"/>
                      <a:pt x="458309" y="585211"/>
                      <a:pt x="301768" y="585211"/>
                    </a:cubicBezTo>
                    <a:cubicBezTo>
                      <a:pt x="145228" y="585211"/>
                      <a:pt x="18326" y="458309"/>
                      <a:pt x="18326" y="301768"/>
                    </a:cubicBezTo>
                    <a:cubicBezTo>
                      <a:pt x="18326" y="145227"/>
                      <a:pt x="145228" y="18326"/>
                      <a:pt x="301768" y="18326"/>
                    </a:cubicBezTo>
                    <a:cubicBezTo>
                      <a:pt x="458309" y="18326"/>
                      <a:pt x="585211" y="145227"/>
                      <a:pt x="585211" y="301768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9" name="Freihandform: Form 190">
                <a:extLst>
                  <a:ext uri="{FF2B5EF4-FFF2-40B4-BE49-F238E27FC236}">
                    <a16:creationId xmlns:a16="http://schemas.microsoft.com/office/drawing/2014/main" id="{9CDF5512-B185-06AD-4E3D-8F384B0E58B2}"/>
                  </a:ext>
                </a:extLst>
              </p:cNvPr>
              <p:cNvSpPr/>
              <p:nvPr/>
            </p:nvSpPr>
            <p:spPr bwMode="gray">
              <a:xfrm>
                <a:off x="3334045" y="4130028"/>
                <a:ext cx="181968" cy="181968"/>
              </a:xfrm>
              <a:custGeom>
                <a:avLst/>
                <a:gdLst>
                  <a:gd name="connsiteX0" fmla="*/ 243125 w 260636"/>
                  <a:gd name="connsiteY0" fmla="*/ 243125 h 260636"/>
                  <a:gd name="connsiteX1" fmla="*/ 18326 w 260636"/>
                  <a:gd name="connsiteY1" fmla="*/ 18326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0636" h="260636">
                    <a:moveTo>
                      <a:pt x="243125" y="243125"/>
                    </a:moveTo>
                    <a:cubicBezTo>
                      <a:pt x="243125" y="118508"/>
                      <a:pt x="142128" y="18326"/>
                      <a:pt x="18326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0" name="Freihandform: Form 191">
                <a:extLst>
                  <a:ext uri="{FF2B5EF4-FFF2-40B4-BE49-F238E27FC236}">
                    <a16:creationId xmlns:a16="http://schemas.microsoft.com/office/drawing/2014/main" id="{2343172D-0C97-9A4B-1DED-674410A0B3EF}"/>
                  </a:ext>
                </a:extLst>
              </p:cNvPr>
              <p:cNvSpPr/>
              <p:nvPr/>
            </p:nvSpPr>
            <p:spPr bwMode="gray">
              <a:xfrm>
                <a:off x="3305043" y="4484297"/>
                <a:ext cx="79611" cy="96670"/>
              </a:xfrm>
              <a:custGeom>
                <a:avLst/>
                <a:gdLst>
                  <a:gd name="connsiteX0" fmla="*/ 18326 w 114028"/>
                  <a:gd name="connsiteY0" fmla="*/ 18326 h 138463"/>
                  <a:gd name="connsiteX1" fmla="*/ 18326 w 114028"/>
                  <a:gd name="connsiteY1" fmla="*/ 121766 h 138463"/>
                  <a:gd name="connsiteX2" fmla="*/ 100589 w 114028"/>
                  <a:gd name="connsiteY2" fmla="*/ 121766 h 138463"/>
                  <a:gd name="connsiteX3" fmla="*/ 100589 w 114028"/>
                  <a:gd name="connsiteY3" fmla="*/ 18326 h 13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028" h="138463">
                    <a:moveTo>
                      <a:pt x="18326" y="18326"/>
                    </a:moveTo>
                    <a:lnTo>
                      <a:pt x="18326" y="121766"/>
                    </a:lnTo>
                    <a:lnTo>
                      <a:pt x="100589" y="121766"/>
                    </a:lnTo>
                    <a:lnTo>
                      <a:pt x="100589" y="1832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1" name="Freihandform: Form 192">
                <a:extLst>
                  <a:ext uri="{FF2B5EF4-FFF2-40B4-BE49-F238E27FC236}">
                    <a16:creationId xmlns:a16="http://schemas.microsoft.com/office/drawing/2014/main" id="{11CAEDF4-8D33-677C-7EF5-CC7CE800DD32}"/>
                  </a:ext>
                </a:extLst>
              </p:cNvPr>
              <p:cNvSpPr/>
              <p:nvPr/>
            </p:nvSpPr>
            <p:spPr bwMode="gray">
              <a:xfrm>
                <a:off x="3228844" y="4263661"/>
                <a:ext cx="90984" cy="119417"/>
              </a:xfrm>
              <a:custGeom>
                <a:avLst/>
                <a:gdLst>
                  <a:gd name="connsiteX0" fmla="*/ 18326 w 130318"/>
                  <a:gd name="connsiteY0" fmla="*/ 18326 h 171042"/>
                  <a:gd name="connsiteX1" fmla="*/ 118508 w 130318"/>
                  <a:gd name="connsiteY1" fmla="*/ 18326 h 171042"/>
                  <a:gd name="connsiteX2" fmla="*/ 118508 w 130318"/>
                  <a:gd name="connsiteY2" fmla="*/ 153531 h 171042"/>
                  <a:gd name="connsiteX3" fmla="*/ 18326 w 130318"/>
                  <a:gd name="connsiteY3" fmla="*/ 153531 h 17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171042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153531"/>
                    </a:lnTo>
                    <a:lnTo>
                      <a:pt x="18326" y="153531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2" name="Freihandform: Form 193">
                <a:extLst>
                  <a:ext uri="{FF2B5EF4-FFF2-40B4-BE49-F238E27FC236}">
                    <a16:creationId xmlns:a16="http://schemas.microsoft.com/office/drawing/2014/main" id="{F2C9E232-02AA-2DA4-F8F2-6365ABC0F283}"/>
                  </a:ext>
                </a:extLst>
              </p:cNvPr>
              <p:cNvSpPr/>
              <p:nvPr/>
            </p:nvSpPr>
            <p:spPr bwMode="gray">
              <a:xfrm>
                <a:off x="3298788" y="4215325"/>
                <a:ext cx="90984" cy="164909"/>
              </a:xfrm>
              <a:custGeom>
                <a:avLst/>
                <a:gdLst>
                  <a:gd name="connsiteX0" fmla="*/ 18326 w 130318"/>
                  <a:gd name="connsiteY0" fmla="*/ 18326 h 236201"/>
                  <a:gd name="connsiteX1" fmla="*/ 118508 w 130318"/>
                  <a:gd name="connsiteY1" fmla="*/ 18326 h 236201"/>
                  <a:gd name="connsiteX2" fmla="*/ 118508 w 130318"/>
                  <a:gd name="connsiteY2" fmla="*/ 221948 h 236201"/>
                  <a:gd name="connsiteX3" fmla="*/ 18326 w 130318"/>
                  <a:gd name="connsiteY3" fmla="*/ 221948 h 236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236201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221948"/>
                    </a:lnTo>
                    <a:lnTo>
                      <a:pt x="18326" y="221948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3" name="Freihandform: Form 194">
                <a:extLst>
                  <a:ext uri="{FF2B5EF4-FFF2-40B4-BE49-F238E27FC236}">
                    <a16:creationId xmlns:a16="http://schemas.microsoft.com/office/drawing/2014/main" id="{B9FC8572-16EA-F290-574B-6FE2E863EB33}"/>
                  </a:ext>
                </a:extLst>
              </p:cNvPr>
              <p:cNvSpPr/>
              <p:nvPr/>
            </p:nvSpPr>
            <p:spPr bwMode="gray">
              <a:xfrm>
                <a:off x="3368732" y="4263661"/>
                <a:ext cx="90984" cy="119417"/>
              </a:xfrm>
              <a:custGeom>
                <a:avLst/>
                <a:gdLst>
                  <a:gd name="connsiteX0" fmla="*/ 18326 w 130318"/>
                  <a:gd name="connsiteY0" fmla="*/ 18326 h 171042"/>
                  <a:gd name="connsiteX1" fmla="*/ 118508 w 130318"/>
                  <a:gd name="connsiteY1" fmla="*/ 18326 h 171042"/>
                  <a:gd name="connsiteX2" fmla="*/ 118508 w 130318"/>
                  <a:gd name="connsiteY2" fmla="*/ 153531 h 171042"/>
                  <a:gd name="connsiteX3" fmla="*/ 18326 w 130318"/>
                  <a:gd name="connsiteY3" fmla="*/ 153531 h 17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171042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153531"/>
                    </a:lnTo>
                    <a:lnTo>
                      <a:pt x="18326" y="153531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4" name="Freihandform: Form 195">
                <a:extLst>
                  <a:ext uri="{FF2B5EF4-FFF2-40B4-BE49-F238E27FC236}">
                    <a16:creationId xmlns:a16="http://schemas.microsoft.com/office/drawing/2014/main" id="{0900DC53-3944-D6C4-2848-0E08AEBBC72C}"/>
                  </a:ext>
                </a:extLst>
              </p:cNvPr>
              <p:cNvSpPr/>
              <p:nvPr/>
            </p:nvSpPr>
            <p:spPr bwMode="gray">
              <a:xfrm>
                <a:off x="3074740" y="4629302"/>
                <a:ext cx="56865" cy="62552"/>
              </a:xfrm>
              <a:custGeom>
                <a:avLst/>
                <a:gdLst>
                  <a:gd name="connsiteX0" fmla="*/ 69639 w 81448"/>
                  <a:gd name="connsiteY0" fmla="*/ 18326 h 89593"/>
                  <a:gd name="connsiteX1" fmla="*/ 18326 w 81448"/>
                  <a:gd name="connsiteY1" fmla="*/ 72897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69639" y="18326"/>
                    </a:moveTo>
                    <a:lnTo>
                      <a:pt x="18326" y="72897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5" name="Freihandform: Form 196">
                <a:extLst>
                  <a:ext uri="{FF2B5EF4-FFF2-40B4-BE49-F238E27FC236}">
                    <a16:creationId xmlns:a16="http://schemas.microsoft.com/office/drawing/2014/main" id="{EEC04866-8488-C1EF-9757-2E57FF6C13EC}"/>
                  </a:ext>
                </a:extLst>
              </p:cNvPr>
              <p:cNvSpPr/>
              <p:nvPr/>
            </p:nvSpPr>
            <p:spPr bwMode="gray">
              <a:xfrm>
                <a:off x="3143547" y="4629302"/>
                <a:ext cx="56865" cy="62552"/>
              </a:xfrm>
              <a:custGeom>
                <a:avLst/>
                <a:gdLst>
                  <a:gd name="connsiteX0" fmla="*/ 69639 w 81448"/>
                  <a:gd name="connsiteY0" fmla="*/ 72897 h 89593"/>
                  <a:gd name="connsiteX1" fmla="*/ 18326 w 81448"/>
                  <a:gd name="connsiteY1" fmla="*/ 18326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69639" y="72897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6" name="Freihandform: Form 197">
                <a:extLst>
                  <a:ext uri="{FF2B5EF4-FFF2-40B4-BE49-F238E27FC236}">
                    <a16:creationId xmlns:a16="http://schemas.microsoft.com/office/drawing/2014/main" id="{EADB51F9-8B32-68BF-6426-D6D59E515B47}"/>
                  </a:ext>
                </a:extLst>
              </p:cNvPr>
              <p:cNvSpPr/>
              <p:nvPr/>
            </p:nvSpPr>
            <p:spPr bwMode="gray">
              <a:xfrm>
                <a:off x="3212353" y="4627027"/>
                <a:ext cx="62552" cy="62552"/>
              </a:xfrm>
              <a:custGeom>
                <a:avLst/>
                <a:gdLst>
                  <a:gd name="connsiteX0" fmla="*/ 73711 w 89593"/>
                  <a:gd name="connsiteY0" fmla="*/ 18326 h 89593"/>
                  <a:gd name="connsiteX1" fmla="*/ 18326 w 89593"/>
                  <a:gd name="connsiteY1" fmla="*/ 76155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89593">
                    <a:moveTo>
                      <a:pt x="73711" y="18326"/>
                    </a:moveTo>
                    <a:lnTo>
                      <a:pt x="18326" y="7615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7" name="Freihandform: Form 198">
                <a:extLst>
                  <a:ext uri="{FF2B5EF4-FFF2-40B4-BE49-F238E27FC236}">
                    <a16:creationId xmlns:a16="http://schemas.microsoft.com/office/drawing/2014/main" id="{1EF7EDC9-6770-6D0B-71B1-9E2BE7B5327A}"/>
                  </a:ext>
                </a:extLst>
              </p:cNvPr>
              <p:cNvSpPr/>
              <p:nvPr/>
            </p:nvSpPr>
            <p:spPr bwMode="gray">
              <a:xfrm>
                <a:off x="3034366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4 w 97738"/>
                  <a:gd name="connsiteY1" fmla="*/ 86743 h 97738"/>
                  <a:gd name="connsiteX2" fmla="*/ 18326 w 97738"/>
                  <a:gd name="connsiteY2" fmla="*/ 52535 h 97738"/>
                  <a:gd name="connsiteX3" fmla="*/ 52534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4" y="86743"/>
                    </a:cubicBezTo>
                    <a:cubicBezTo>
                      <a:pt x="33641" y="86743"/>
                      <a:pt x="18326" y="71427"/>
                      <a:pt x="18326" y="52535"/>
                    </a:cubicBezTo>
                    <a:cubicBezTo>
                      <a:pt x="18326" y="33642"/>
                      <a:pt x="33641" y="18326"/>
                      <a:pt x="52534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8" name="Freihandform: Form 199">
                <a:extLst>
                  <a:ext uri="{FF2B5EF4-FFF2-40B4-BE49-F238E27FC236}">
                    <a16:creationId xmlns:a16="http://schemas.microsoft.com/office/drawing/2014/main" id="{C3183271-AB83-07D4-C2E5-E928AE7F49FD}"/>
                  </a:ext>
                </a:extLst>
              </p:cNvPr>
              <p:cNvSpPr/>
              <p:nvPr/>
            </p:nvSpPr>
            <p:spPr bwMode="gray">
              <a:xfrm>
                <a:off x="3103172" y="4588359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9" name="Freihandform: Form 200">
                <a:extLst>
                  <a:ext uri="{FF2B5EF4-FFF2-40B4-BE49-F238E27FC236}">
                    <a16:creationId xmlns:a16="http://schemas.microsoft.com/office/drawing/2014/main" id="{2D9F1285-D86D-07CA-7A2C-6CF98AD820F5}"/>
                  </a:ext>
                </a:extLst>
              </p:cNvPr>
              <p:cNvSpPr/>
              <p:nvPr/>
            </p:nvSpPr>
            <p:spPr bwMode="gray">
              <a:xfrm>
                <a:off x="3172548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18326 h 97738"/>
                  <a:gd name="connsiteX2" fmla="*/ 18326 w 97738"/>
                  <a:gd name="connsiteY2" fmla="*/ 52535 h 97738"/>
                  <a:gd name="connsiteX3" fmla="*/ 52535 w 97738"/>
                  <a:gd name="connsiteY3" fmla="*/ 86743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33801"/>
                      <a:pt x="71268" y="18326"/>
                      <a:pt x="52535" y="18326"/>
                    </a:cubicBezTo>
                    <a:cubicBezTo>
                      <a:pt x="33801" y="18326"/>
                      <a:pt x="18326" y="33801"/>
                      <a:pt x="18326" y="52535"/>
                    </a:cubicBezTo>
                    <a:cubicBezTo>
                      <a:pt x="18326" y="71268"/>
                      <a:pt x="33801" y="86743"/>
                      <a:pt x="52535" y="86743"/>
                    </a:cubicBezTo>
                    <a:cubicBezTo>
                      <a:pt x="71268" y="87558"/>
                      <a:pt x="86743" y="7208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0" name="Freihandform: Form 201">
                <a:extLst>
                  <a:ext uri="{FF2B5EF4-FFF2-40B4-BE49-F238E27FC236}">
                    <a16:creationId xmlns:a16="http://schemas.microsoft.com/office/drawing/2014/main" id="{E646A08B-1033-EBC5-790E-43BA5FCD94EA}"/>
                  </a:ext>
                </a:extLst>
              </p:cNvPr>
              <p:cNvSpPr/>
              <p:nvPr/>
            </p:nvSpPr>
            <p:spPr bwMode="gray">
              <a:xfrm>
                <a:off x="3283434" y="4556515"/>
                <a:ext cx="125103" cy="181968"/>
              </a:xfrm>
              <a:custGeom>
                <a:avLst/>
                <a:gdLst>
                  <a:gd name="connsiteX0" fmla="*/ 162491 w 179187"/>
                  <a:gd name="connsiteY0" fmla="*/ 242311 h 260636"/>
                  <a:gd name="connsiteX1" fmla="*/ 162491 w 179187"/>
                  <a:gd name="connsiteY1" fmla="*/ 44390 h 260636"/>
                  <a:gd name="connsiteX2" fmla="*/ 136427 w 179187"/>
                  <a:gd name="connsiteY2" fmla="*/ 18326 h 260636"/>
                  <a:gd name="connsiteX3" fmla="*/ 44390 w 179187"/>
                  <a:gd name="connsiteY3" fmla="*/ 18326 h 260636"/>
                  <a:gd name="connsiteX4" fmla="*/ 18326 w 179187"/>
                  <a:gd name="connsiteY4" fmla="*/ 44390 h 260636"/>
                  <a:gd name="connsiteX5" fmla="*/ 18326 w 179187"/>
                  <a:gd name="connsiteY5" fmla="*/ 242311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187" h="260636">
                    <a:moveTo>
                      <a:pt x="162491" y="242311"/>
                    </a:moveTo>
                    <a:lnTo>
                      <a:pt x="162491" y="44390"/>
                    </a:lnTo>
                    <a:cubicBezTo>
                      <a:pt x="162491" y="29729"/>
                      <a:pt x="151088" y="18326"/>
                      <a:pt x="136427" y="18326"/>
                    </a:cubicBezTo>
                    <a:lnTo>
                      <a:pt x="44390" y="18326"/>
                    </a:lnTo>
                    <a:cubicBezTo>
                      <a:pt x="29729" y="18326"/>
                      <a:pt x="18326" y="29729"/>
                      <a:pt x="18326" y="44390"/>
                    </a:cubicBezTo>
                    <a:lnTo>
                      <a:pt x="18326" y="242311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1" name="Freihandform: Form 202">
                <a:extLst>
                  <a:ext uri="{FF2B5EF4-FFF2-40B4-BE49-F238E27FC236}">
                    <a16:creationId xmlns:a16="http://schemas.microsoft.com/office/drawing/2014/main" id="{C283D8C7-B5E0-1406-382D-50B18E01D644}"/>
                  </a:ext>
                </a:extLst>
              </p:cNvPr>
              <p:cNvSpPr/>
              <p:nvPr/>
            </p:nvSpPr>
            <p:spPr bwMode="gray">
              <a:xfrm>
                <a:off x="3283434" y="4712894"/>
                <a:ext cx="125103" cy="96670"/>
              </a:xfrm>
              <a:custGeom>
                <a:avLst/>
                <a:gdLst>
                  <a:gd name="connsiteX0" fmla="*/ 18326 w 179187"/>
                  <a:gd name="connsiteY0" fmla="*/ 18326 h 138463"/>
                  <a:gd name="connsiteX1" fmla="*/ 18326 w 179187"/>
                  <a:gd name="connsiteY1" fmla="*/ 99775 h 138463"/>
                  <a:gd name="connsiteX2" fmla="*/ 44390 w 179187"/>
                  <a:gd name="connsiteY2" fmla="*/ 125839 h 138463"/>
                  <a:gd name="connsiteX3" fmla="*/ 136427 w 179187"/>
                  <a:gd name="connsiteY3" fmla="*/ 125839 h 138463"/>
                  <a:gd name="connsiteX4" fmla="*/ 162491 w 179187"/>
                  <a:gd name="connsiteY4" fmla="*/ 99775 h 138463"/>
                  <a:gd name="connsiteX5" fmla="*/ 162491 w 179187"/>
                  <a:gd name="connsiteY5" fmla="*/ 18326 h 13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187" h="138463">
                    <a:moveTo>
                      <a:pt x="18326" y="18326"/>
                    </a:moveTo>
                    <a:lnTo>
                      <a:pt x="18326" y="99775"/>
                    </a:lnTo>
                    <a:cubicBezTo>
                      <a:pt x="18326" y="114436"/>
                      <a:pt x="29729" y="125839"/>
                      <a:pt x="44390" y="125839"/>
                    </a:cubicBezTo>
                    <a:lnTo>
                      <a:pt x="136427" y="125839"/>
                    </a:lnTo>
                    <a:cubicBezTo>
                      <a:pt x="151088" y="125839"/>
                      <a:pt x="162491" y="114436"/>
                      <a:pt x="162491" y="99775"/>
                    </a:cubicBezTo>
                    <a:lnTo>
                      <a:pt x="162491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2" name="Freihandform: Form 203">
                <a:extLst>
                  <a:ext uri="{FF2B5EF4-FFF2-40B4-BE49-F238E27FC236}">
                    <a16:creationId xmlns:a16="http://schemas.microsoft.com/office/drawing/2014/main" id="{FA69EA19-FDF8-0603-CDED-9932D7F2EC60}"/>
                  </a:ext>
                </a:extLst>
              </p:cNvPr>
              <p:cNvSpPr/>
              <p:nvPr/>
            </p:nvSpPr>
            <p:spPr bwMode="gray">
              <a:xfrm>
                <a:off x="3556955" y="4629302"/>
                <a:ext cx="56865" cy="62552"/>
              </a:xfrm>
              <a:custGeom>
                <a:avLst/>
                <a:gdLst>
                  <a:gd name="connsiteX0" fmla="*/ 18326 w 81448"/>
                  <a:gd name="connsiteY0" fmla="*/ 18326 h 89593"/>
                  <a:gd name="connsiteX1" fmla="*/ 69639 w 81448"/>
                  <a:gd name="connsiteY1" fmla="*/ 72897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18326" y="18326"/>
                    </a:moveTo>
                    <a:lnTo>
                      <a:pt x="69639" y="72897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3" name="Freihandform: Form 204">
                <a:extLst>
                  <a:ext uri="{FF2B5EF4-FFF2-40B4-BE49-F238E27FC236}">
                    <a16:creationId xmlns:a16="http://schemas.microsoft.com/office/drawing/2014/main" id="{BC03D6E7-D08D-B45C-D28C-7CF8BA03C999}"/>
                  </a:ext>
                </a:extLst>
              </p:cNvPr>
              <p:cNvSpPr/>
              <p:nvPr/>
            </p:nvSpPr>
            <p:spPr bwMode="gray">
              <a:xfrm>
                <a:off x="3488148" y="4629302"/>
                <a:ext cx="56865" cy="62552"/>
              </a:xfrm>
              <a:custGeom>
                <a:avLst/>
                <a:gdLst>
                  <a:gd name="connsiteX0" fmla="*/ 18326 w 81448"/>
                  <a:gd name="connsiteY0" fmla="*/ 72897 h 89593"/>
                  <a:gd name="connsiteX1" fmla="*/ 69639 w 81448"/>
                  <a:gd name="connsiteY1" fmla="*/ 18326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18326" y="72897"/>
                    </a:moveTo>
                    <a:lnTo>
                      <a:pt x="69639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4" name="Freihandform: Form 205">
                <a:extLst>
                  <a:ext uri="{FF2B5EF4-FFF2-40B4-BE49-F238E27FC236}">
                    <a16:creationId xmlns:a16="http://schemas.microsoft.com/office/drawing/2014/main" id="{4AFE3C38-E252-EC11-E2CB-6E0D2B373E55}"/>
                  </a:ext>
                </a:extLst>
              </p:cNvPr>
              <p:cNvSpPr/>
              <p:nvPr/>
            </p:nvSpPr>
            <p:spPr bwMode="gray">
              <a:xfrm>
                <a:off x="3417067" y="4627027"/>
                <a:ext cx="62552" cy="62552"/>
              </a:xfrm>
              <a:custGeom>
                <a:avLst/>
                <a:gdLst>
                  <a:gd name="connsiteX0" fmla="*/ 18326 w 89593"/>
                  <a:gd name="connsiteY0" fmla="*/ 18326 h 89593"/>
                  <a:gd name="connsiteX1" fmla="*/ 72897 w 89593"/>
                  <a:gd name="connsiteY1" fmla="*/ 76155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89593">
                    <a:moveTo>
                      <a:pt x="18326" y="18326"/>
                    </a:moveTo>
                    <a:lnTo>
                      <a:pt x="72897" y="7615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5" name="Freihandform: Form 206">
                <a:extLst>
                  <a:ext uri="{FF2B5EF4-FFF2-40B4-BE49-F238E27FC236}">
                    <a16:creationId xmlns:a16="http://schemas.microsoft.com/office/drawing/2014/main" id="{FCC2BEEE-CC1F-E8BC-1B4F-F4E9B5949F5E}"/>
                  </a:ext>
                </a:extLst>
              </p:cNvPr>
              <p:cNvSpPr/>
              <p:nvPr/>
            </p:nvSpPr>
            <p:spPr bwMode="gray">
              <a:xfrm>
                <a:off x="3585388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6" name="Freihandform: Form 207">
                <a:extLst>
                  <a:ext uri="{FF2B5EF4-FFF2-40B4-BE49-F238E27FC236}">
                    <a16:creationId xmlns:a16="http://schemas.microsoft.com/office/drawing/2014/main" id="{7A16A5F0-0CCF-3BB3-A0A1-F92A40FA9A73}"/>
                  </a:ext>
                </a:extLst>
              </p:cNvPr>
              <p:cNvSpPr/>
              <p:nvPr/>
            </p:nvSpPr>
            <p:spPr bwMode="gray">
              <a:xfrm>
                <a:off x="3516581" y="4588359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7" name="Freihandform: Form 208">
                <a:extLst>
                  <a:ext uri="{FF2B5EF4-FFF2-40B4-BE49-F238E27FC236}">
                    <a16:creationId xmlns:a16="http://schemas.microsoft.com/office/drawing/2014/main" id="{353352E0-0648-06D3-1FB2-D72B4219458B}"/>
                  </a:ext>
                </a:extLst>
              </p:cNvPr>
              <p:cNvSpPr/>
              <p:nvPr/>
            </p:nvSpPr>
            <p:spPr bwMode="gray">
              <a:xfrm>
                <a:off x="3447774" y="4660578"/>
                <a:ext cx="68238" cy="68238"/>
              </a:xfrm>
              <a:custGeom>
                <a:avLst/>
                <a:gdLst>
                  <a:gd name="connsiteX0" fmla="*/ 18326 w 97738"/>
                  <a:gd name="connsiteY0" fmla="*/ 52535 h 97738"/>
                  <a:gd name="connsiteX1" fmla="*/ 52535 w 97738"/>
                  <a:gd name="connsiteY1" fmla="*/ 18326 h 97738"/>
                  <a:gd name="connsiteX2" fmla="*/ 86743 w 97738"/>
                  <a:gd name="connsiteY2" fmla="*/ 52535 h 97738"/>
                  <a:gd name="connsiteX3" fmla="*/ 52535 w 97738"/>
                  <a:gd name="connsiteY3" fmla="*/ 86743 h 97738"/>
                  <a:gd name="connsiteX4" fmla="*/ 18326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18326" y="52535"/>
                    </a:moveTo>
                    <a:cubicBezTo>
                      <a:pt x="18326" y="33801"/>
                      <a:pt x="33801" y="18326"/>
                      <a:pt x="52535" y="18326"/>
                    </a:cubicBezTo>
                    <a:cubicBezTo>
                      <a:pt x="71268" y="18326"/>
                      <a:pt x="86743" y="33801"/>
                      <a:pt x="86743" y="52535"/>
                    </a:cubicBezTo>
                    <a:cubicBezTo>
                      <a:pt x="86743" y="71268"/>
                      <a:pt x="71268" y="86743"/>
                      <a:pt x="52535" y="86743"/>
                    </a:cubicBezTo>
                    <a:cubicBezTo>
                      <a:pt x="32987" y="87558"/>
                      <a:pt x="18326" y="72082"/>
                      <a:pt x="18326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</p:grpSp>
      <p:sp>
        <p:nvSpPr>
          <p:cNvPr id="254" name="Gefaltete Ecke 50">
            <a:extLst>
              <a:ext uri="{FF2B5EF4-FFF2-40B4-BE49-F238E27FC236}">
                <a16:creationId xmlns:a16="http://schemas.microsoft.com/office/drawing/2014/main" id="{CB42A211-8E9A-E190-0313-140DE1F5E18E}"/>
              </a:ext>
            </a:extLst>
          </p:cNvPr>
          <p:cNvSpPr/>
          <p:nvPr/>
        </p:nvSpPr>
        <p:spPr bwMode="gray">
          <a:xfrm rot="21420000">
            <a:off x="7350127" y="1868979"/>
            <a:ext cx="958324" cy="665014"/>
          </a:xfrm>
          <a:prstGeom prst="foldedCorner">
            <a:avLst/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Protein ingredient suppliers</a:t>
            </a:r>
          </a:p>
        </p:txBody>
      </p:sp>
      <p:sp>
        <p:nvSpPr>
          <p:cNvPr id="255" name="Gefaltete Ecke 52">
            <a:extLst>
              <a:ext uri="{FF2B5EF4-FFF2-40B4-BE49-F238E27FC236}">
                <a16:creationId xmlns:a16="http://schemas.microsoft.com/office/drawing/2014/main" id="{6CC2F115-F322-EF8D-9603-0DAEA4B64358}"/>
              </a:ext>
            </a:extLst>
          </p:cNvPr>
          <p:cNvSpPr/>
          <p:nvPr/>
        </p:nvSpPr>
        <p:spPr bwMode="gray">
          <a:xfrm rot="21420000">
            <a:off x="3794872" y="1505341"/>
            <a:ext cx="1190360" cy="946681"/>
          </a:xfrm>
          <a:prstGeom prst="foldedCorner">
            <a:avLst/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high-quality insect protein powder that is nutritious, cost-effective, and innovative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2213C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3" name="Gefaltete Ecke 52">
            <a:extLst>
              <a:ext uri="{FF2B5EF4-FFF2-40B4-BE49-F238E27FC236}">
                <a16:creationId xmlns:a16="http://schemas.microsoft.com/office/drawing/2014/main" id="{BC988688-176B-B2F2-0FFC-0D67244E09CE}"/>
              </a:ext>
            </a:extLst>
          </p:cNvPr>
          <p:cNvSpPr/>
          <p:nvPr/>
        </p:nvSpPr>
        <p:spPr bwMode="gray">
          <a:xfrm rot="21420000">
            <a:off x="3773176" y="2521237"/>
            <a:ext cx="1414581" cy="946681"/>
          </a:xfrm>
          <a:prstGeom prst="foldedCorner">
            <a:avLst/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e ensure a consistent supply chain and scale up according to the needs of ingredient supplier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2213C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146" name="Freeform 8">
            <a:extLst>
              <a:ext uri="{FF2B5EF4-FFF2-40B4-BE49-F238E27FC236}">
                <a16:creationId xmlns:a16="http://schemas.microsoft.com/office/drawing/2014/main" id="{E74FF589-3ADB-4284-964F-A1358E2605E3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cxnSp>
        <p:nvCxnSpPr>
          <p:cNvPr id="148" name="Straight Arrow Connector 80">
            <a:extLst>
              <a:ext uri="{FF2B5EF4-FFF2-40B4-BE49-F238E27FC236}">
                <a16:creationId xmlns:a16="http://schemas.microsoft.com/office/drawing/2014/main" id="{2985BA61-DC47-4E93-9686-2143DEA3C6AD}"/>
              </a:ext>
            </a:extLst>
          </p:cNvPr>
          <p:cNvCxnSpPr>
            <a:cxnSpLocks/>
          </p:cNvCxnSpPr>
          <p:nvPr/>
        </p:nvCxnSpPr>
        <p:spPr>
          <a:xfrm>
            <a:off x="4248169" y="4139176"/>
            <a:ext cx="215844" cy="0"/>
          </a:xfrm>
          <a:prstGeom prst="straightConnector1">
            <a:avLst/>
          </a:prstGeom>
          <a:ln w="25400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reeform 7">
            <a:extLst>
              <a:ext uri="{FF2B5EF4-FFF2-40B4-BE49-F238E27FC236}">
                <a16:creationId xmlns:a16="http://schemas.microsoft.com/office/drawing/2014/main" id="{3465455D-7CC3-3039-A279-629C9EBEEB57}"/>
              </a:ext>
            </a:extLst>
          </p:cNvPr>
          <p:cNvSpPr/>
          <p:nvPr/>
        </p:nvSpPr>
        <p:spPr>
          <a:xfrm>
            <a:off x="6110909" y="460258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74811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6525379"/>
              </p:ext>
            </p:extLst>
          </p:nvPr>
        </p:nvGraphicFramePr>
        <p:xfrm>
          <a:off x="2844" y="119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1" imgH="298" progId="TCLayout.ActiveDocument.1">
                  <p:embed/>
                </p:oleObj>
              </mc:Choice>
              <mc:Fallback>
                <p:oleObj name="think-cell Folie" r:id="rId4" imgW="301" imgH="29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44" y="119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 vert="horz" lIns="81619" tIns="40809" rIns="81619" bIns="40809" rtlCol="0" anchor="ctr" anchorCtr="0">
            <a:noAutofit/>
          </a:bodyPr>
          <a:lstStyle/>
          <a:p>
            <a:r>
              <a:rPr lang="en-GB" dirty="0">
                <a:latin typeface="Titillium Web" panose="00000500000000000000" pitchFamily="2" charset="0"/>
              </a:rPr>
              <a:t>Business modelling (III) – production and delivery</a:t>
            </a:r>
          </a:p>
        </p:txBody>
      </p:sp>
      <p:grpSp>
        <p:nvGrpSpPr>
          <p:cNvPr id="7" name="Gruppieren 3">
            <a:extLst>
              <a:ext uri="{FF2B5EF4-FFF2-40B4-BE49-F238E27FC236}">
                <a16:creationId xmlns:a16="http://schemas.microsoft.com/office/drawing/2014/main" id="{2998ECC9-6620-0DF6-9458-F552575E687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52520" y="951945"/>
            <a:ext cx="8457909" cy="3642387"/>
            <a:chOff x="540001" y="1520825"/>
            <a:chExt cx="11109600" cy="4291189"/>
          </a:xfrm>
        </p:grpSpPr>
        <p:grpSp>
          <p:nvGrpSpPr>
            <p:cNvPr id="8" name="Gruppieren 42">
              <a:extLst>
                <a:ext uri="{FF2B5EF4-FFF2-40B4-BE49-F238E27FC236}">
                  <a16:creationId xmlns:a16="http://schemas.microsoft.com/office/drawing/2014/main" id="{BB61760B-2FE6-E903-AC4F-3F35416B8C7B}"/>
                </a:ext>
              </a:extLst>
            </p:cNvPr>
            <p:cNvGrpSpPr/>
            <p:nvPr/>
          </p:nvGrpSpPr>
          <p:grpSpPr bwMode="gray">
            <a:xfrm>
              <a:off x="540001" y="1520825"/>
              <a:ext cx="11109600" cy="4291189"/>
              <a:chOff x="540001" y="1520825"/>
              <a:chExt cx="11109600" cy="4291189"/>
            </a:xfrm>
          </p:grpSpPr>
          <p:sp>
            <p:nvSpPr>
              <p:cNvPr id="245" name="Rechteck 5">
                <a:extLst>
                  <a:ext uri="{FF2B5EF4-FFF2-40B4-BE49-F238E27FC236}">
                    <a16:creationId xmlns:a16="http://schemas.microsoft.com/office/drawing/2014/main" id="{29B99679-6A38-D2C8-6F13-A59B8E004371}"/>
                  </a:ext>
                </a:extLst>
              </p:cNvPr>
              <p:cNvSpPr/>
              <p:nvPr/>
            </p:nvSpPr>
            <p:spPr bwMode="gray">
              <a:xfrm>
                <a:off x="540001" y="1520827"/>
                <a:ext cx="2221920" cy="311584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6" name="Rechteck 6">
                <a:extLst>
                  <a:ext uri="{FF2B5EF4-FFF2-40B4-BE49-F238E27FC236}">
                    <a16:creationId xmlns:a16="http://schemas.microsoft.com/office/drawing/2014/main" id="{4543FDA3-43A9-4963-1214-E1AF0BB60BAC}"/>
                  </a:ext>
                </a:extLst>
              </p:cNvPr>
              <p:cNvSpPr/>
              <p:nvPr/>
            </p:nvSpPr>
            <p:spPr bwMode="gray">
              <a:xfrm>
                <a:off x="2761921" y="1520825"/>
                <a:ext cx="2221920" cy="1561497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7" name="Rechteck 7">
                <a:extLst>
                  <a:ext uri="{FF2B5EF4-FFF2-40B4-BE49-F238E27FC236}">
                    <a16:creationId xmlns:a16="http://schemas.microsoft.com/office/drawing/2014/main" id="{A4D87EF9-57A9-A2CF-205A-687EAEB1FA6A}"/>
                  </a:ext>
                </a:extLst>
              </p:cNvPr>
              <p:cNvSpPr/>
              <p:nvPr/>
            </p:nvSpPr>
            <p:spPr bwMode="gray">
              <a:xfrm>
                <a:off x="4983841" y="1520827"/>
                <a:ext cx="2221920" cy="3122991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8" name="Rechteck 8">
                <a:extLst>
                  <a:ext uri="{FF2B5EF4-FFF2-40B4-BE49-F238E27FC236}">
                    <a16:creationId xmlns:a16="http://schemas.microsoft.com/office/drawing/2014/main" id="{334A4B3B-E0C1-04DD-A956-1444910D32F5}"/>
                  </a:ext>
                </a:extLst>
              </p:cNvPr>
              <p:cNvSpPr/>
              <p:nvPr/>
            </p:nvSpPr>
            <p:spPr bwMode="gray">
              <a:xfrm>
                <a:off x="7205761" y="1520826"/>
                <a:ext cx="2221920" cy="156149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9" name="Rechteck 9">
                <a:extLst>
                  <a:ext uri="{FF2B5EF4-FFF2-40B4-BE49-F238E27FC236}">
                    <a16:creationId xmlns:a16="http://schemas.microsoft.com/office/drawing/2014/main" id="{3D3F8EA2-E5FE-4937-9CCB-55F416702B35}"/>
                  </a:ext>
                </a:extLst>
              </p:cNvPr>
              <p:cNvSpPr/>
              <p:nvPr/>
            </p:nvSpPr>
            <p:spPr bwMode="gray">
              <a:xfrm>
                <a:off x="2761918" y="3075176"/>
                <a:ext cx="2221920" cy="15686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0" name="Rechteck 10">
                <a:extLst>
                  <a:ext uri="{FF2B5EF4-FFF2-40B4-BE49-F238E27FC236}">
                    <a16:creationId xmlns:a16="http://schemas.microsoft.com/office/drawing/2014/main" id="{D5A5CD0C-5BDC-8846-EFD0-303083E4BEBD}"/>
                  </a:ext>
                </a:extLst>
              </p:cNvPr>
              <p:cNvSpPr/>
              <p:nvPr/>
            </p:nvSpPr>
            <p:spPr bwMode="gray">
              <a:xfrm>
                <a:off x="7205758" y="3075177"/>
                <a:ext cx="2221920" cy="1568641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b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7D7D7D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rPr>
                </a:b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1" name="Rechteck 11">
                <a:extLst>
                  <a:ext uri="{FF2B5EF4-FFF2-40B4-BE49-F238E27FC236}">
                    <a16:creationId xmlns:a16="http://schemas.microsoft.com/office/drawing/2014/main" id="{B89F1EBA-0A30-A68B-30F0-B588955E310F}"/>
                  </a:ext>
                </a:extLst>
              </p:cNvPr>
              <p:cNvSpPr/>
              <p:nvPr/>
            </p:nvSpPr>
            <p:spPr bwMode="gray">
              <a:xfrm>
                <a:off x="540001" y="4636672"/>
                <a:ext cx="5554796" cy="11753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2" name="Rechteck 12">
                <a:extLst>
                  <a:ext uri="{FF2B5EF4-FFF2-40B4-BE49-F238E27FC236}">
                    <a16:creationId xmlns:a16="http://schemas.microsoft.com/office/drawing/2014/main" id="{75FF3B54-D1D2-F839-F9BD-73BADFC07F04}"/>
                  </a:ext>
                </a:extLst>
              </p:cNvPr>
              <p:cNvSpPr/>
              <p:nvPr/>
            </p:nvSpPr>
            <p:spPr bwMode="gray">
              <a:xfrm>
                <a:off x="6094797" y="4636672"/>
                <a:ext cx="5554801" cy="11753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3" name="Rechteck 13">
                <a:extLst>
                  <a:ext uri="{FF2B5EF4-FFF2-40B4-BE49-F238E27FC236}">
                    <a16:creationId xmlns:a16="http://schemas.microsoft.com/office/drawing/2014/main" id="{2194A16D-8AE3-E215-1ADA-0B10D563845B}"/>
                  </a:ext>
                </a:extLst>
              </p:cNvPr>
              <p:cNvSpPr/>
              <p:nvPr/>
            </p:nvSpPr>
            <p:spPr bwMode="gray">
              <a:xfrm>
                <a:off x="9427681" y="1520825"/>
                <a:ext cx="2221920" cy="311584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sp>
          <p:nvSpPr>
            <p:cNvPr id="9" name="Rechteck 14">
              <a:extLst>
                <a:ext uri="{FF2B5EF4-FFF2-40B4-BE49-F238E27FC236}">
                  <a16:creationId xmlns:a16="http://schemas.microsoft.com/office/drawing/2014/main" id="{BD079CB0-E2A2-DA0B-5EB1-B95D100BAA82}"/>
                </a:ext>
              </a:extLst>
            </p:cNvPr>
            <p:cNvSpPr/>
            <p:nvPr/>
          </p:nvSpPr>
          <p:spPr bwMode="gray">
            <a:xfrm>
              <a:off x="2761918" y="3145019"/>
              <a:ext cx="14490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sources</a:t>
              </a:r>
            </a:p>
          </p:txBody>
        </p:sp>
        <p:sp>
          <p:nvSpPr>
            <p:cNvPr id="10" name="Rechteck 15">
              <a:extLst>
                <a:ext uri="{FF2B5EF4-FFF2-40B4-BE49-F238E27FC236}">
                  <a16:creationId xmlns:a16="http://schemas.microsoft.com/office/drawing/2014/main" id="{7BA8856D-5420-C368-7DD9-C47ADEAA5B1D}"/>
                </a:ext>
              </a:extLst>
            </p:cNvPr>
            <p:cNvSpPr/>
            <p:nvPr/>
          </p:nvSpPr>
          <p:spPr bwMode="gray">
            <a:xfrm>
              <a:off x="7205761" y="3145019"/>
              <a:ext cx="22219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hannels</a:t>
              </a:r>
            </a:p>
          </p:txBody>
        </p:sp>
        <p:sp>
          <p:nvSpPr>
            <p:cNvPr id="11" name="Rechteck 16">
              <a:extLst>
                <a:ext uri="{FF2B5EF4-FFF2-40B4-BE49-F238E27FC236}">
                  <a16:creationId xmlns:a16="http://schemas.microsoft.com/office/drawing/2014/main" id="{86F38D2B-FEF3-2625-8B0C-03A629D8C28F}"/>
                </a:ext>
              </a:extLst>
            </p:cNvPr>
            <p:cNvSpPr/>
            <p:nvPr/>
          </p:nvSpPr>
          <p:spPr bwMode="gray">
            <a:xfrm>
              <a:off x="540001" y="4699369"/>
              <a:ext cx="3940021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ost Structure</a:t>
              </a:r>
            </a:p>
          </p:txBody>
        </p:sp>
        <p:sp>
          <p:nvSpPr>
            <p:cNvPr id="12" name="Rechteck 17">
              <a:extLst>
                <a:ext uri="{FF2B5EF4-FFF2-40B4-BE49-F238E27FC236}">
                  <a16:creationId xmlns:a16="http://schemas.microsoft.com/office/drawing/2014/main" id="{8ED892FD-4591-51FB-E3F1-417C2404E242}"/>
                </a:ext>
              </a:extLst>
            </p:cNvPr>
            <p:cNvSpPr/>
            <p:nvPr/>
          </p:nvSpPr>
          <p:spPr bwMode="gray">
            <a:xfrm>
              <a:off x="540002" y="1681114"/>
              <a:ext cx="2221916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Partners</a:t>
              </a:r>
            </a:p>
          </p:txBody>
        </p:sp>
        <p:sp>
          <p:nvSpPr>
            <p:cNvPr id="13" name="Rechteck 18">
              <a:extLst>
                <a:ext uri="{FF2B5EF4-FFF2-40B4-BE49-F238E27FC236}">
                  <a16:creationId xmlns:a16="http://schemas.microsoft.com/office/drawing/2014/main" id="{AF3E3F5C-930B-B240-F48A-D0CA0A93C48A}"/>
                </a:ext>
              </a:extLst>
            </p:cNvPr>
            <p:cNvSpPr/>
            <p:nvPr/>
          </p:nvSpPr>
          <p:spPr bwMode="gray">
            <a:xfrm>
              <a:off x="2761922" y="1583524"/>
              <a:ext cx="171810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Activities</a:t>
              </a:r>
            </a:p>
          </p:txBody>
        </p:sp>
        <p:sp>
          <p:nvSpPr>
            <p:cNvPr id="14" name="Rechteck 36">
              <a:extLst>
                <a:ext uri="{FF2B5EF4-FFF2-40B4-BE49-F238E27FC236}">
                  <a16:creationId xmlns:a16="http://schemas.microsoft.com/office/drawing/2014/main" id="{3CDFEA71-8802-F28D-E415-258278335315}"/>
                </a:ext>
              </a:extLst>
            </p:cNvPr>
            <p:cNvSpPr/>
            <p:nvPr/>
          </p:nvSpPr>
          <p:spPr bwMode="gray">
            <a:xfrm>
              <a:off x="4983841" y="1583524"/>
              <a:ext cx="22219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Value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Proposition</a:t>
              </a:r>
            </a:p>
          </p:txBody>
        </p:sp>
        <p:sp>
          <p:nvSpPr>
            <p:cNvPr id="15" name="Rechteck 37">
              <a:extLst>
                <a:ext uri="{FF2B5EF4-FFF2-40B4-BE49-F238E27FC236}">
                  <a16:creationId xmlns:a16="http://schemas.microsoft.com/office/drawing/2014/main" id="{CB0FA039-C2BC-0F6A-B730-E151A08EB6C0}"/>
                </a:ext>
              </a:extLst>
            </p:cNvPr>
            <p:cNvSpPr/>
            <p:nvPr/>
          </p:nvSpPr>
          <p:spPr bwMode="gray">
            <a:xfrm>
              <a:off x="7205756" y="1593050"/>
              <a:ext cx="1870749" cy="425427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ustomer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lationships</a:t>
              </a:r>
            </a:p>
          </p:txBody>
        </p:sp>
        <p:sp>
          <p:nvSpPr>
            <p:cNvPr id="17" name="Rechteck 38">
              <a:extLst>
                <a:ext uri="{FF2B5EF4-FFF2-40B4-BE49-F238E27FC236}">
                  <a16:creationId xmlns:a16="http://schemas.microsoft.com/office/drawing/2014/main" id="{4C0631B0-48F3-EA53-7C65-99A10796C55A}"/>
                </a:ext>
              </a:extLst>
            </p:cNvPr>
            <p:cNvSpPr/>
            <p:nvPr/>
          </p:nvSpPr>
          <p:spPr bwMode="gray">
            <a:xfrm>
              <a:off x="9427677" y="1583525"/>
              <a:ext cx="1726278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ustomer Segments</a:t>
              </a:r>
            </a:p>
          </p:txBody>
        </p:sp>
        <p:sp>
          <p:nvSpPr>
            <p:cNvPr id="18" name="Rechteck 40">
              <a:extLst>
                <a:ext uri="{FF2B5EF4-FFF2-40B4-BE49-F238E27FC236}">
                  <a16:creationId xmlns:a16="http://schemas.microsoft.com/office/drawing/2014/main" id="{2979763C-6329-FFCA-A848-DCF7EDA66F10}"/>
                </a:ext>
              </a:extLst>
            </p:cNvPr>
            <p:cNvSpPr/>
            <p:nvPr/>
          </p:nvSpPr>
          <p:spPr bwMode="gray">
            <a:xfrm>
              <a:off x="6094761" y="4707509"/>
              <a:ext cx="3726112" cy="242770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venue Streams</a:t>
              </a:r>
            </a:p>
          </p:txBody>
        </p:sp>
        <p:grpSp>
          <p:nvGrpSpPr>
            <p:cNvPr id="19" name="Gruppieren 54">
              <a:extLst>
                <a:ext uri="{FF2B5EF4-FFF2-40B4-BE49-F238E27FC236}">
                  <a16:creationId xmlns:a16="http://schemas.microsoft.com/office/drawing/2014/main" id="{EA356240-292C-A36F-6DE3-38C405B92F5D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192510" y="1676645"/>
              <a:ext cx="364143" cy="363374"/>
              <a:chOff x="14842424" y="9461856"/>
              <a:chExt cx="783304" cy="781651"/>
            </a:xfrm>
          </p:grpSpPr>
          <p:sp>
            <p:nvSpPr>
              <p:cNvPr id="235" name="Freihandform: Form 55">
                <a:extLst>
                  <a:ext uri="{FF2B5EF4-FFF2-40B4-BE49-F238E27FC236}">
                    <a16:creationId xmlns:a16="http://schemas.microsoft.com/office/drawing/2014/main" id="{2E432B0A-F204-4999-11B6-D2AFEA6529A9}"/>
                  </a:ext>
                </a:extLst>
              </p:cNvPr>
              <p:cNvSpPr/>
              <p:nvPr/>
            </p:nvSpPr>
            <p:spPr bwMode="gray">
              <a:xfrm>
                <a:off x="15308630" y="9879019"/>
                <a:ext cx="260348" cy="363277"/>
              </a:xfrm>
              <a:custGeom>
                <a:avLst/>
                <a:gdLst>
                  <a:gd name="connsiteX0" fmla="*/ 338420 w 350230"/>
                  <a:gd name="connsiteY0" fmla="*/ 476883 h 488693"/>
                  <a:gd name="connsiteX1" fmla="*/ 314800 w 350230"/>
                  <a:gd name="connsiteY1" fmla="*/ 278963 h 488693"/>
                  <a:gd name="connsiteX2" fmla="*/ 255342 w 350230"/>
                  <a:gd name="connsiteY2" fmla="*/ 179595 h 488693"/>
                  <a:gd name="connsiteX3" fmla="*/ 197514 w 350230"/>
                  <a:gd name="connsiteY3" fmla="*/ 149459 h 488693"/>
                  <a:gd name="connsiteX4" fmla="*/ 47648 w 350230"/>
                  <a:gd name="connsiteY4" fmla="*/ 105476 h 488693"/>
                  <a:gd name="connsiteX5" fmla="*/ 38688 w 350230"/>
                  <a:gd name="connsiteY5" fmla="*/ 101404 h 488693"/>
                  <a:gd name="connsiteX6" fmla="*/ 24842 w 350230"/>
                  <a:gd name="connsiteY6" fmla="*/ 77784 h 488693"/>
                  <a:gd name="connsiteX7" fmla="*/ 18326 w 350230"/>
                  <a:gd name="connsiteY7" fmla="*/ 18326 h 488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0230" h="488693">
                    <a:moveTo>
                      <a:pt x="338420" y="476883"/>
                    </a:moveTo>
                    <a:lnTo>
                      <a:pt x="314800" y="278963"/>
                    </a:lnTo>
                    <a:cubicBezTo>
                      <a:pt x="306655" y="240681"/>
                      <a:pt x="286293" y="204844"/>
                      <a:pt x="255342" y="179595"/>
                    </a:cubicBezTo>
                    <a:cubicBezTo>
                      <a:pt x="235795" y="163305"/>
                      <a:pt x="216247" y="153532"/>
                      <a:pt x="197514" y="149459"/>
                    </a:cubicBezTo>
                    <a:lnTo>
                      <a:pt x="47648" y="105476"/>
                    </a:lnTo>
                    <a:cubicBezTo>
                      <a:pt x="44390" y="104662"/>
                      <a:pt x="41132" y="103033"/>
                      <a:pt x="38688" y="101404"/>
                    </a:cubicBezTo>
                    <a:cubicBezTo>
                      <a:pt x="30543" y="95702"/>
                      <a:pt x="25656" y="87558"/>
                      <a:pt x="24842" y="77784"/>
                    </a:cubicBez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6" name="Freihandform: Form 56">
                <a:extLst>
                  <a:ext uri="{FF2B5EF4-FFF2-40B4-BE49-F238E27FC236}">
                    <a16:creationId xmlns:a16="http://schemas.microsoft.com/office/drawing/2014/main" id="{9200E83E-A854-6B72-A5C6-5915E44D6FCE}"/>
                  </a:ext>
                </a:extLst>
              </p:cNvPr>
              <p:cNvSpPr/>
              <p:nvPr/>
            </p:nvSpPr>
            <p:spPr bwMode="gray">
              <a:xfrm>
                <a:off x="14896311" y="9674373"/>
                <a:ext cx="260348" cy="569134"/>
              </a:xfrm>
              <a:custGeom>
                <a:avLst/>
                <a:gdLst>
                  <a:gd name="connsiteX0" fmla="*/ 243125 w 350230"/>
                  <a:gd name="connsiteY0" fmla="*/ 18326 h 765619"/>
                  <a:gd name="connsiteX1" fmla="*/ 203215 w 350230"/>
                  <a:gd name="connsiteY1" fmla="*/ 86743 h 765619"/>
                  <a:gd name="connsiteX2" fmla="*/ 250455 w 350230"/>
                  <a:gd name="connsiteY2" fmla="*/ 156789 h 765619"/>
                  <a:gd name="connsiteX3" fmla="*/ 338420 w 350230"/>
                  <a:gd name="connsiteY3" fmla="*/ 295252 h 765619"/>
                  <a:gd name="connsiteX4" fmla="*/ 331904 w 350230"/>
                  <a:gd name="connsiteY4" fmla="*/ 354710 h 765619"/>
                  <a:gd name="connsiteX5" fmla="*/ 318058 w 350230"/>
                  <a:gd name="connsiteY5" fmla="*/ 378330 h 765619"/>
                  <a:gd name="connsiteX6" fmla="*/ 309099 w 350230"/>
                  <a:gd name="connsiteY6" fmla="*/ 382403 h 765619"/>
                  <a:gd name="connsiteX7" fmla="*/ 160047 w 350230"/>
                  <a:gd name="connsiteY7" fmla="*/ 425571 h 765619"/>
                  <a:gd name="connsiteX8" fmla="*/ 101404 w 350230"/>
                  <a:gd name="connsiteY8" fmla="*/ 456521 h 765619"/>
                  <a:gd name="connsiteX9" fmla="*/ 41946 w 350230"/>
                  <a:gd name="connsiteY9" fmla="*/ 555889 h 765619"/>
                  <a:gd name="connsiteX10" fmla="*/ 18326 w 350230"/>
                  <a:gd name="connsiteY10" fmla="*/ 753810 h 76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0230" h="765619">
                    <a:moveTo>
                      <a:pt x="243125" y="18326"/>
                    </a:moveTo>
                    <a:cubicBezTo>
                      <a:pt x="220319" y="24842"/>
                      <a:pt x="203215" y="52535"/>
                      <a:pt x="203215" y="86743"/>
                    </a:cubicBezTo>
                    <a:cubicBezTo>
                      <a:pt x="203215" y="124210"/>
                      <a:pt x="223577" y="154346"/>
                      <a:pt x="250455" y="156789"/>
                    </a:cubicBezTo>
                    <a:cubicBezTo>
                      <a:pt x="265116" y="213803"/>
                      <a:pt x="296067" y="262673"/>
                      <a:pt x="338420" y="295252"/>
                    </a:cubicBezTo>
                    <a:lnTo>
                      <a:pt x="331904" y="354710"/>
                    </a:lnTo>
                    <a:cubicBezTo>
                      <a:pt x="331090" y="364484"/>
                      <a:pt x="325389" y="372629"/>
                      <a:pt x="318058" y="378330"/>
                    </a:cubicBezTo>
                    <a:cubicBezTo>
                      <a:pt x="315615" y="379959"/>
                      <a:pt x="312357" y="381588"/>
                      <a:pt x="309099" y="382403"/>
                    </a:cubicBezTo>
                    <a:lnTo>
                      <a:pt x="160047" y="425571"/>
                    </a:lnTo>
                    <a:cubicBezTo>
                      <a:pt x="140499" y="429643"/>
                      <a:pt x="120952" y="440231"/>
                      <a:pt x="101404" y="456521"/>
                    </a:cubicBezTo>
                    <a:cubicBezTo>
                      <a:pt x="70454" y="481771"/>
                      <a:pt x="50091" y="516794"/>
                      <a:pt x="41946" y="555889"/>
                    </a:cubicBezTo>
                    <a:lnTo>
                      <a:pt x="18326" y="75381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7" name="Freihandform: Form 57">
                <a:extLst>
                  <a:ext uri="{FF2B5EF4-FFF2-40B4-BE49-F238E27FC236}">
                    <a16:creationId xmlns:a16="http://schemas.microsoft.com/office/drawing/2014/main" id="{8CD13A9C-D35C-4AAA-8DAF-99DBD9CE0862}"/>
                  </a:ext>
                </a:extLst>
              </p:cNvPr>
              <p:cNvSpPr/>
              <p:nvPr/>
            </p:nvSpPr>
            <p:spPr bwMode="gray">
              <a:xfrm>
                <a:off x="15308024" y="9674373"/>
                <a:ext cx="260348" cy="569134"/>
              </a:xfrm>
              <a:custGeom>
                <a:avLst/>
                <a:gdLst>
                  <a:gd name="connsiteX0" fmla="*/ 113621 w 350230"/>
                  <a:gd name="connsiteY0" fmla="*/ 18326 h 765619"/>
                  <a:gd name="connsiteX1" fmla="*/ 153531 w 350230"/>
                  <a:gd name="connsiteY1" fmla="*/ 86743 h 765619"/>
                  <a:gd name="connsiteX2" fmla="*/ 106291 w 350230"/>
                  <a:gd name="connsiteY2" fmla="*/ 156789 h 765619"/>
                  <a:gd name="connsiteX3" fmla="*/ 18326 w 350230"/>
                  <a:gd name="connsiteY3" fmla="*/ 295252 h 765619"/>
                  <a:gd name="connsiteX4" fmla="*/ 24842 w 350230"/>
                  <a:gd name="connsiteY4" fmla="*/ 354710 h 765619"/>
                  <a:gd name="connsiteX5" fmla="*/ 38688 w 350230"/>
                  <a:gd name="connsiteY5" fmla="*/ 378330 h 765619"/>
                  <a:gd name="connsiteX6" fmla="*/ 47648 w 350230"/>
                  <a:gd name="connsiteY6" fmla="*/ 382403 h 765619"/>
                  <a:gd name="connsiteX7" fmla="*/ 196699 w 350230"/>
                  <a:gd name="connsiteY7" fmla="*/ 425571 h 765619"/>
                  <a:gd name="connsiteX8" fmla="*/ 255342 w 350230"/>
                  <a:gd name="connsiteY8" fmla="*/ 456521 h 765619"/>
                  <a:gd name="connsiteX9" fmla="*/ 314800 w 350230"/>
                  <a:gd name="connsiteY9" fmla="*/ 555889 h 765619"/>
                  <a:gd name="connsiteX10" fmla="*/ 338420 w 350230"/>
                  <a:gd name="connsiteY10" fmla="*/ 753810 h 76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0230" h="765619">
                    <a:moveTo>
                      <a:pt x="113621" y="18326"/>
                    </a:moveTo>
                    <a:cubicBezTo>
                      <a:pt x="136427" y="24842"/>
                      <a:pt x="153531" y="52535"/>
                      <a:pt x="153531" y="86743"/>
                    </a:cubicBezTo>
                    <a:cubicBezTo>
                      <a:pt x="153531" y="124210"/>
                      <a:pt x="133169" y="154346"/>
                      <a:pt x="106291" y="156789"/>
                    </a:cubicBezTo>
                    <a:cubicBezTo>
                      <a:pt x="91630" y="213803"/>
                      <a:pt x="60680" y="262673"/>
                      <a:pt x="18326" y="295252"/>
                    </a:cubicBezTo>
                    <a:lnTo>
                      <a:pt x="24842" y="354710"/>
                    </a:lnTo>
                    <a:cubicBezTo>
                      <a:pt x="25657" y="364484"/>
                      <a:pt x="31358" y="372629"/>
                      <a:pt x="38688" y="378330"/>
                    </a:cubicBezTo>
                    <a:cubicBezTo>
                      <a:pt x="41132" y="379959"/>
                      <a:pt x="44390" y="381588"/>
                      <a:pt x="47648" y="382403"/>
                    </a:cubicBezTo>
                    <a:lnTo>
                      <a:pt x="196699" y="425571"/>
                    </a:lnTo>
                    <a:cubicBezTo>
                      <a:pt x="216247" y="429643"/>
                      <a:pt x="235795" y="440231"/>
                      <a:pt x="255342" y="456521"/>
                    </a:cubicBezTo>
                    <a:cubicBezTo>
                      <a:pt x="286293" y="481771"/>
                      <a:pt x="306655" y="516794"/>
                      <a:pt x="314800" y="555889"/>
                    </a:cubicBezTo>
                    <a:lnTo>
                      <a:pt x="338420" y="75381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8" name="Freihandform: Form 58">
                <a:extLst>
                  <a:ext uri="{FF2B5EF4-FFF2-40B4-BE49-F238E27FC236}">
                    <a16:creationId xmlns:a16="http://schemas.microsoft.com/office/drawing/2014/main" id="{3EB75069-3DF4-7F81-1426-B40FF4F96889}"/>
                  </a:ext>
                </a:extLst>
              </p:cNvPr>
              <p:cNvSpPr/>
              <p:nvPr/>
            </p:nvSpPr>
            <p:spPr bwMode="gray">
              <a:xfrm>
                <a:off x="15110644" y="9948042"/>
                <a:ext cx="248239" cy="90819"/>
              </a:xfrm>
              <a:custGeom>
                <a:avLst/>
                <a:gdLst>
                  <a:gd name="connsiteX0" fmla="*/ 316429 w 333940"/>
                  <a:gd name="connsiteY0" fmla="*/ 18326 h 122173"/>
                  <a:gd name="connsiteX1" fmla="*/ 258600 w 333940"/>
                  <a:gd name="connsiteY1" fmla="*/ 70453 h 122173"/>
                  <a:gd name="connsiteX2" fmla="*/ 76155 w 333940"/>
                  <a:gd name="connsiteY2" fmla="*/ 70453 h 122173"/>
                  <a:gd name="connsiteX3" fmla="*/ 18326 w 333940"/>
                  <a:gd name="connsiteY3" fmla="*/ 18326 h 122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3940" h="122173">
                    <a:moveTo>
                      <a:pt x="316429" y="18326"/>
                    </a:moveTo>
                    <a:lnTo>
                      <a:pt x="258600" y="70453"/>
                    </a:lnTo>
                    <a:cubicBezTo>
                      <a:pt x="206473" y="116879"/>
                      <a:pt x="128282" y="116879"/>
                      <a:pt x="76155" y="70453"/>
                    </a:cubicBez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9" name="Freihandform: Form 59">
                <a:extLst>
                  <a:ext uri="{FF2B5EF4-FFF2-40B4-BE49-F238E27FC236}">
                    <a16:creationId xmlns:a16="http://schemas.microsoft.com/office/drawing/2014/main" id="{EC1ADFB6-427F-7932-BBED-2347C79E7F89}"/>
                  </a:ext>
                </a:extLst>
              </p:cNvPr>
              <p:cNvSpPr/>
              <p:nvPr/>
            </p:nvSpPr>
            <p:spPr bwMode="gray">
              <a:xfrm>
                <a:off x="15062965" y="9461856"/>
                <a:ext cx="339058" cy="236130"/>
              </a:xfrm>
              <a:custGeom>
                <a:avLst/>
                <a:gdLst>
                  <a:gd name="connsiteX0" fmla="*/ 18935 w 456113"/>
                  <a:gd name="connsiteY0" fmla="*/ 304212 h 317650"/>
                  <a:gd name="connsiteX1" fmla="*/ 31967 w 456113"/>
                  <a:gd name="connsiteY1" fmla="*/ 179595 h 317650"/>
                  <a:gd name="connsiteX2" fmla="*/ 230702 w 456113"/>
                  <a:gd name="connsiteY2" fmla="*/ 18326 h 317650"/>
                  <a:gd name="connsiteX3" fmla="*/ 429437 w 456113"/>
                  <a:gd name="connsiteY3" fmla="*/ 179595 h 317650"/>
                  <a:gd name="connsiteX4" fmla="*/ 442469 w 456113"/>
                  <a:gd name="connsiteY4" fmla="*/ 304212 h 31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6113" h="317650">
                    <a:moveTo>
                      <a:pt x="18935" y="304212"/>
                    </a:moveTo>
                    <a:cubicBezTo>
                      <a:pt x="18935" y="304212"/>
                      <a:pt x="14048" y="236609"/>
                      <a:pt x="31967" y="179595"/>
                    </a:cubicBezTo>
                    <a:cubicBezTo>
                      <a:pt x="31967" y="179595"/>
                      <a:pt x="73506" y="18326"/>
                      <a:pt x="230702" y="18326"/>
                    </a:cubicBezTo>
                    <a:cubicBezTo>
                      <a:pt x="387899" y="18326"/>
                      <a:pt x="429437" y="179595"/>
                      <a:pt x="429437" y="179595"/>
                    </a:cubicBezTo>
                    <a:cubicBezTo>
                      <a:pt x="447356" y="235794"/>
                      <a:pt x="442469" y="304212"/>
                      <a:pt x="442469" y="30421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0" name="Freihandform: Form 60">
                <a:extLst>
                  <a:ext uri="{FF2B5EF4-FFF2-40B4-BE49-F238E27FC236}">
                    <a16:creationId xmlns:a16="http://schemas.microsoft.com/office/drawing/2014/main" id="{ECBC1AA2-6DDC-13ED-E042-C416E749651C}"/>
                  </a:ext>
                </a:extLst>
              </p:cNvPr>
              <p:cNvSpPr/>
              <p:nvPr/>
            </p:nvSpPr>
            <p:spPr bwMode="gray">
              <a:xfrm>
                <a:off x="15068867" y="9553854"/>
                <a:ext cx="314840" cy="84765"/>
              </a:xfrm>
              <a:custGeom>
                <a:avLst/>
                <a:gdLst>
                  <a:gd name="connsiteX0" fmla="*/ 18326 w 423534"/>
                  <a:gd name="connsiteY0" fmla="*/ 90045 h 114028"/>
                  <a:gd name="connsiteX1" fmla="*/ 228464 w 423534"/>
                  <a:gd name="connsiteY1" fmla="*/ 52578 h 114028"/>
                  <a:gd name="connsiteX2" fmla="*/ 407652 w 423534"/>
                  <a:gd name="connsiteY2" fmla="*/ 21628 h 11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23534" h="114028">
                    <a:moveTo>
                      <a:pt x="18326" y="90045"/>
                    </a:moveTo>
                    <a:cubicBezTo>
                      <a:pt x="62309" y="106335"/>
                      <a:pt x="129097" y="107149"/>
                      <a:pt x="228464" y="52578"/>
                    </a:cubicBezTo>
                    <a:cubicBezTo>
                      <a:pt x="288737" y="19184"/>
                      <a:pt x="352267" y="13483"/>
                      <a:pt x="407652" y="21628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1" name="Freihandform: Form 61">
                <a:extLst>
                  <a:ext uri="{FF2B5EF4-FFF2-40B4-BE49-F238E27FC236}">
                    <a16:creationId xmlns:a16="http://schemas.microsoft.com/office/drawing/2014/main" id="{8170D1CE-B681-9087-AA30-D4D4E1B36B89}"/>
                  </a:ext>
                </a:extLst>
              </p:cNvPr>
              <p:cNvSpPr/>
              <p:nvPr/>
            </p:nvSpPr>
            <p:spPr bwMode="gray">
              <a:xfrm>
                <a:off x="15407762" y="9713728"/>
                <a:ext cx="217966" cy="405659"/>
              </a:xfrm>
              <a:custGeom>
                <a:avLst/>
                <a:gdLst>
                  <a:gd name="connsiteX0" fmla="*/ 114656 w 293216"/>
                  <a:gd name="connsiteY0" fmla="*/ 18326 h 545707"/>
                  <a:gd name="connsiteX1" fmla="*/ 139905 w 293216"/>
                  <a:gd name="connsiteY1" fmla="*/ 90816 h 545707"/>
                  <a:gd name="connsiteX2" fmla="*/ 82076 w 293216"/>
                  <a:gd name="connsiteY2" fmla="*/ 148644 h 545707"/>
                  <a:gd name="connsiteX3" fmla="*/ 29949 w 293216"/>
                  <a:gd name="connsiteY3" fmla="*/ 222763 h 545707"/>
                  <a:gd name="connsiteX4" fmla="*/ 44610 w 293216"/>
                  <a:gd name="connsiteY4" fmla="*/ 270818 h 545707"/>
                  <a:gd name="connsiteX5" fmla="*/ 76375 w 293216"/>
                  <a:gd name="connsiteY5" fmla="*/ 281406 h 545707"/>
                  <a:gd name="connsiteX6" fmla="*/ 275925 w 293216"/>
                  <a:gd name="connsiteY6" fmla="*/ 515979 h 545707"/>
                  <a:gd name="connsiteX7" fmla="*/ 276739 w 293216"/>
                  <a:gd name="connsiteY7" fmla="*/ 528196 h 545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3216" h="545707">
                    <a:moveTo>
                      <a:pt x="114656" y="18326"/>
                    </a:moveTo>
                    <a:cubicBezTo>
                      <a:pt x="135833" y="28914"/>
                      <a:pt x="146421" y="58236"/>
                      <a:pt x="139905" y="90816"/>
                    </a:cubicBezTo>
                    <a:cubicBezTo>
                      <a:pt x="133389" y="126653"/>
                      <a:pt x="108140" y="151088"/>
                      <a:pt x="82076" y="148644"/>
                    </a:cubicBezTo>
                    <a:cubicBezTo>
                      <a:pt x="68230" y="177151"/>
                      <a:pt x="51126" y="201586"/>
                      <a:pt x="29949" y="222763"/>
                    </a:cubicBezTo>
                    <a:cubicBezTo>
                      <a:pt x="9587" y="243125"/>
                      <a:pt x="16917" y="261044"/>
                      <a:pt x="44610" y="270818"/>
                    </a:cubicBezTo>
                    <a:lnTo>
                      <a:pt x="76375" y="281406"/>
                    </a:lnTo>
                    <a:cubicBezTo>
                      <a:pt x="174928" y="313986"/>
                      <a:pt x="271038" y="366113"/>
                      <a:pt x="275925" y="515979"/>
                    </a:cubicBezTo>
                    <a:cubicBezTo>
                      <a:pt x="275925" y="520051"/>
                      <a:pt x="276739" y="524124"/>
                      <a:pt x="276739" y="52819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2" name="Freihandform: Form 62">
                <a:extLst>
                  <a:ext uri="{FF2B5EF4-FFF2-40B4-BE49-F238E27FC236}">
                    <a16:creationId xmlns:a16="http://schemas.microsoft.com/office/drawing/2014/main" id="{359D6000-0C72-02BC-A38F-1E0B4126CF2E}"/>
                  </a:ext>
                </a:extLst>
              </p:cNvPr>
              <p:cNvSpPr/>
              <p:nvPr/>
            </p:nvSpPr>
            <p:spPr bwMode="gray">
              <a:xfrm>
                <a:off x="15369176" y="9483047"/>
                <a:ext cx="145310" cy="254294"/>
              </a:xfrm>
              <a:custGeom>
                <a:avLst/>
                <a:gdLst>
                  <a:gd name="connsiteX0" fmla="*/ 166563 w 195477"/>
                  <a:gd name="connsiteY0" fmla="*/ 328646 h 342085"/>
                  <a:gd name="connsiteX1" fmla="*/ 177151 w 195477"/>
                  <a:gd name="connsiteY1" fmla="*/ 208102 h 342085"/>
                  <a:gd name="connsiteX2" fmla="*/ 18326 w 195477"/>
                  <a:gd name="connsiteY2" fmla="*/ 18326 h 342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5477" h="342085">
                    <a:moveTo>
                      <a:pt x="166563" y="328646"/>
                    </a:moveTo>
                    <a:cubicBezTo>
                      <a:pt x="166563" y="328646"/>
                      <a:pt x="183667" y="265116"/>
                      <a:pt x="177151" y="208102"/>
                    </a:cubicBezTo>
                    <a:cubicBezTo>
                      <a:pt x="177151" y="208102"/>
                      <a:pt x="167378" y="47647"/>
                      <a:pt x="18326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3" name="Freihandform: Form 63">
                <a:extLst>
                  <a:ext uri="{FF2B5EF4-FFF2-40B4-BE49-F238E27FC236}">
                    <a16:creationId xmlns:a16="http://schemas.microsoft.com/office/drawing/2014/main" id="{C7A9EB44-714D-665F-E32E-1CBB001A765F}"/>
                  </a:ext>
                </a:extLst>
              </p:cNvPr>
              <p:cNvSpPr/>
              <p:nvPr/>
            </p:nvSpPr>
            <p:spPr bwMode="gray">
              <a:xfrm>
                <a:off x="14842424" y="9713728"/>
                <a:ext cx="217966" cy="405659"/>
              </a:xfrm>
              <a:custGeom>
                <a:avLst/>
                <a:gdLst>
                  <a:gd name="connsiteX0" fmla="*/ 180409 w 293216"/>
                  <a:gd name="connsiteY0" fmla="*/ 18326 h 545707"/>
                  <a:gd name="connsiteX1" fmla="*/ 155160 w 293216"/>
                  <a:gd name="connsiteY1" fmla="*/ 90816 h 545707"/>
                  <a:gd name="connsiteX2" fmla="*/ 212989 w 293216"/>
                  <a:gd name="connsiteY2" fmla="*/ 148644 h 545707"/>
                  <a:gd name="connsiteX3" fmla="*/ 265116 w 293216"/>
                  <a:gd name="connsiteY3" fmla="*/ 222763 h 545707"/>
                  <a:gd name="connsiteX4" fmla="*/ 250455 w 293216"/>
                  <a:gd name="connsiteY4" fmla="*/ 270818 h 545707"/>
                  <a:gd name="connsiteX5" fmla="*/ 218690 w 293216"/>
                  <a:gd name="connsiteY5" fmla="*/ 281406 h 545707"/>
                  <a:gd name="connsiteX6" fmla="*/ 19141 w 293216"/>
                  <a:gd name="connsiteY6" fmla="*/ 515979 h 545707"/>
                  <a:gd name="connsiteX7" fmla="*/ 18326 w 293216"/>
                  <a:gd name="connsiteY7" fmla="*/ 528196 h 545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3216" h="545707">
                    <a:moveTo>
                      <a:pt x="180409" y="18326"/>
                    </a:moveTo>
                    <a:cubicBezTo>
                      <a:pt x="159233" y="28914"/>
                      <a:pt x="148644" y="58236"/>
                      <a:pt x="155160" y="90816"/>
                    </a:cubicBezTo>
                    <a:cubicBezTo>
                      <a:pt x="161676" y="126653"/>
                      <a:pt x="186925" y="151088"/>
                      <a:pt x="212989" y="148644"/>
                    </a:cubicBezTo>
                    <a:cubicBezTo>
                      <a:pt x="226835" y="177151"/>
                      <a:pt x="243940" y="201586"/>
                      <a:pt x="265116" y="222763"/>
                    </a:cubicBezTo>
                    <a:cubicBezTo>
                      <a:pt x="285479" y="243125"/>
                      <a:pt x="278148" y="261044"/>
                      <a:pt x="250455" y="270818"/>
                    </a:cubicBezTo>
                    <a:lnTo>
                      <a:pt x="218690" y="281406"/>
                    </a:lnTo>
                    <a:cubicBezTo>
                      <a:pt x="120137" y="313986"/>
                      <a:pt x="24028" y="366113"/>
                      <a:pt x="19141" y="515979"/>
                    </a:cubicBezTo>
                    <a:cubicBezTo>
                      <a:pt x="19141" y="520051"/>
                      <a:pt x="18326" y="524124"/>
                      <a:pt x="18326" y="52819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4" name="Freihandform: Form 64">
                <a:extLst>
                  <a:ext uri="{FF2B5EF4-FFF2-40B4-BE49-F238E27FC236}">
                    <a16:creationId xmlns:a16="http://schemas.microsoft.com/office/drawing/2014/main" id="{D7A659FD-5157-B195-1EA6-9E388E822EB2}"/>
                  </a:ext>
                </a:extLst>
              </p:cNvPr>
              <p:cNvSpPr/>
              <p:nvPr/>
            </p:nvSpPr>
            <p:spPr bwMode="gray">
              <a:xfrm>
                <a:off x="14953940" y="9483047"/>
                <a:ext cx="145310" cy="254294"/>
              </a:xfrm>
              <a:custGeom>
                <a:avLst/>
                <a:gdLst>
                  <a:gd name="connsiteX0" fmla="*/ 30395 w 195477"/>
                  <a:gd name="connsiteY0" fmla="*/ 328646 h 342085"/>
                  <a:gd name="connsiteX1" fmla="*/ 19806 w 195477"/>
                  <a:gd name="connsiteY1" fmla="*/ 208102 h 342085"/>
                  <a:gd name="connsiteX2" fmla="*/ 178632 w 195477"/>
                  <a:gd name="connsiteY2" fmla="*/ 18326 h 342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5477" h="342085">
                    <a:moveTo>
                      <a:pt x="30395" y="328646"/>
                    </a:moveTo>
                    <a:cubicBezTo>
                      <a:pt x="30395" y="328646"/>
                      <a:pt x="13291" y="265116"/>
                      <a:pt x="19806" y="208102"/>
                    </a:cubicBezTo>
                    <a:cubicBezTo>
                      <a:pt x="19806" y="208102"/>
                      <a:pt x="29580" y="47647"/>
                      <a:pt x="178632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0" name="Gruppieren 65">
              <a:extLst>
                <a:ext uri="{FF2B5EF4-FFF2-40B4-BE49-F238E27FC236}">
                  <a16:creationId xmlns:a16="http://schemas.microsoft.com/office/drawing/2014/main" id="{356953EF-CD1B-ABB7-D211-C189B0BD1A7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4483106" y="3209638"/>
              <a:ext cx="358756" cy="430343"/>
              <a:chOff x="9950269" y="7309727"/>
              <a:chExt cx="593871" cy="712373"/>
            </a:xfrm>
          </p:grpSpPr>
          <p:sp>
            <p:nvSpPr>
              <p:cNvPr id="120" name="Freihandform: Form 66">
                <a:extLst>
                  <a:ext uri="{FF2B5EF4-FFF2-40B4-BE49-F238E27FC236}">
                    <a16:creationId xmlns:a16="http://schemas.microsoft.com/office/drawing/2014/main" id="{8EE9B7E4-6E87-8BAE-256A-C441E3E84EBE}"/>
                  </a:ext>
                </a:extLst>
              </p:cNvPr>
              <p:cNvSpPr/>
              <p:nvPr/>
            </p:nvSpPr>
            <p:spPr bwMode="gray">
              <a:xfrm>
                <a:off x="10401133" y="7598991"/>
                <a:ext cx="43668" cy="136463"/>
              </a:xfrm>
              <a:custGeom>
                <a:avLst/>
                <a:gdLst>
                  <a:gd name="connsiteX0" fmla="*/ 12282 w 43668"/>
                  <a:gd name="connsiteY0" fmla="*/ 127456 h 136462"/>
                  <a:gd name="connsiteX1" fmla="*/ 12282 w 43668"/>
                  <a:gd name="connsiteY1" fmla="*/ 12282 h 136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668" h="136462">
                    <a:moveTo>
                      <a:pt x="12282" y="127456"/>
                    </a:moveTo>
                    <a:cubicBezTo>
                      <a:pt x="43941" y="95797"/>
                      <a:pt x="43941" y="43941"/>
                      <a:pt x="12282" y="1228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21" name="Freihandform: Form 67">
                <a:extLst>
                  <a:ext uri="{FF2B5EF4-FFF2-40B4-BE49-F238E27FC236}">
                    <a16:creationId xmlns:a16="http://schemas.microsoft.com/office/drawing/2014/main" id="{133ED818-C44E-ADF4-1C5C-B53A26330CE5}"/>
                  </a:ext>
                </a:extLst>
              </p:cNvPr>
              <p:cNvSpPr/>
              <p:nvPr/>
            </p:nvSpPr>
            <p:spPr bwMode="gray">
              <a:xfrm>
                <a:off x="9950269" y="7749175"/>
                <a:ext cx="294760" cy="272925"/>
              </a:xfrm>
              <a:custGeom>
                <a:avLst/>
                <a:gdLst>
                  <a:gd name="connsiteX0" fmla="*/ 175491 w 294759"/>
                  <a:gd name="connsiteY0" fmla="*/ 238729 h 272925"/>
                  <a:gd name="connsiteX1" fmla="*/ 186408 w 294759"/>
                  <a:gd name="connsiteY1" fmla="*/ 257834 h 272925"/>
                  <a:gd name="connsiteX2" fmla="*/ 207151 w 294759"/>
                  <a:gd name="connsiteY2" fmla="*/ 263293 h 272925"/>
                  <a:gd name="connsiteX3" fmla="*/ 227893 w 294759"/>
                  <a:gd name="connsiteY3" fmla="*/ 251284 h 272925"/>
                  <a:gd name="connsiteX4" fmla="*/ 233351 w 294759"/>
                  <a:gd name="connsiteY4" fmla="*/ 230542 h 272925"/>
                  <a:gd name="connsiteX5" fmla="*/ 222434 w 294759"/>
                  <a:gd name="connsiteY5" fmla="*/ 211983 h 272925"/>
                  <a:gd name="connsiteX6" fmla="*/ 248635 w 294759"/>
                  <a:gd name="connsiteY6" fmla="*/ 166131 h 272925"/>
                  <a:gd name="connsiteX7" fmla="*/ 270469 w 294759"/>
                  <a:gd name="connsiteY7" fmla="*/ 166131 h 272925"/>
                  <a:gd name="connsiteX8" fmla="*/ 285753 w 294759"/>
                  <a:gd name="connsiteY8" fmla="*/ 150847 h 272925"/>
                  <a:gd name="connsiteX9" fmla="*/ 285753 w 294759"/>
                  <a:gd name="connsiteY9" fmla="*/ 126830 h 272925"/>
                  <a:gd name="connsiteX10" fmla="*/ 270469 w 294759"/>
                  <a:gd name="connsiteY10" fmla="*/ 111546 h 272925"/>
                  <a:gd name="connsiteX11" fmla="*/ 248635 w 294759"/>
                  <a:gd name="connsiteY11" fmla="*/ 111546 h 272925"/>
                  <a:gd name="connsiteX12" fmla="*/ 222434 w 294759"/>
                  <a:gd name="connsiteY12" fmla="*/ 65695 h 272925"/>
                  <a:gd name="connsiteX13" fmla="*/ 233351 w 294759"/>
                  <a:gd name="connsiteY13" fmla="*/ 47136 h 272925"/>
                  <a:gd name="connsiteX14" fmla="*/ 227893 w 294759"/>
                  <a:gd name="connsiteY14" fmla="*/ 26393 h 272925"/>
                  <a:gd name="connsiteX15" fmla="*/ 207151 w 294759"/>
                  <a:gd name="connsiteY15" fmla="*/ 14385 h 272925"/>
                  <a:gd name="connsiteX16" fmla="*/ 186408 w 294759"/>
                  <a:gd name="connsiteY16" fmla="*/ 19843 h 272925"/>
                  <a:gd name="connsiteX17" fmla="*/ 175491 w 294759"/>
                  <a:gd name="connsiteY17" fmla="*/ 38948 h 272925"/>
                  <a:gd name="connsiteX18" fmla="*/ 122544 w 294759"/>
                  <a:gd name="connsiteY18" fmla="*/ 38948 h 272925"/>
                  <a:gd name="connsiteX19" fmla="*/ 111627 w 294759"/>
                  <a:gd name="connsiteY19" fmla="*/ 19843 h 272925"/>
                  <a:gd name="connsiteX20" fmla="*/ 90884 w 294759"/>
                  <a:gd name="connsiteY20" fmla="*/ 14385 h 272925"/>
                  <a:gd name="connsiteX21" fmla="*/ 70142 w 294759"/>
                  <a:gd name="connsiteY21" fmla="*/ 26393 h 272925"/>
                  <a:gd name="connsiteX22" fmla="*/ 64683 w 294759"/>
                  <a:gd name="connsiteY22" fmla="*/ 47136 h 272925"/>
                  <a:gd name="connsiteX23" fmla="*/ 75601 w 294759"/>
                  <a:gd name="connsiteY23" fmla="*/ 65695 h 272925"/>
                  <a:gd name="connsiteX24" fmla="*/ 49400 w 294759"/>
                  <a:gd name="connsiteY24" fmla="*/ 111546 h 272925"/>
                  <a:gd name="connsiteX25" fmla="*/ 27566 w 294759"/>
                  <a:gd name="connsiteY25" fmla="*/ 111546 h 272925"/>
                  <a:gd name="connsiteX26" fmla="*/ 12282 w 294759"/>
                  <a:gd name="connsiteY26" fmla="*/ 126830 h 272925"/>
                  <a:gd name="connsiteX27" fmla="*/ 12282 w 294759"/>
                  <a:gd name="connsiteY27" fmla="*/ 150847 h 272925"/>
                  <a:gd name="connsiteX28" fmla="*/ 27566 w 294759"/>
                  <a:gd name="connsiteY28" fmla="*/ 166131 h 272925"/>
                  <a:gd name="connsiteX29" fmla="*/ 49400 w 294759"/>
                  <a:gd name="connsiteY29" fmla="*/ 166131 h 272925"/>
                  <a:gd name="connsiteX30" fmla="*/ 75601 w 294759"/>
                  <a:gd name="connsiteY30" fmla="*/ 211983 h 272925"/>
                  <a:gd name="connsiteX31" fmla="*/ 64683 w 294759"/>
                  <a:gd name="connsiteY31" fmla="*/ 230542 h 272925"/>
                  <a:gd name="connsiteX32" fmla="*/ 70142 w 294759"/>
                  <a:gd name="connsiteY32" fmla="*/ 251284 h 272925"/>
                  <a:gd name="connsiteX33" fmla="*/ 90884 w 294759"/>
                  <a:gd name="connsiteY33" fmla="*/ 263293 h 272925"/>
                  <a:gd name="connsiteX34" fmla="*/ 111627 w 294759"/>
                  <a:gd name="connsiteY34" fmla="*/ 257834 h 272925"/>
                  <a:gd name="connsiteX35" fmla="*/ 122544 w 294759"/>
                  <a:gd name="connsiteY35" fmla="*/ 238729 h 272925"/>
                  <a:gd name="connsiteX36" fmla="*/ 175491 w 294759"/>
                  <a:gd name="connsiteY36" fmla="*/ 238729 h 27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94759" h="272925">
                    <a:moveTo>
                      <a:pt x="175491" y="238729"/>
                    </a:moveTo>
                    <a:lnTo>
                      <a:pt x="186408" y="257834"/>
                    </a:lnTo>
                    <a:cubicBezTo>
                      <a:pt x="190775" y="264930"/>
                      <a:pt x="200054" y="267659"/>
                      <a:pt x="207151" y="263293"/>
                    </a:cubicBezTo>
                    <a:lnTo>
                      <a:pt x="227893" y="251284"/>
                    </a:lnTo>
                    <a:cubicBezTo>
                      <a:pt x="234989" y="246917"/>
                      <a:pt x="237718" y="237638"/>
                      <a:pt x="233351" y="230542"/>
                    </a:cubicBezTo>
                    <a:lnTo>
                      <a:pt x="222434" y="211983"/>
                    </a:lnTo>
                    <a:cubicBezTo>
                      <a:pt x="235535" y="198882"/>
                      <a:pt x="244268" y="183053"/>
                      <a:pt x="248635" y="166131"/>
                    </a:cubicBezTo>
                    <a:lnTo>
                      <a:pt x="270469" y="166131"/>
                    </a:lnTo>
                    <a:cubicBezTo>
                      <a:pt x="278657" y="166131"/>
                      <a:pt x="285753" y="159581"/>
                      <a:pt x="285753" y="150847"/>
                    </a:cubicBezTo>
                    <a:lnTo>
                      <a:pt x="285753" y="126830"/>
                    </a:lnTo>
                    <a:cubicBezTo>
                      <a:pt x="285753" y="118642"/>
                      <a:pt x="279203" y="111546"/>
                      <a:pt x="270469" y="111546"/>
                    </a:cubicBezTo>
                    <a:lnTo>
                      <a:pt x="248635" y="111546"/>
                    </a:lnTo>
                    <a:cubicBezTo>
                      <a:pt x="244268" y="94625"/>
                      <a:pt x="235535" y="78795"/>
                      <a:pt x="222434" y="65695"/>
                    </a:cubicBezTo>
                    <a:lnTo>
                      <a:pt x="233351" y="47136"/>
                    </a:lnTo>
                    <a:cubicBezTo>
                      <a:pt x="237718" y="40040"/>
                      <a:pt x="234989" y="30760"/>
                      <a:pt x="227893" y="26393"/>
                    </a:cubicBezTo>
                    <a:lnTo>
                      <a:pt x="207151" y="14385"/>
                    </a:lnTo>
                    <a:cubicBezTo>
                      <a:pt x="200054" y="10018"/>
                      <a:pt x="190775" y="12747"/>
                      <a:pt x="186408" y="19843"/>
                    </a:cubicBezTo>
                    <a:lnTo>
                      <a:pt x="175491" y="38948"/>
                    </a:lnTo>
                    <a:cubicBezTo>
                      <a:pt x="158024" y="34581"/>
                      <a:pt x="140011" y="34581"/>
                      <a:pt x="122544" y="38948"/>
                    </a:cubicBezTo>
                    <a:lnTo>
                      <a:pt x="111627" y="19843"/>
                    </a:lnTo>
                    <a:cubicBezTo>
                      <a:pt x="107260" y="12747"/>
                      <a:pt x="97980" y="10018"/>
                      <a:pt x="90884" y="14385"/>
                    </a:cubicBezTo>
                    <a:lnTo>
                      <a:pt x="70142" y="26393"/>
                    </a:lnTo>
                    <a:cubicBezTo>
                      <a:pt x="63046" y="30760"/>
                      <a:pt x="60317" y="40040"/>
                      <a:pt x="64683" y="47136"/>
                    </a:cubicBezTo>
                    <a:lnTo>
                      <a:pt x="75601" y="65695"/>
                    </a:lnTo>
                    <a:cubicBezTo>
                      <a:pt x="62500" y="78795"/>
                      <a:pt x="53766" y="94625"/>
                      <a:pt x="49400" y="111546"/>
                    </a:cubicBezTo>
                    <a:lnTo>
                      <a:pt x="27566" y="111546"/>
                    </a:lnTo>
                    <a:cubicBezTo>
                      <a:pt x="19378" y="111546"/>
                      <a:pt x="12282" y="118096"/>
                      <a:pt x="12282" y="126830"/>
                    </a:cubicBezTo>
                    <a:lnTo>
                      <a:pt x="12282" y="150847"/>
                    </a:lnTo>
                    <a:cubicBezTo>
                      <a:pt x="12282" y="159035"/>
                      <a:pt x="18832" y="166131"/>
                      <a:pt x="27566" y="166131"/>
                    </a:cubicBezTo>
                    <a:lnTo>
                      <a:pt x="49400" y="166131"/>
                    </a:lnTo>
                    <a:cubicBezTo>
                      <a:pt x="53766" y="183053"/>
                      <a:pt x="62500" y="198882"/>
                      <a:pt x="75601" y="211983"/>
                    </a:cubicBezTo>
                    <a:lnTo>
                      <a:pt x="64683" y="230542"/>
                    </a:lnTo>
                    <a:cubicBezTo>
                      <a:pt x="60317" y="237638"/>
                      <a:pt x="63046" y="246917"/>
                      <a:pt x="70142" y="251284"/>
                    </a:cubicBezTo>
                    <a:lnTo>
                      <a:pt x="90884" y="263293"/>
                    </a:lnTo>
                    <a:cubicBezTo>
                      <a:pt x="97980" y="267659"/>
                      <a:pt x="107260" y="264930"/>
                      <a:pt x="111627" y="257834"/>
                    </a:cubicBezTo>
                    <a:lnTo>
                      <a:pt x="122544" y="238729"/>
                    </a:lnTo>
                    <a:cubicBezTo>
                      <a:pt x="140011" y="243096"/>
                      <a:pt x="158024" y="243096"/>
                      <a:pt x="175491" y="238729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0" name="Freihandform: Form 68">
                <a:extLst>
                  <a:ext uri="{FF2B5EF4-FFF2-40B4-BE49-F238E27FC236}">
                    <a16:creationId xmlns:a16="http://schemas.microsoft.com/office/drawing/2014/main" id="{81380F0C-1798-15F3-DACC-7AC3EFFABE04}"/>
                  </a:ext>
                </a:extLst>
              </p:cNvPr>
              <p:cNvSpPr/>
              <p:nvPr/>
            </p:nvSpPr>
            <p:spPr bwMode="gray">
              <a:xfrm>
                <a:off x="10156587" y="7488828"/>
                <a:ext cx="387553" cy="360261"/>
              </a:xfrm>
              <a:custGeom>
                <a:avLst/>
                <a:gdLst>
                  <a:gd name="connsiteX0" fmla="*/ 230622 w 387553"/>
                  <a:gd name="connsiteY0" fmla="*/ 313492 h 360261"/>
                  <a:gd name="connsiteX1" fmla="*/ 245360 w 387553"/>
                  <a:gd name="connsiteY1" fmla="*/ 338601 h 360261"/>
                  <a:gd name="connsiteX2" fmla="*/ 273198 w 387553"/>
                  <a:gd name="connsiteY2" fmla="*/ 346243 h 360261"/>
                  <a:gd name="connsiteX3" fmla="*/ 301037 w 387553"/>
                  <a:gd name="connsiteY3" fmla="*/ 330413 h 360261"/>
                  <a:gd name="connsiteX4" fmla="*/ 308678 w 387553"/>
                  <a:gd name="connsiteY4" fmla="*/ 302575 h 360261"/>
                  <a:gd name="connsiteX5" fmla="*/ 294486 w 387553"/>
                  <a:gd name="connsiteY5" fmla="*/ 277465 h 360261"/>
                  <a:gd name="connsiteX6" fmla="*/ 329421 w 387553"/>
                  <a:gd name="connsiteY6" fmla="*/ 216876 h 360261"/>
                  <a:gd name="connsiteX7" fmla="*/ 358351 w 387553"/>
                  <a:gd name="connsiteY7" fmla="*/ 216876 h 360261"/>
                  <a:gd name="connsiteX8" fmla="*/ 378547 w 387553"/>
                  <a:gd name="connsiteY8" fmla="*/ 196679 h 360261"/>
                  <a:gd name="connsiteX9" fmla="*/ 378547 w 387553"/>
                  <a:gd name="connsiteY9" fmla="*/ 164474 h 360261"/>
                  <a:gd name="connsiteX10" fmla="*/ 358351 w 387553"/>
                  <a:gd name="connsiteY10" fmla="*/ 144278 h 360261"/>
                  <a:gd name="connsiteX11" fmla="*/ 329421 w 387553"/>
                  <a:gd name="connsiteY11" fmla="*/ 144278 h 360261"/>
                  <a:gd name="connsiteX12" fmla="*/ 294486 w 387553"/>
                  <a:gd name="connsiteY12" fmla="*/ 83688 h 360261"/>
                  <a:gd name="connsiteX13" fmla="*/ 308678 w 387553"/>
                  <a:gd name="connsiteY13" fmla="*/ 58579 h 360261"/>
                  <a:gd name="connsiteX14" fmla="*/ 301037 w 387553"/>
                  <a:gd name="connsiteY14" fmla="*/ 30741 h 360261"/>
                  <a:gd name="connsiteX15" fmla="*/ 273198 w 387553"/>
                  <a:gd name="connsiteY15" fmla="*/ 14911 h 360261"/>
                  <a:gd name="connsiteX16" fmla="*/ 245360 w 387553"/>
                  <a:gd name="connsiteY16" fmla="*/ 22553 h 360261"/>
                  <a:gd name="connsiteX17" fmla="*/ 230622 w 387553"/>
                  <a:gd name="connsiteY17" fmla="*/ 47662 h 360261"/>
                  <a:gd name="connsiteX18" fmla="*/ 160207 w 387553"/>
                  <a:gd name="connsiteY18" fmla="*/ 47662 h 360261"/>
                  <a:gd name="connsiteX19" fmla="*/ 145469 w 387553"/>
                  <a:gd name="connsiteY19" fmla="*/ 22553 h 360261"/>
                  <a:gd name="connsiteX20" fmla="*/ 117630 w 387553"/>
                  <a:gd name="connsiteY20" fmla="*/ 14911 h 360261"/>
                  <a:gd name="connsiteX21" fmla="*/ 89792 w 387553"/>
                  <a:gd name="connsiteY21" fmla="*/ 30741 h 360261"/>
                  <a:gd name="connsiteX22" fmla="*/ 82150 w 387553"/>
                  <a:gd name="connsiteY22" fmla="*/ 58579 h 360261"/>
                  <a:gd name="connsiteX23" fmla="*/ 96343 w 387553"/>
                  <a:gd name="connsiteY23" fmla="*/ 83688 h 360261"/>
                  <a:gd name="connsiteX24" fmla="*/ 61408 w 387553"/>
                  <a:gd name="connsiteY24" fmla="*/ 144278 h 360261"/>
                  <a:gd name="connsiteX25" fmla="*/ 32478 w 387553"/>
                  <a:gd name="connsiteY25" fmla="*/ 144278 h 360261"/>
                  <a:gd name="connsiteX26" fmla="*/ 12282 w 387553"/>
                  <a:gd name="connsiteY26" fmla="*/ 164474 h 360261"/>
                  <a:gd name="connsiteX27" fmla="*/ 12282 w 387553"/>
                  <a:gd name="connsiteY27" fmla="*/ 196679 h 360261"/>
                  <a:gd name="connsiteX28" fmla="*/ 32478 w 387553"/>
                  <a:gd name="connsiteY28" fmla="*/ 216876 h 360261"/>
                  <a:gd name="connsiteX29" fmla="*/ 61408 w 387553"/>
                  <a:gd name="connsiteY29" fmla="*/ 216876 h 360261"/>
                  <a:gd name="connsiteX30" fmla="*/ 96343 w 387553"/>
                  <a:gd name="connsiteY30" fmla="*/ 277465 h 360261"/>
                  <a:gd name="connsiteX31" fmla="*/ 82150 w 387553"/>
                  <a:gd name="connsiteY31" fmla="*/ 302575 h 360261"/>
                  <a:gd name="connsiteX32" fmla="*/ 89792 w 387553"/>
                  <a:gd name="connsiteY32" fmla="*/ 330413 h 360261"/>
                  <a:gd name="connsiteX33" fmla="*/ 117630 w 387553"/>
                  <a:gd name="connsiteY33" fmla="*/ 346243 h 360261"/>
                  <a:gd name="connsiteX34" fmla="*/ 145469 w 387553"/>
                  <a:gd name="connsiteY34" fmla="*/ 338601 h 360261"/>
                  <a:gd name="connsiteX35" fmla="*/ 160207 w 387553"/>
                  <a:gd name="connsiteY35" fmla="*/ 313492 h 360261"/>
                  <a:gd name="connsiteX36" fmla="*/ 230622 w 387553"/>
                  <a:gd name="connsiteY36" fmla="*/ 313492 h 360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387553" h="360261">
                    <a:moveTo>
                      <a:pt x="230622" y="313492"/>
                    </a:moveTo>
                    <a:lnTo>
                      <a:pt x="245360" y="338601"/>
                    </a:lnTo>
                    <a:cubicBezTo>
                      <a:pt x="250818" y="348426"/>
                      <a:pt x="263373" y="351701"/>
                      <a:pt x="273198" y="346243"/>
                    </a:cubicBezTo>
                    <a:lnTo>
                      <a:pt x="301037" y="330413"/>
                    </a:lnTo>
                    <a:cubicBezTo>
                      <a:pt x="310862" y="324954"/>
                      <a:pt x="314137" y="312400"/>
                      <a:pt x="308678" y="302575"/>
                    </a:cubicBezTo>
                    <a:lnTo>
                      <a:pt x="294486" y="277465"/>
                    </a:lnTo>
                    <a:cubicBezTo>
                      <a:pt x="311954" y="259998"/>
                      <a:pt x="323416" y="238710"/>
                      <a:pt x="329421" y="216876"/>
                    </a:cubicBezTo>
                    <a:lnTo>
                      <a:pt x="358351" y="216876"/>
                    </a:lnTo>
                    <a:cubicBezTo>
                      <a:pt x="369268" y="216876"/>
                      <a:pt x="378547" y="207596"/>
                      <a:pt x="378547" y="196679"/>
                    </a:cubicBezTo>
                    <a:lnTo>
                      <a:pt x="378547" y="164474"/>
                    </a:lnTo>
                    <a:cubicBezTo>
                      <a:pt x="378547" y="153557"/>
                      <a:pt x="369268" y="144278"/>
                      <a:pt x="358351" y="144278"/>
                    </a:cubicBezTo>
                    <a:lnTo>
                      <a:pt x="329421" y="144278"/>
                    </a:lnTo>
                    <a:cubicBezTo>
                      <a:pt x="323416" y="121898"/>
                      <a:pt x="311954" y="101156"/>
                      <a:pt x="294486" y="83688"/>
                    </a:cubicBezTo>
                    <a:lnTo>
                      <a:pt x="308678" y="58579"/>
                    </a:lnTo>
                    <a:cubicBezTo>
                      <a:pt x="314137" y="48754"/>
                      <a:pt x="310862" y="36745"/>
                      <a:pt x="301037" y="30741"/>
                    </a:cubicBezTo>
                    <a:lnTo>
                      <a:pt x="273198" y="14911"/>
                    </a:lnTo>
                    <a:cubicBezTo>
                      <a:pt x="263373" y="9453"/>
                      <a:pt x="251364" y="12728"/>
                      <a:pt x="245360" y="22553"/>
                    </a:cubicBezTo>
                    <a:lnTo>
                      <a:pt x="230622" y="47662"/>
                    </a:lnTo>
                    <a:cubicBezTo>
                      <a:pt x="207696" y="41658"/>
                      <a:pt x="183679" y="41658"/>
                      <a:pt x="160207" y="47662"/>
                    </a:cubicBezTo>
                    <a:lnTo>
                      <a:pt x="145469" y="22553"/>
                    </a:lnTo>
                    <a:cubicBezTo>
                      <a:pt x="140011" y="12728"/>
                      <a:pt x="127456" y="9453"/>
                      <a:pt x="117630" y="14911"/>
                    </a:cubicBezTo>
                    <a:lnTo>
                      <a:pt x="89792" y="30741"/>
                    </a:lnTo>
                    <a:cubicBezTo>
                      <a:pt x="79967" y="36199"/>
                      <a:pt x="76692" y="48754"/>
                      <a:pt x="82150" y="58579"/>
                    </a:cubicBezTo>
                    <a:lnTo>
                      <a:pt x="96343" y="83688"/>
                    </a:lnTo>
                    <a:cubicBezTo>
                      <a:pt x="78875" y="101156"/>
                      <a:pt x="67412" y="122444"/>
                      <a:pt x="61408" y="144278"/>
                    </a:cubicBezTo>
                    <a:lnTo>
                      <a:pt x="32478" y="144278"/>
                    </a:lnTo>
                    <a:cubicBezTo>
                      <a:pt x="21561" y="144278"/>
                      <a:pt x="12282" y="153557"/>
                      <a:pt x="12282" y="164474"/>
                    </a:cubicBezTo>
                    <a:lnTo>
                      <a:pt x="12282" y="196679"/>
                    </a:lnTo>
                    <a:cubicBezTo>
                      <a:pt x="12282" y="207596"/>
                      <a:pt x="21561" y="216876"/>
                      <a:pt x="32478" y="216876"/>
                    </a:cubicBezTo>
                    <a:lnTo>
                      <a:pt x="61408" y="216876"/>
                    </a:lnTo>
                    <a:cubicBezTo>
                      <a:pt x="67412" y="239256"/>
                      <a:pt x="78875" y="259998"/>
                      <a:pt x="96343" y="277465"/>
                    </a:cubicBezTo>
                    <a:lnTo>
                      <a:pt x="82150" y="302575"/>
                    </a:lnTo>
                    <a:cubicBezTo>
                      <a:pt x="76692" y="312400"/>
                      <a:pt x="79967" y="324409"/>
                      <a:pt x="89792" y="330413"/>
                    </a:cubicBezTo>
                    <a:lnTo>
                      <a:pt x="117630" y="346243"/>
                    </a:lnTo>
                    <a:cubicBezTo>
                      <a:pt x="127456" y="351701"/>
                      <a:pt x="139464" y="348426"/>
                      <a:pt x="145469" y="338601"/>
                    </a:cubicBezTo>
                    <a:lnTo>
                      <a:pt x="160207" y="313492"/>
                    </a:lnTo>
                    <a:cubicBezTo>
                      <a:pt x="183132" y="319496"/>
                      <a:pt x="207696" y="319496"/>
                      <a:pt x="230622" y="313492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1" name="Freihandform: Form 69">
                <a:extLst>
                  <a:ext uri="{FF2B5EF4-FFF2-40B4-BE49-F238E27FC236}">
                    <a16:creationId xmlns:a16="http://schemas.microsoft.com/office/drawing/2014/main" id="{E6955055-7556-2D8E-864C-726CF1186A29}"/>
                  </a:ext>
                </a:extLst>
              </p:cNvPr>
              <p:cNvSpPr/>
              <p:nvPr/>
            </p:nvSpPr>
            <p:spPr bwMode="gray">
              <a:xfrm>
                <a:off x="9950775" y="7309727"/>
                <a:ext cx="294759" cy="283842"/>
              </a:xfrm>
              <a:custGeom>
                <a:avLst/>
                <a:gdLst>
                  <a:gd name="connsiteX0" fmla="*/ 251396 w 294759"/>
                  <a:gd name="connsiteY0" fmla="*/ 162354 h 283842"/>
                  <a:gd name="connsiteX1" fmla="*/ 273230 w 294759"/>
                  <a:gd name="connsiteY1" fmla="*/ 160716 h 283842"/>
                  <a:gd name="connsiteX2" fmla="*/ 287422 w 294759"/>
                  <a:gd name="connsiteY2" fmla="*/ 144341 h 283842"/>
                  <a:gd name="connsiteX3" fmla="*/ 285785 w 294759"/>
                  <a:gd name="connsiteY3" fmla="*/ 120324 h 283842"/>
                  <a:gd name="connsiteX4" fmla="*/ 269409 w 294759"/>
                  <a:gd name="connsiteY4" fmla="*/ 106131 h 283842"/>
                  <a:gd name="connsiteX5" fmla="*/ 247575 w 294759"/>
                  <a:gd name="connsiteY5" fmla="*/ 107769 h 283842"/>
                  <a:gd name="connsiteX6" fmla="*/ 217553 w 294759"/>
                  <a:gd name="connsiteY6" fmla="*/ 64101 h 283842"/>
                  <a:gd name="connsiteX7" fmla="*/ 226833 w 294759"/>
                  <a:gd name="connsiteY7" fmla="*/ 44450 h 283842"/>
                  <a:gd name="connsiteX8" fmla="*/ 219736 w 294759"/>
                  <a:gd name="connsiteY8" fmla="*/ 24254 h 283842"/>
                  <a:gd name="connsiteX9" fmla="*/ 197902 w 294759"/>
                  <a:gd name="connsiteY9" fmla="*/ 13883 h 283842"/>
                  <a:gd name="connsiteX10" fmla="*/ 177706 w 294759"/>
                  <a:gd name="connsiteY10" fmla="*/ 20979 h 283842"/>
                  <a:gd name="connsiteX11" fmla="*/ 168427 w 294759"/>
                  <a:gd name="connsiteY11" fmla="*/ 40629 h 283842"/>
                  <a:gd name="connsiteX12" fmla="*/ 116025 w 294759"/>
                  <a:gd name="connsiteY12" fmla="*/ 44450 h 283842"/>
                  <a:gd name="connsiteX13" fmla="*/ 103471 w 294759"/>
                  <a:gd name="connsiteY13" fmla="*/ 26437 h 283842"/>
                  <a:gd name="connsiteX14" fmla="*/ 82182 w 294759"/>
                  <a:gd name="connsiteY14" fmla="*/ 22616 h 283842"/>
                  <a:gd name="connsiteX15" fmla="*/ 62532 w 294759"/>
                  <a:gd name="connsiteY15" fmla="*/ 36262 h 283842"/>
                  <a:gd name="connsiteX16" fmla="*/ 58711 w 294759"/>
                  <a:gd name="connsiteY16" fmla="*/ 57551 h 283842"/>
                  <a:gd name="connsiteX17" fmla="*/ 71265 w 294759"/>
                  <a:gd name="connsiteY17" fmla="*/ 75564 h 283842"/>
                  <a:gd name="connsiteX18" fmla="*/ 48339 w 294759"/>
                  <a:gd name="connsiteY18" fmla="*/ 123053 h 283842"/>
                  <a:gd name="connsiteX19" fmla="*/ 26505 w 294759"/>
                  <a:gd name="connsiteY19" fmla="*/ 124690 h 283842"/>
                  <a:gd name="connsiteX20" fmla="*/ 12313 w 294759"/>
                  <a:gd name="connsiteY20" fmla="*/ 141066 h 283842"/>
                  <a:gd name="connsiteX21" fmla="*/ 13951 w 294759"/>
                  <a:gd name="connsiteY21" fmla="*/ 165083 h 283842"/>
                  <a:gd name="connsiteX22" fmla="*/ 30326 w 294759"/>
                  <a:gd name="connsiteY22" fmla="*/ 179275 h 283842"/>
                  <a:gd name="connsiteX23" fmla="*/ 52160 w 294759"/>
                  <a:gd name="connsiteY23" fmla="*/ 177638 h 283842"/>
                  <a:gd name="connsiteX24" fmla="*/ 82182 w 294759"/>
                  <a:gd name="connsiteY24" fmla="*/ 221306 h 283842"/>
                  <a:gd name="connsiteX25" fmla="*/ 72903 w 294759"/>
                  <a:gd name="connsiteY25" fmla="*/ 240956 h 283842"/>
                  <a:gd name="connsiteX26" fmla="*/ 79999 w 294759"/>
                  <a:gd name="connsiteY26" fmla="*/ 261153 h 283842"/>
                  <a:gd name="connsiteX27" fmla="*/ 101833 w 294759"/>
                  <a:gd name="connsiteY27" fmla="*/ 271524 h 283842"/>
                  <a:gd name="connsiteX28" fmla="*/ 122029 w 294759"/>
                  <a:gd name="connsiteY28" fmla="*/ 264428 h 283842"/>
                  <a:gd name="connsiteX29" fmla="*/ 131309 w 294759"/>
                  <a:gd name="connsiteY29" fmla="*/ 244777 h 283842"/>
                  <a:gd name="connsiteX30" fmla="*/ 183710 w 294759"/>
                  <a:gd name="connsiteY30" fmla="*/ 240956 h 283842"/>
                  <a:gd name="connsiteX31" fmla="*/ 196265 w 294759"/>
                  <a:gd name="connsiteY31" fmla="*/ 258970 h 283842"/>
                  <a:gd name="connsiteX32" fmla="*/ 217553 w 294759"/>
                  <a:gd name="connsiteY32" fmla="*/ 262790 h 283842"/>
                  <a:gd name="connsiteX33" fmla="*/ 237204 w 294759"/>
                  <a:gd name="connsiteY33" fmla="*/ 249144 h 283842"/>
                  <a:gd name="connsiteX34" fmla="*/ 241025 w 294759"/>
                  <a:gd name="connsiteY34" fmla="*/ 227856 h 283842"/>
                  <a:gd name="connsiteX35" fmla="*/ 228471 w 294759"/>
                  <a:gd name="connsiteY35" fmla="*/ 209843 h 283842"/>
                  <a:gd name="connsiteX36" fmla="*/ 251396 w 294759"/>
                  <a:gd name="connsiteY36" fmla="*/ 162354 h 283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94759" h="283842">
                    <a:moveTo>
                      <a:pt x="251396" y="162354"/>
                    </a:moveTo>
                    <a:lnTo>
                      <a:pt x="273230" y="160716"/>
                    </a:lnTo>
                    <a:cubicBezTo>
                      <a:pt x="281418" y="160171"/>
                      <a:pt x="287968" y="152529"/>
                      <a:pt x="287422" y="144341"/>
                    </a:cubicBezTo>
                    <a:lnTo>
                      <a:pt x="285785" y="120324"/>
                    </a:lnTo>
                    <a:cubicBezTo>
                      <a:pt x="285238" y="112136"/>
                      <a:pt x="277597" y="105585"/>
                      <a:pt x="269409" y="106131"/>
                    </a:cubicBezTo>
                    <a:lnTo>
                      <a:pt x="247575" y="107769"/>
                    </a:lnTo>
                    <a:cubicBezTo>
                      <a:pt x="241570" y="90302"/>
                      <a:pt x="230653" y="75564"/>
                      <a:pt x="217553" y="64101"/>
                    </a:cubicBezTo>
                    <a:lnTo>
                      <a:pt x="226833" y="44450"/>
                    </a:lnTo>
                    <a:cubicBezTo>
                      <a:pt x="230653" y="36808"/>
                      <a:pt x="227378" y="28075"/>
                      <a:pt x="219736" y="24254"/>
                    </a:cubicBezTo>
                    <a:lnTo>
                      <a:pt x="197902" y="13883"/>
                    </a:lnTo>
                    <a:cubicBezTo>
                      <a:pt x="190261" y="10062"/>
                      <a:pt x="181527" y="13337"/>
                      <a:pt x="177706" y="20979"/>
                    </a:cubicBezTo>
                    <a:lnTo>
                      <a:pt x="168427" y="40629"/>
                    </a:lnTo>
                    <a:cubicBezTo>
                      <a:pt x="151505" y="37354"/>
                      <a:pt x="133492" y="38446"/>
                      <a:pt x="116025" y="44450"/>
                    </a:cubicBezTo>
                    <a:lnTo>
                      <a:pt x="103471" y="26437"/>
                    </a:lnTo>
                    <a:cubicBezTo>
                      <a:pt x="98558" y="19341"/>
                      <a:pt x="89278" y="17703"/>
                      <a:pt x="82182" y="22616"/>
                    </a:cubicBezTo>
                    <a:lnTo>
                      <a:pt x="62532" y="36262"/>
                    </a:lnTo>
                    <a:cubicBezTo>
                      <a:pt x="55435" y="41175"/>
                      <a:pt x="53798" y="50455"/>
                      <a:pt x="58711" y="57551"/>
                    </a:cubicBezTo>
                    <a:lnTo>
                      <a:pt x="71265" y="75564"/>
                    </a:lnTo>
                    <a:cubicBezTo>
                      <a:pt x="59803" y="89210"/>
                      <a:pt x="52160" y="105585"/>
                      <a:pt x="48339" y="123053"/>
                    </a:cubicBezTo>
                    <a:lnTo>
                      <a:pt x="26505" y="124690"/>
                    </a:lnTo>
                    <a:cubicBezTo>
                      <a:pt x="18318" y="125236"/>
                      <a:pt x="11767" y="132878"/>
                      <a:pt x="12313" y="141066"/>
                    </a:cubicBezTo>
                    <a:lnTo>
                      <a:pt x="13951" y="165083"/>
                    </a:lnTo>
                    <a:cubicBezTo>
                      <a:pt x="14497" y="173271"/>
                      <a:pt x="22139" y="179821"/>
                      <a:pt x="30326" y="179275"/>
                    </a:cubicBezTo>
                    <a:lnTo>
                      <a:pt x="52160" y="177638"/>
                    </a:lnTo>
                    <a:cubicBezTo>
                      <a:pt x="58165" y="195105"/>
                      <a:pt x="69082" y="209843"/>
                      <a:pt x="82182" y="221306"/>
                    </a:cubicBezTo>
                    <a:lnTo>
                      <a:pt x="72903" y="240956"/>
                    </a:lnTo>
                    <a:cubicBezTo>
                      <a:pt x="69082" y="248598"/>
                      <a:pt x="72357" y="257332"/>
                      <a:pt x="79999" y="261153"/>
                    </a:cubicBezTo>
                    <a:lnTo>
                      <a:pt x="101833" y="271524"/>
                    </a:lnTo>
                    <a:cubicBezTo>
                      <a:pt x="109475" y="275345"/>
                      <a:pt x="118208" y="272070"/>
                      <a:pt x="122029" y="264428"/>
                    </a:cubicBezTo>
                    <a:lnTo>
                      <a:pt x="131309" y="244777"/>
                    </a:lnTo>
                    <a:cubicBezTo>
                      <a:pt x="148230" y="248053"/>
                      <a:pt x="166243" y="246961"/>
                      <a:pt x="183710" y="240956"/>
                    </a:cubicBezTo>
                    <a:lnTo>
                      <a:pt x="196265" y="258970"/>
                    </a:lnTo>
                    <a:cubicBezTo>
                      <a:pt x="201178" y="266066"/>
                      <a:pt x="210457" y="267703"/>
                      <a:pt x="217553" y="262790"/>
                    </a:cubicBezTo>
                    <a:lnTo>
                      <a:pt x="237204" y="249144"/>
                    </a:lnTo>
                    <a:cubicBezTo>
                      <a:pt x="244300" y="244232"/>
                      <a:pt x="245937" y="234952"/>
                      <a:pt x="241025" y="227856"/>
                    </a:cubicBezTo>
                    <a:lnTo>
                      <a:pt x="228471" y="209843"/>
                    </a:lnTo>
                    <a:cubicBezTo>
                      <a:pt x="239933" y="196197"/>
                      <a:pt x="248121" y="179821"/>
                      <a:pt x="251396" y="162354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2" name="Freihandform: Form 70">
                <a:extLst>
                  <a:ext uri="{FF2B5EF4-FFF2-40B4-BE49-F238E27FC236}">
                    <a16:creationId xmlns:a16="http://schemas.microsoft.com/office/drawing/2014/main" id="{771509DF-D629-194E-B879-AA91EB43448D}"/>
                  </a:ext>
                </a:extLst>
              </p:cNvPr>
              <p:cNvSpPr/>
              <p:nvPr/>
            </p:nvSpPr>
            <p:spPr bwMode="gray">
              <a:xfrm>
                <a:off x="10048514" y="7400847"/>
                <a:ext cx="98253" cy="98253"/>
              </a:xfrm>
              <a:custGeom>
                <a:avLst/>
                <a:gdLst>
                  <a:gd name="connsiteX0" fmla="*/ 90884 w 98253"/>
                  <a:gd name="connsiteY0" fmla="*/ 51583 h 98253"/>
                  <a:gd name="connsiteX1" fmla="*/ 51583 w 98253"/>
                  <a:gd name="connsiteY1" fmla="*/ 12282 h 98253"/>
                  <a:gd name="connsiteX2" fmla="*/ 12282 w 98253"/>
                  <a:gd name="connsiteY2" fmla="*/ 51583 h 98253"/>
                  <a:gd name="connsiteX3" fmla="*/ 51583 w 98253"/>
                  <a:gd name="connsiteY3" fmla="*/ 90884 h 98253"/>
                  <a:gd name="connsiteX4" fmla="*/ 90884 w 98253"/>
                  <a:gd name="connsiteY4" fmla="*/ 51583 h 9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253" h="98253">
                    <a:moveTo>
                      <a:pt x="90884" y="51583"/>
                    </a:moveTo>
                    <a:cubicBezTo>
                      <a:pt x="90884" y="29749"/>
                      <a:pt x="73417" y="12282"/>
                      <a:pt x="51583" y="12282"/>
                    </a:cubicBezTo>
                    <a:cubicBezTo>
                      <a:pt x="29749" y="12282"/>
                      <a:pt x="12282" y="29749"/>
                      <a:pt x="12282" y="51583"/>
                    </a:cubicBezTo>
                    <a:cubicBezTo>
                      <a:pt x="12282" y="73417"/>
                      <a:pt x="29749" y="90884"/>
                      <a:pt x="51583" y="90884"/>
                    </a:cubicBezTo>
                    <a:cubicBezTo>
                      <a:pt x="73417" y="90884"/>
                      <a:pt x="90884" y="73417"/>
                      <a:pt x="90884" y="5158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3" name="Freihandform: Form 71">
                <a:extLst>
                  <a:ext uri="{FF2B5EF4-FFF2-40B4-BE49-F238E27FC236}">
                    <a16:creationId xmlns:a16="http://schemas.microsoft.com/office/drawing/2014/main" id="{6C435044-BB94-7DEC-6EBE-82A8F50D05D4}"/>
                  </a:ext>
                </a:extLst>
              </p:cNvPr>
              <p:cNvSpPr/>
              <p:nvPr/>
            </p:nvSpPr>
            <p:spPr bwMode="gray">
              <a:xfrm>
                <a:off x="10047416" y="7835880"/>
                <a:ext cx="98253" cy="98252"/>
              </a:xfrm>
              <a:custGeom>
                <a:avLst/>
                <a:gdLst>
                  <a:gd name="connsiteX0" fmla="*/ 90884 w 98253"/>
                  <a:gd name="connsiteY0" fmla="*/ 51583 h 98253"/>
                  <a:gd name="connsiteX1" fmla="*/ 51583 w 98253"/>
                  <a:gd name="connsiteY1" fmla="*/ 90884 h 98253"/>
                  <a:gd name="connsiteX2" fmla="*/ 12282 w 98253"/>
                  <a:gd name="connsiteY2" fmla="*/ 51583 h 98253"/>
                  <a:gd name="connsiteX3" fmla="*/ 51583 w 98253"/>
                  <a:gd name="connsiteY3" fmla="*/ 12282 h 98253"/>
                  <a:gd name="connsiteX4" fmla="*/ 90884 w 98253"/>
                  <a:gd name="connsiteY4" fmla="*/ 51583 h 9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253" h="98253">
                    <a:moveTo>
                      <a:pt x="90884" y="51583"/>
                    </a:moveTo>
                    <a:cubicBezTo>
                      <a:pt x="90884" y="73288"/>
                      <a:pt x="73289" y="90884"/>
                      <a:pt x="51583" y="90884"/>
                    </a:cubicBezTo>
                    <a:cubicBezTo>
                      <a:pt x="29878" y="90884"/>
                      <a:pt x="12282" y="73288"/>
                      <a:pt x="12282" y="51583"/>
                    </a:cubicBezTo>
                    <a:cubicBezTo>
                      <a:pt x="12282" y="29877"/>
                      <a:pt x="29878" y="12282"/>
                      <a:pt x="51583" y="12282"/>
                    </a:cubicBezTo>
                    <a:cubicBezTo>
                      <a:pt x="73289" y="12282"/>
                      <a:pt x="90884" y="29877"/>
                      <a:pt x="90884" y="5158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4" name="Freihandform: Form 72">
                <a:extLst>
                  <a:ext uri="{FF2B5EF4-FFF2-40B4-BE49-F238E27FC236}">
                    <a16:creationId xmlns:a16="http://schemas.microsoft.com/office/drawing/2014/main" id="{F35CB20C-8105-5ABF-2A0A-2C6AEDB573DC}"/>
                  </a:ext>
                </a:extLst>
              </p:cNvPr>
              <p:cNvSpPr/>
              <p:nvPr/>
            </p:nvSpPr>
            <p:spPr bwMode="gray">
              <a:xfrm>
                <a:off x="10304648" y="7621507"/>
                <a:ext cx="92795" cy="92795"/>
              </a:xfrm>
              <a:custGeom>
                <a:avLst/>
                <a:gdLst>
                  <a:gd name="connsiteX0" fmla="*/ 72189 w 92794"/>
                  <a:gd name="connsiteY0" fmla="*/ 22516 h 92794"/>
                  <a:gd name="connsiteX1" fmla="*/ 22516 w 92794"/>
                  <a:gd name="connsiteY1" fmla="*/ 22516 h 92794"/>
                  <a:gd name="connsiteX2" fmla="*/ 22516 w 92794"/>
                  <a:gd name="connsiteY2" fmla="*/ 72189 h 92794"/>
                  <a:gd name="connsiteX3" fmla="*/ 72189 w 92794"/>
                  <a:gd name="connsiteY3" fmla="*/ 72189 h 92794"/>
                  <a:gd name="connsiteX4" fmla="*/ 72189 w 92794"/>
                  <a:gd name="connsiteY4" fmla="*/ 22516 h 92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794" h="92794">
                    <a:moveTo>
                      <a:pt x="72189" y="22516"/>
                    </a:moveTo>
                    <a:cubicBezTo>
                      <a:pt x="58542" y="8870"/>
                      <a:pt x="36163" y="8870"/>
                      <a:pt x="22516" y="22516"/>
                    </a:cubicBezTo>
                    <a:cubicBezTo>
                      <a:pt x="8870" y="36163"/>
                      <a:pt x="8870" y="58543"/>
                      <a:pt x="22516" y="72189"/>
                    </a:cubicBezTo>
                    <a:cubicBezTo>
                      <a:pt x="36163" y="85835"/>
                      <a:pt x="58542" y="85835"/>
                      <a:pt x="72189" y="72189"/>
                    </a:cubicBezTo>
                    <a:cubicBezTo>
                      <a:pt x="85835" y="58543"/>
                      <a:pt x="85835" y="36163"/>
                      <a:pt x="72189" y="22516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1" name="Gruppieren 73">
              <a:extLst>
                <a:ext uri="{FF2B5EF4-FFF2-40B4-BE49-F238E27FC236}">
                  <a16:creationId xmlns:a16="http://schemas.microsoft.com/office/drawing/2014/main" id="{ABB9B36C-3783-A318-6B73-FAA9D6335EDF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1089361" y="1658945"/>
              <a:ext cx="409880" cy="419491"/>
              <a:chOff x="9963221" y="4066766"/>
              <a:chExt cx="630632" cy="645417"/>
            </a:xfrm>
          </p:grpSpPr>
          <p:sp>
            <p:nvSpPr>
              <p:cNvPr id="116" name="Freihandform: Form 74">
                <a:extLst>
                  <a:ext uri="{FF2B5EF4-FFF2-40B4-BE49-F238E27FC236}">
                    <a16:creationId xmlns:a16="http://schemas.microsoft.com/office/drawing/2014/main" id="{54D0EA2A-2430-277B-440F-CA1A7A33ABAC}"/>
                  </a:ext>
                </a:extLst>
              </p:cNvPr>
              <p:cNvSpPr/>
              <p:nvPr/>
            </p:nvSpPr>
            <p:spPr bwMode="gray">
              <a:xfrm>
                <a:off x="10292469" y="4184476"/>
                <a:ext cx="301384" cy="420801"/>
              </a:xfrm>
              <a:custGeom>
                <a:avLst/>
                <a:gdLst>
                  <a:gd name="connsiteX0" fmla="*/ 303601 w 431679"/>
                  <a:gd name="connsiteY0" fmla="*/ 15272 h 602722"/>
                  <a:gd name="connsiteX1" fmla="*/ 240885 w 431679"/>
                  <a:gd name="connsiteY1" fmla="*/ 77987 h 602722"/>
                  <a:gd name="connsiteX2" fmla="*/ 15272 w 431679"/>
                  <a:gd name="connsiteY2" fmla="*/ 303601 h 602722"/>
                  <a:gd name="connsiteX3" fmla="*/ 240885 w 431679"/>
                  <a:gd name="connsiteY3" fmla="*/ 529214 h 602722"/>
                  <a:gd name="connsiteX4" fmla="*/ 303601 w 431679"/>
                  <a:gd name="connsiteY4" fmla="*/ 591930 h 602722"/>
                  <a:gd name="connsiteX5" fmla="*/ 423331 w 431679"/>
                  <a:gd name="connsiteY5" fmla="*/ 303601 h 602722"/>
                  <a:gd name="connsiteX6" fmla="*/ 303601 w 431679"/>
                  <a:gd name="connsiteY6" fmla="*/ 15272 h 602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1679" h="602722">
                    <a:moveTo>
                      <a:pt x="303601" y="15272"/>
                    </a:moveTo>
                    <a:lnTo>
                      <a:pt x="240885" y="77987"/>
                    </a:lnTo>
                    <a:lnTo>
                      <a:pt x="15272" y="303601"/>
                    </a:lnTo>
                    <a:lnTo>
                      <a:pt x="240885" y="529214"/>
                    </a:lnTo>
                    <a:lnTo>
                      <a:pt x="303601" y="591930"/>
                    </a:lnTo>
                    <a:cubicBezTo>
                      <a:pt x="377719" y="517812"/>
                      <a:pt x="423331" y="416000"/>
                      <a:pt x="423331" y="303601"/>
                    </a:cubicBezTo>
                    <a:cubicBezTo>
                      <a:pt x="423331" y="190387"/>
                      <a:pt x="377719" y="88576"/>
                      <a:pt x="303601" y="15272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7" name="Freihandform: Form 75">
                <a:extLst>
                  <a:ext uri="{FF2B5EF4-FFF2-40B4-BE49-F238E27FC236}">
                    <a16:creationId xmlns:a16="http://schemas.microsoft.com/office/drawing/2014/main" id="{D662DE44-7957-F1BE-EDA5-0523BBB32430}"/>
                  </a:ext>
                </a:extLst>
              </p:cNvPr>
              <p:cNvSpPr/>
              <p:nvPr/>
            </p:nvSpPr>
            <p:spPr bwMode="gray">
              <a:xfrm>
                <a:off x="10258918" y="4066766"/>
                <a:ext cx="221774" cy="301384"/>
              </a:xfrm>
              <a:custGeom>
                <a:avLst/>
                <a:gdLst>
                  <a:gd name="connsiteX0" fmla="*/ 303601 w 317650"/>
                  <a:gd name="connsiteY0" fmla="*/ 135002 h 431679"/>
                  <a:gd name="connsiteX1" fmla="*/ 15272 w 317650"/>
                  <a:gd name="connsiteY1" fmla="*/ 15272 h 431679"/>
                  <a:gd name="connsiteX2" fmla="*/ 15272 w 317650"/>
                  <a:gd name="connsiteY2" fmla="*/ 422516 h 431679"/>
                  <a:gd name="connsiteX3" fmla="*/ 303601 w 317650"/>
                  <a:gd name="connsiteY3" fmla="*/ 135002 h 431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7650" h="431679">
                    <a:moveTo>
                      <a:pt x="303601" y="135002"/>
                    </a:moveTo>
                    <a:cubicBezTo>
                      <a:pt x="229482" y="60883"/>
                      <a:pt x="127671" y="15272"/>
                      <a:pt x="15272" y="15272"/>
                    </a:cubicBezTo>
                    <a:lnTo>
                      <a:pt x="15272" y="422516"/>
                    </a:lnTo>
                    <a:lnTo>
                      <a:pt x="303601" y="13500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8" name="Freihandform: Form 76">
                <a:extLst>
                  <a:ext uri="{FF2B5EF4-FFF2-40B4-BE49-F238E27FC236}">
                    <a16:creationId xmlns:a16="http://schemas.microsoft.com/office/drawing/2014/main" id="{8F7A7D56-F659-F905-65F8-7F950691FD32}"/>
                  </a:ext>
                </a:extLst>
              </p:cNvPr>
              <p:cNvSpPr/>
              <p:nvPr/>
            </p:nvSpPr>
            <p:spPr bwMode="gray">
              <a:xfrm>
                <a:off x="10057617" y="4067334"/>
                <a:ext cx="221774" cy="301384"/>
              </a:xfrm>
              <a:custGeom>
                <a:avLst/>
                <a:gdLst>
                  <a:gd name="connsiteX0" fmla="*/ 303601 w 317650"/>
                  <a:gd name="connsiteY0" fmla="*/ 15272 h 431679"/>
                  <a:gd name="connsiteX1" fmla="*/ 15272 w 317650"/>
                  <a:gd name="connsiteY1" fmla="*/ 135002 h 431679"/>
                  <a:gd name="connsiteX2" fmla="*/ 303601 w 317650"/>
                  <a:gd name="connsiteY2" fmla="*/ 422516 h 431679"/>
                  <a:gd name="connsiteX3" fmla="*/ 303601 w 317650"/>
                  <a:gd name="connsiteY3" fmla="*/ 15272 h 431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7650" h="431679">
                    <a:moveTo>
                      <a:pt x="303601" y="15272"/>
                    </a:moveTo>
                    <a:cubicBezTo>
                      <a:pt x="191202" y="15272"/>
                      <a:pt x="89390" y="60883"/>
                      <a:pt x="15272" y="135002"/>
                    </a:cubicBezTo>
                    <a:lnTo>
                      <a:pt x="303601" y="422516"/>
                    </a:lnTo>
                    <a:lnTo>
                      <a:pt x="303601" y="152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9" name="Freihandform: Form 77">
                <a:extLst>
                  <a:ext uri="{FF2B5EF4-FFF2-40B4-BE49-F238E27FC236}">
                    <a16:creationId xmlns:a16="http://schemas.microsoft.com/office/drawing/2014/main" id="{64987D8D-2DAE-6CBA-F404-A2C960CF20A5}"/>
                  </a:ext>
                </a:extLst>
              </p:cNvPr>
              <p:cNvSpPr/>
              <p:nvPr/>
            </p:nvSpPr>
            <p:spPr bwMode="gray">
              <a:xfrm>
                <a:off x="9963221" y="4206085"/>
                <a:ext cx="506098" cy="506098"/>
              </a:xfrm>
              <a:custGeom>
                <a:avLst/>
                <a:gdLst>
                  <a:gd name="connsiteX0" fmla="*/ 135002 w 724895"/>
                  <a:gd name="connsiteY0" fmla="*/ 15272 h 724895"/>
                  <a:gd name="connsiteX1" fmla="*/ 15272 w 724895"/>
                  <a:gd name="connsiteY1" fmla="*/ 303601 h 724895"/>
                  <a:gd name="connsiteX2" fmla="*/ 422516 w 724895"/>
                  <a:gd name="connsiteY2" fmla="*/ 710846 h 724895"/>
                  <a:gd name="connsiteX3" fmla="*/ 710845 w 724895"/>
                  <a:gd name="connsiteY3" fmla="*/ 591116 h 724895"/>
                  <a:gd name="connsiteX4" fmla="*/ 422516 w 724895"/>
                  <a:gd name="connsiteY4" fmla="*/ 302786 h 724895"/>
                  <a:gd name="connsiteX5" fmla="*/ 135002 w 724895"/>
                  <a:gd name="connsiteY5" fmla="*/ 15272 h 72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24895" h="724895">
                    <a:moveTo>
                      <a:pt x="135002" y="15272"/>
                    </a:moveTo>
                    <a:cubicBezTo>
                      <a:pt x="60883" y="89390"/>
                      <a:pt x="15272" y="191201"/>
                      <a:pt x="15272" y="303601"/>
                    </a:cubicBezTo>
                    <a:cubicBezTo>
                      <a:pt x="15272" y="528400"/>
                      <a:pt x="197717" y="710846"/>
                      <a:pt x="422516" y="710846"/>
                    </a:cubicBezTo>
                    <a:cubicBezTo>
                      <a:pt x="534916" y="710846"/>
                      <a:pt x="636727" y="665234"/>
                      <a:pt x="710845" y="591116"/>
                    </a:cubicBezTo>
                    <a:lnTo>
                      <a:pt x="422516" y="302786"/>
                    </a:lnTo>
                    <a:lnTo>
                      <a:pt x="135002" y="152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2" name="Gruppieren 113">
              <a:extLst>
                <a:ext uri="{FF2B5EF4-FFF2-40B4-BE49-F238E27FC236}">
                  <a16:creationId xmlns:a16="http://schemas.microsoft.com/office/drawing/2014/main" id="{D9242F86-0DB3-5217-BC8F-CBA94D8F08D3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804295" y="1648614"/>
              <a:ext cx="459493" cy="260893"/>
              <a:chOff x="1806086" y="4262696"/>
              <a:chExt cx="785404" cy="445939"/>
            </a:xfrm>
          </p:grpSpPr>
          <p:sp>
            <p:nvSpPr>
              <p:cNvPr id="101" name="Freihandform: Form 114">
                <a:extLst>
                  <a:ext uri="{FF2B5EF4-FFF2-40B4-BE49-F238E27FC236}">
                    <a16:creationId xmlns:a16="http://schemas.microsoft.com/office/drawing/2014/main" id="{06B9728C-DCDE-F931-F36B-43869ACD66AE}"/>
                  </a:ext>
                </a:extLst>
              </p:cNvPr>
              <p:cNvSpPr/>
              <p:nvPr/>
            </p:nvSpPr>
            <p:spPr bwMode="gray">
              <a:xfrm>
                <a:off x="2101573" y="4373664"/>
                <a:ext cx="292270" cy="163671"/>
              </a:xfrm>
              <a:custGeom>
                <a:avLst/>
                <a:gdLst>
                  <a:gd name="connsiteX0" fmla="*/ 282330 w 293320"/>
                  <a:gd name="connsiteY0" fmla="*/ 132794 h 164259"/>
                  <a:gd name="connsiteX1" fmla="*/ 129017 w 293320"/>
                  <a:gd name="connsiteY1" fmla="*/ 94633 h 164259"/>
                  <a:gd name="connsiteX2" fmla="*/ 75768 w 293320"/>
                  <a:gd name="connsiteY2" fmla="*/ 96059 h 164259"/>
                  <a:gd name="connsiteX3" fmla="*/ 22014 w 293320"/>
                  <a:gd name="connsiteY3" fmla="*/ 125320 h 164259"/>
                  <a:gd name="connsiteX4" fmla="*/ 13894 w 293320"/>
                  <a:gd name="connsiteY4" fmla="*/ 106213 h 164259"/>
                  <a:gd name="connsiteX5" fmla="*/ 24372 w 293320"/>
                  <a:gd name="connsiteY5" fmla="*/ 70246 h 164259"/>
                  <a:gd name="connsiteX6" fmla="*/ 55347 w 293320"/>
                  <a:gd name="connsiteY6" fmla="*/ 34931 h 164259"/>
                  <a:gd name="connsiteX7" fmla="*/ 94957 w 293320"/>
                  <a:gd name="connsiteY7" fmla="*/ 17495 h 164259"/>
                  <a:gd name="connsiteX8" fmla="*/ 139670 w 293320"/>
                  <a:gd name="connsiteY8" fmla="*/ 16252 h 164259"/>
                  <a:gd name="connsiteX9" fmla="*/ 242931 w 293320"/>
                  <a:gd name="connsiteY9" fmla="*/ 40703 h 164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3320" h="164259">
                    <a:moveTo>
                      <a:pt x="282330" y="132794"/>
                    </a:moveTo>
                    <a:cubicBezTo>
                      <a:pt x="194522" y="191746"/>
                      <a:pt x="129017" y="94633"/>
                      <a:pt x="129017" y="94633"/>
                    </a:cubicBezTo>
                    <a:cubicBezTo>
                      <a:pt x="97978" y="52201"/>
                      <a:pt x="75768" y="96059"/>
                      <a:pt x="75768" y="96059"/>
                    </a:cubicBezTo>
                    <a:cubicBezTo>
                      <a:pt x="59435" y="135733"/>
                      <a:pt x="35894" y="132131"/>
                      <a:pt x="22014" y="125320"/>
                    </a:cubicBezTo>
                    <a:cubicBezTo>
                      <a:pt x="15044" y="121747"/>
                      <a:pt x="11630" y="113705"/>
                      <a:pt x="13894" y="106213"/>
                    </a:cubicBezTo>
                    <a:lnTo>
                      <a:pt x="24372" y="70246"/>
                    </a:lnTo>
                    <a:cubicBezTo>
                      <a:pt x="28965" y="54477"/>
                      <a:pt x="40305" y="41542"/>
                      <a:pt x="55347" y="34931"/>
                    </a:cubicBezTo>
                    <a:lnTo>
                      <a:pt x="94957" y="17495"/>
                    </a:lnTo>
                    <a:cubicBezTo>
                      <a:pt x="109124" y="11265"/>
                      <a:pt x="122183" y="12685"/>
                      <a:pt x="139670" y="16252"/>
                    </a:cubicBezTo>
                    <a:lnTo>
                      <a:pt x="242931" y="40703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2" name="Freihandform: Form 115">
                <a:extLst>
                  <a:ext uri="{FF2B5EF4-FFF2-40B4-BE49-F238E27FC236}">
                    <a16:creationId xmlns:a16="http://schemas.microsoft.com/office/drawing/2014/main" id="{78AF550E-8476-375B-CD17-4B44F7184322}"/>
                  </a:ext>
                </a:extLst>
              </p:cNvPr>
              <p:cNvSpPr/>
              <p:nvPr/>
            </p:nvSpPr>
            <p:spPr bwMode="gray">
              <a:xfrm>
                <a:off x="2281258" y="4492830"/>
                <a:ext cx="134444" cy="93527"/>
              </a:xfrm>
              <a:custGeom>
                <a:avLst/>
                <a:gdLst>
                  <a:gd name="connsiteX0" fmla="*/ 123805 w 134927"/>
                  <a:gd name="connsiteY0" fmla="*/ 64179 h 93862"/>
                  <a:gd name="connsiteX1" fmla="*/ 55801 w 134927"/>
                  <a:gd name="connsiteY1" fmla="*/ 85791 h 93862"/>
                  <a:gd name="connsiteX2" fmla="*/ 13199 w 134927"/>
                  <a:gd name="connsiteY2" fmla="*/ 26423 h 93862"/>
                  <a:gd name="connsiteX3" fmla="*/ 101999 w 134927"/>
                  <a:gd name="connsiteY3" fmla="*/ 13199 h 93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927" h="93862">
                    <a:moveTo>
                      <a:pt x="123805" y="64179"/>
                    </a:moveTo>
                    <a:lnTo>
                      <a:pt x="55801" y="85791"/>
                    </a:lnTo>
                    <a:lnTo>
                      <a:pt x="13199" y="26423"/>
                    </a:lnTo>
                    <a:cubicBezTo>
                      <a:pt x="13199" y="26423"/>
                      <a:pt x="62935" y="47019"/>
                      <a:pt x="101999" y="13199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3" name="Freihandform: Form 116">
                <a:extLst>
                  <a:ext uri="{FF2B5EF4-FFF2-40B4-BE49-F238E27FC236}">
                    <a16:creationId xmlns:a16="http://schemas.microsoft.com/office/drawing/2014/main" id="{5569A2BB-C379-D6F8-A6C7-050C48D329F1}"/>
                  </a:ext>
                </a:extLst>
              </p:cNvPr>
              <p:cNvSpPr/>
              <p:nvPr/>
            </p:nvSpPr>
            <p:spPr bwMode="gray">
              <a:xfrm>
                <a:off x="1806086" y="4262696"/>
                <a:ext cx="192898" cy="356569"/>
              </a:xfrm>
              <a:custGeom>
                <a:avLst/>
                <a:gdLst>
                  <a:gd name="connsiteX0" fmla="*/ 13199 w 193591"/>
                  <a:gd name="connsiteY0" fmla="*/ 13199 h 357851"/>
                  <a:gd name="connsiteX1" fmla="*/ 13199 w 193591"/>
                  <a:gd name="connsiteY1" fmla="*/ 321908 h 357851"/>
                  <a:gd name="connsiteX2" fmla="*/ 73577 w 193591"/>
                  <a:gd name="connsiteY2" fmla="*/ 345825 h 357851"/>
                  <a:gd name="connsiteX3" fmla="*/ 181794 w 193591"/>
                  <a:gd name="connsiteY3" fmla="*/ 81549 h 357851"/>
                  <a:gd name="connsiteX4" fmla="*/ 13199 w 193591"/>
                  <a:gd name="connsiteY4" fmla="*/ 13199 h 357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591" h="357851">
                    <a:moveTo>
                      <a:pt x="13199" y="13199"/>
                    </a:moveTo>
                    <a:lnTo>
                      <a:pt x="13199" y="321908"/>
                    </a:lnTo>
                    <a:lnTo>
                      <a:pt x="73577" y="345825"/>
                    </a:lnTo>
                    <a:lnTo>
                      <a:pt x="181794" y="81549"/>
                    </a:lnTo>
                    <a:lnTo>
                      <a:pt x="13199" y="13199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4" name="Freihandform: Form 117">
                <a:extLst>
                  <a:ext uri="{FF2B5EF4-FFF2-40B4-BE49-F238E27FC236}">
                    <a16:creationId xmlns:a16="http://schemas.microsoft.com/office/drawing/2014/main" id="{A3F5AB5A-43E9-E393-3160-DE7CF48BB2CC}"/>
                  </a:ext>
                </a:extLst>
              </p:cNvPr>
              <p:cNvSpPr/>
              <p:nvPr/>
            </p:nvSpPr>
            <p:spPr bwMode="gray">
              <a:xfrm>
                <a:off x="1898905" y="4352078"/>
                <a:ext cx="169516" cy="216279"/>
              </a:xfrm>
              <a:custGeom>
                <a:avLst/>
                <a:gdLst>
                  <a:gd name="connsiteX0" fmla="*/ 79895 w 170126"/>
                  <a:gd name="connsiteY0" fmla="*/ 13199 h 217057"/>
                  <a:gd name="connsiteX1" fmla="*/ 156991 w 170126"/>
                  <a:gd name="connsiteY1" fmla="*/ 45664 h 217057"/>
                  <a:gd name="connsiteX2" fmla="*/ 88642 w 170126"/>
                  <a:gd name="connsiteY2" fmla="*/ 205436 h 217057"/>
                  <a:gd name="connsiteX3" fmla="*/ 13199 w 170126"/>
                  <a:gd name="connsiteY3" fmla="*/ 176086 h 21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0126" h="217057">
                    <a:moveTo>
                      <a:pt x="79895" y="13199"/>
                    </a:moveTo>
                    <a:lnTo>
                      <a:pt x="156991" y="45664"/>
                    </a:lnTo>
                    <a:lnTo>
                      <a:pt x="88642" y="205436"/>
                    </a:lnTo>
                    <a:lnTo>
                      <a:pt x="13199" y="17608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5" name="Freihandform: Form 118">
                <a:extLst>
                  <a:ext uri="{FF2B5EF4-FFF2-40B4-BE49-F238E27FC236}">
                    <a16:creationId xmlns:a16="http://schemas.microsoft.com/office/drawing/2014/main" id="{9EA39D7F-F7D7-CCCF-50F3-F09C06ADAFBC}"/>
                  </a:ext>
                </a:extLst>
              </p:cNvPr>
              <p:cNvSpPr/>
              <p:nvPr/>
            </p:nvSpPr>
            <p:spPr bwMode="gray">
              <a:xfrm>
                <a:off x="2398592" y="4279337"/>
                <a:ext cx="192898" cy="356569"/>
              </a:xfrm>
              <a:custGeom>
                <a:avLst/>
                <a:gdLst>
                  <a:gd name="connsiteX0" fmla="*/ 181788 w 193591"/>
                  <a:gd name="connsiteY0" fmla="*/ 13199 h 357851"/>
                  <a:gd name="connsiteX1" fmla="*/ 181788 w 193591"/>
                  <a:gd name="connsiteY1" fmla="*/ 321908 h 357851"/>
                  <a:gd name="connsiteX2" fmla="*/ 121417 w 193591"/>
                  <a:gd name="connsiteY2" fmla="*/ 345825 h 357851"/>
                  <a:gd name="connsiteX3" fmla="*/ 13199 w 193591"/>
                  <a:gd name="connsiteY3" fmla="*/ 81543 h 357851"/>
                  <a:gd name="connsiteX4" fmla="*/ 181788 w 193591"/>
                  <a:gd name="connsiteY4" fmla="*/ 13199 h 357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591" h="357851">
                    <a:moveTo>
                      <a:pt x="181788" y="13199"/>
                    </a:moveTo>
                    <a:lnTo>
                      <a:pt x="181788" y="321908"/>
                    </a:lnTo>
                    <a:lnTo>
                      <a:pt x="121417" y="345825"/>
                    </a:lnTo>
                    <a:lnTo>
                      <a:pt x="13199" y="81543"/>
                    </a:lnTo>
                    <a:lnTo>
                      <a:pt x="181788" y="13199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6" name="Freihandform: Form 119">
                <a:extLst>
                  <a:ext uri="{FF2B5EF4-FFF2-40B4-BE49-F238E27FC236}">
                    <a16:creationId xmlns:a16="http://schemas.microsoft.com/office/drawing/2014/main" id="{96263BEA-84A6-4BCF-291B-7C05935D0CC6}"/>
                  </a:ext>
                </a:extLst>
              </p:cNvPr>
              <p:cNvSpPr/>
              <p:nvPr/>
            </p:nvSpPr>
            <p:spPr bwMode="gray">
              <a:xfrm>
                <a:off x="2330488" y="4368720"/>
                <a:ext cx="169516" cy="216279"/>
              </a:xfrm>
              <a:custGeom>
                <a:avLst/>
                <a:gdLst>
                  <a:gd name="connsiteX0" fmla="*/ 90290 w 170126"/>
                  <a:gd name="connsiteY0" fmla="*/ 13199 h 217057"/>
                  <a:gd name="connsiteX1" fmla="*/ 13199 w 170126"/>
                  <a:gd name="connsiteY1" fmla="*/ 45664 h 217057"/>
                  <a:gd name="connsiteX2" fmla="*/ 81549 w 170126"/>
                  <a:gd name="connsiteY2" fmla="*/ 205430 h 217057"/>
                  <a:gd name="connsiteX3" fmla="*/ 156991 w 170126"/>
                  <a:gd name="connsiteY3" fmla="*/ 176086 h 21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0126" h="217057">
                    <a:moveTo>
                      <a:pt x="90290" y="13199"/>
                    </a:moveTo>
                    <a:lnTo>
                      <a:pt x="13199" y="45664"/>
                    </a:lnTo>
                    <a:lnTo>
                      <a:pt x="81549" y="205430"/>
                    </a:lnTo>
                    <a:lnTo>
                      <a:pt x="156991" y="17608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7" name="Freihandform: Form 120">
                <a:extLst>
                  <a:ext uri="{FF2B5EF4-FFF2-40B4-BE49-F238E27FC236}">
                    <a16:creationId xmlns:a16="http://schemas.microsoft.com/office/drawing/2014/main" id="{AC88278D-9FDD-A6DF-E0BD-83990EAB7E49}"/>
                  </a:ext>
                </a:extLst>
              </p:cNvPr>
              <p:cNvSpPr/>
              <p:nvPr/>
            </p:nvSpPr>
            <p:spPr bwMode="gray">
              <a:xfrm>
                <a:off x="2218110" y="4505614"/>
                <a:ext cx="146134" cy="134444"/>
              </a:xfrm>
              <a:custGeom>
                <a:avLst/>
                <a:gdLst>
                  <a:gd name="connsiteX0" fmla="*/ 71523 w 146660"/>
                  <a:gd name="connsiteY0" fmla="*/ 13199 h 134927"/>
                  <a:gd name="connsiteX1" fmla="*/ 130158 w 146660"/>
                  <a:gd name="connsiteY1" fmla="*/ 86729 h 134927"/>
                  <a:gd name="connsiteX2" fmla="*/ 133531 w 146660"/>
                  <a:gd name="connsiteY2" fmla="*/ 106681 h 134927"/>
                  <a:gd name="connsiteX3" fmla="*/ 133531 w 146660"/>
                  <a:gd name="connsiteY3" fmla="*/ 106681 h 134927"/>
                  <a:gd name="connsiteX4" fmla="*/ 103143 w 146660"/>
                  <a:gd name="connsiteY4" fmla="*/ 121265 h 134927"/>
                  <a:gd name="connsiteX5" fmla="*/ 93698 w 146660"/>
                  <a:gd name="connsiteY5" fmla="*/ 115123 h 134927"/>
                  <a:gd name="connsiteX6" fmla="*/ 13199 w 146660"/>
                  <a:gd name="connsiteY6" fmla="*/ 29702 h 134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6660" h="134927">
                    <a:moveTo>
                      <a:pt x="71523" y="13199"/>
                    </a:moveTo>
                    <a:lnTo>
                      <a:pt x="130158" y="86729"/>
                    </a:lnTo>
                    <a:cubicBezTo>
                      <a:pt x="134646" y="92355"/>
                      <a:pt x="135919" y="99893"/>
                      <a:pt x="133531" y="106681"/>
                    </a:cubicBezTo>
                    <a:lnTo>
                      <a:pt x="133531" y="106681"/>
                    </a:lnTo>
                    <a:cubicBezTo>
                      <a:pt x="129167" y="119100"/>
                      <a:pt x="115563" y="125630"/>
                      <a:pt x="103143" y="121265"/>
                    </a:cubicBezTo>
                    <a:cubicBezTo>
                      <a:pt x="99547" y="119998"/>
                      <a:pt x="96309" y="117892"/>
                      <a:pt x="93698" y="115123"/>
                    </a:cubicBezTo>
                    <a:lnTo>
                      <a:pt x="13199" y="29702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8" name="Freihandform: Form 121">
                <a:extLst>
                  <a:ext uri="{FF2B5EF4-FFF2-40B4-BE49-F238E27FC236}">
                    <a16:creationId xmlns:a16="http://schemas.microsoft.com/office/drawing/2014/main" id="{D657D4CD-7877-2332-C90C-C9122C298631}"/>
                  </a:ext>
                </a:extLst>
              </p:cNvPr>
              <p:cNvSpPr/>
              <p:nvPr/>
            </p:nvSpPr>
            <p:spPr bwMode="gray">
              <a:xfrm>
                <a:off x="2182640" y="4562075"/>
                <a:ext cx="151980" cy="105217"/>
              </a:xfrm>
              <a:custGeom>
                <a:avLst/>
                <a:gdLst>
                  <a:gd name="connsiteX0" fmla="*/ 13199 w 152526"/>
                  <a:gd name="connsiteY0" fmla="*/ 13199 h 105595"/>
                  <a:gd name="connsiteX1" fmla="*/ 80945 w 152526"/>
                  <a:gd name="connsiteY1" fmla="*/ 84066 h 105595"/>
                  <a:gd name="connsiteX2" fmla="*/ 130539 w 152526"/>
                  <a:gd name="connsiteY2" fmla="*/ 85386 h 105595"/>
                  <a:gd name="connsiteX3" fmla="*/ 139679 w 152526"/>
                  <a:gd name="connsiteY3" fmla="*/ 71043 h 105595"/>
                  <a:gd name="connsiteX4" fmla="*/ 140043 w 152526"/>
                  <a:gd name="connsiteY4" fmla="*/ 69863 h 105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526" h="105595">
                    <a:moveTo>
                      <a:pt x="13199" y="13199"/>
                    </a:moveTo>
                    <a:lnTo>
                      <a:pt x="80945" y="84066"/>
                    </a:lnTo>
                    <a:cubicBezTo>
                      <a:pt x="94279" y="98127"/>
                      <a:pt x="116483" y="98714"/>
                      <a:pt x="130539" y="85386"/>
                    </a:cubicBezTo>
                    <a:cubicBezTo>
                      <a:pt x="134716" y="81426"/>
                      <a:pt x="137855" y="76504"/>
                      <a:pt x="139679" y="71043"/>
                    </a:cubicBezTo>
                    <a:cubicBezTo>
                      <a:pt x="139803" y="70655"/>
                      <a:pt x="139926" y="70256"/>
                      <a:pt x="140043" y="69863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9" name="Freihandform: Form 122">
                <a:extLst>
                  <a:ext uri="{FF2B5EF4-FFF2-40B4-BE49-F238E27FC236}">
                    <a16:creationId xmlns:a16="http://schemas.microsoft.com/office/drawing/2014/main" id="{B87B9760-6481-A6FC-10DD-EEB61568EE1F}"/>
                  </a:ext>
                </a:extLst>
              </p:cNvPr>
              <p:cNvSpPr/>
              <p:nvPr/>
            </p:nvSpPr>
            <p:spPr bwMode="gray">
              <a:xfrm>
                <a:off x="2150292" y="4595270"/>
                <a:ext cx="140289" cy="99372"/>
              </a:xfrm>
              <a:custGeom>
                <a:avLst/>
                <a:gdLst>
                  <a:gd name="connsiteX0" fmla="*/ 13199 w 140793"/>
                  <a:gd name="connsiteY0" fmla="*/ 13199 h 99729"/>
                  <a:gd name="connsiteX1" fmla="*/ 69230 w 140793"/>
                  <a:gd name="connsiteY1" fmla="*/ 75419 h 99729"/>
                  <a:gd name="connsiteX2" fmla="*/ 93335 w 140793"/>
                  <a:gd name="connsiteY2" fmla="*/ 87592 h 99729"/>
                  <a:gd name="connsiteX3" fmla="*/ 128539 w 140793"/>
                  <a:gd name="connsiteY3" fmla="*/ 65721 h 99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793" h="99729">
                    <a:moveTo>
                      <a:pt x="13199" y="13199"/>
                    </a:moveTo>
                    <a:lnTo>
                      <a:pt x="69230" y="75419"/>
                    </a:lnTo>
                    <a:cubicBezTo>
                      <a:pt x="75342" y="82494"/>
                      <a:pt x="84007" y="86870"/>
                      <a:pt x="93335" y="87592"/>
                    </a:cubicBezTo>
                    <a:cubicBezTo>
                      <a:pt x="103906" y="88172"/>
                      <a:pt x="117293" y="84142"/>
                      <a:pt x="128539" y="6572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0" name="Freihandform: Form 123">
                <a:extLst>
                  <a:ext uri="{FF2B5EF4-FFF2-40B4-BE49-F238E27FC236}">
                    <a16:creationId xmlns:a16="http://schemas.microsoft.com/office/drawing/2014/main" id="{BAF837DB-5A4D-D8DE-B12F-A0F65B95A86A}"/>
                  </a:ext>
                </a:extLst>
              </p:cNvPr>
              <p:cNvSpPr/>
              <p:nvPr/>
            </p:nvSpPr>
            <p:spPr bwMode="gray">
              <a:xfrm>
                <a:off x="2042175" y="4383298"/>
                <a:ext cx="134444" cy="29227"/>
              </a:xfrm>
              <a:custGeom>
                <a:avLst/>
                <a:gdLst>
                  <a:gd name="connsiteX0" fmla="*/ 125213 w 134927"/>
                  <a:gd name="connsiteY0" fmla="*/ 20745 h 29332"/>
                  <a:gd name="connsiteX1" fmla="*/ 13199 w 134927"/>
                  <a:gd name="connsiteY1" fmla="*/ 14332 h 29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927" h="29332">
                    <a:moveTo>
                      <a:pt x="125213" y="20745"/>
                    </a:moveTo>
                    <a:cubicBezTo>
                      <a:pt x="74885" y="9211"/>
                      <a:pt x="13199" y="14332"/>
                      <a:pt x="13199" y="14332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1" name="Freihandform: Form 124">
                <a:extLst>
                  <a:ext uri="{FF2B5EF4-FFF2-40B4-BE49-F238E27FC236}">
                    <a16:creationId xmlns:a16="http://schemas.microsoft.com/office/drawing/2014/main" id="{B4140052-4CE8-2856-0AAB-81788C6A60A4}"/>
                  </a:ext>
                </a:extLst>
              </p:cNvPr>
              <p:cNvSpPr/>
              <p:nvPr/>
            </p:nvSpPr>
            <p:spPr bwMode="gray">
              <a:xfrm>
                <a:off x="1986001" y="4515737"/>
                <a:ext cx="251352" cy="192898"/>
              </a:xfrm>
              <a:custGeom>
                <a:avLst/>
                <a:gdLst>
                  <a:gd name="connsiteX0" fmla="*/ 13199 w 252255"/>
                  <a:gd name="connsiteY0" fmla="*/ 13199 h 193591"/>
                  <a:gd name="connsiteX1" fmla="*/ 174948 w 252255"/>
                  <a:gd name="connsiteY1" fmla="*/ 149406 h 193591"/>
                  <a:gd name="connsiteX2" fmla="*/ 201206 w 252255"/>
                  <a:gd name="connsiteY2" fmla="*/ 174614 h 193591"/>
                  <a:gd name="connsiteX3" fmla="*/ 233642 w 252255"/>
                  <a:gd name="connsiteY3" fmla="*/ 174203 h 193591"/>
                  <a:gd name="connsiteX4" fmla="*/ 239772 w 252255"/>
                  <a:gd name="connsiteY4" fmla="*/ 162388 h 193591"/>
                  <a:gd name="connsiteX5" fmla="*/ 239878 w 252255"/>
                  <a:gd name="connsiteY5" fmla="*/ 161655 h 193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2255" h="193591">
                    <a:moveTo>
                      <a:pt x="13199" y="13199"/>
                    </a:moveTo>
                    <a:cubicBezTo>
                      <a:pt x="70503" y="54429"/>
                      <a:pt x="124573" y="99964"/>
                      <a:pt x="174948" y="149406"/>
                    </a:cubicBezTo>
                    <a:lnTo>
                      <a:pt x="201206" y="174614"/>
                    </a:lnTo>
                    <a:cubicBezTo>
                      <a:pt x="210276" y="183461"/>
                      <a:pt x="224801" y="183273"/>
                      <a:pt x="233642" y="174203"/>
                    </a:cubicBezTo>
                    <a:cubicBezTo>
                      <a:pt x="236810" y="170959"/>
                      <a:pt x="238945" y="166847"/>
                      <a:pt x="239772" y="162388"/>
                    </a:cubicBezTo>
                    <a:cubicBezTo>
                      <a:pt x="239807" y="162148"/>
                      <a:pt x="239848" y="161902"/>
                      <a:pt x="239878" y="161655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2" name="Freihandform: Form 125">
                <a:extLst>
                  <a:ext uri="{FF2B5EF4-FFF2-40B4-BE49-F238E27FC236}">
                    <a16:creationId xmlns:a16="http://schemas.microsoft.com/office/drawing/2014/main" id="{D0670E56-801C-3491-3204-87E87B679F5F}"/>
                  </a:ext>
                </a:extLst>
              </p:cNvPr>
              <p:cNvSpPr/>
              <p:nvPr/>
            </p:nvSpPr>
            <p:spPr bwMode="gray">
              <a:xfrm>
                <a:off x="2018928" y="4548969"/>
                <a:ext cx="64300" cy="58454"/>
              </a:xfrm>
              <a:custGeom>
                <a:avLst/>
                <a:gdLst>
                  <a:gd name="connsiteX0" fmla="*/ 24628 w 64530"/>
                  <a:gd name="connsiteY0" fmla="*/ 13199 h 58664"/>
                  <a:gd name="connsiteX1" fmla="*/ 17723 w 64530"/>
                  <a:gd name="connsiteY1" fmla="*/ 20914 h 58664"/>
                  <a:gd name="connsiteX2" fmla="*/ 19119 w 64530"/>
                  <a:gd name="connsiteY2" fmla="*/ 45993 h 58664"/>
                  <a:gd name="connsiteX3" fmla="*/ 19712 w 64530"/>
                  <a:gd name="connsiteY3" fmla="*/ 46497 h 58664"/>
                  <a:gd name="connsiteX4" fmla="*/ 19712 w 64530"/>
                  <a:gd name="connsiteY4" fmla="*/ 46503 h 58664"/>
                  <a:gd name="connsiteX5" fmla="*/ 46985 w 64530"/>
                  <a:gd name="connsiteY5" fmla="*/ 44321 h 58664"/>
                  <a:gd name="connsiteX6" fmla="*/ 53725 w 64530"/>
                  <a:gd name="connsiteY6" fmla="*/ 36706 h 58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530" h="58664">
                    <a:moveTo>
                      <a:pt x="24628" y="13199"/>
                    </a:moveTo>
                    <a:lnTo>
                      <a:pt x="17723" y="20914"/>
                    </a:lnTo>
                    <a:cubicBezTo>
                      <a:pt x="11182" y="28229"/>
                      <a:pt x="11810" y="39458"/>
                      <a:pt x="19119" y="45993"/>
                    </a:cubicBezTo>
                    <a:cubicBezTo>
                      <a:pt x="19313" y="46169"/>
                      <a:pt x="19512" y="46339"/>
                      <a:pt x="19712" y="46497"/>
                    </a:cubicBezTo>
                    <a:lnTo>
                      <a:pt x="19712" y="46503"/>
                    </a:lnTo>
                    <a:cubicBezTo>
                      <a:pt x="27913" y="53220"/>
                      <a:pt x="39957" y="52258"/>
                      <a:pt x="46985" y="44321"/>
                    </a:cubicBezTo>
                    <a:lnTo>
                      <a:pt x="53725" y="3670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3" name="Freihandform: Form 126">
                <a:extLst>
                  <a:ext uri="{FF2B5EF4-FFF2-40B4-BE49-F238E27FC236}">
                    <a16:creationId xmlns:a16="http://schemas.microsoft.com/office/drawing/2014/main" id="{17F243A7-37C6-8F29-DEAF-F74F220ED045}"/>
                  </a:ext>
                </a:extLst>
              </p:cNvPr>
              <p:cNvSpPr/>
              <p:nvPr/>
            </p:nvSpPr>
            <p:spPr bwMode="gray">
              <a:xfrm>
                <a:off x="2041581" y="4573806"/>
                <a:ext cx="75990" cy="75990"/>
              </a:xfrm>
              <a:custGeom>
                <a:avLst/>
                <a:gdLst>
                  <a:gd name="connsiteX0" fmla="*/ 66670 w 76263"/>
                  <a:gd name="connsiteY0" fmla="*/ 42320 h 76263"/>
                  <a:gd name="connsiteX1" fmla="*/ 51534 w 76263"/>
                  <a:gd name="connsiteY1" fmla="*/ 58829 h 76263"/>
                  <a:gd name="connsiteX2" fmla="*/ 20830 w 76263"/>
                  <a:gd name="connsiteY2" fmla="*/ 60600 h 76263"/>
                  <a:gd name="connsiteX3" fmla="*/ 20830 w 76263"/>
                  <a:gd name="connsiteY3" fmla="*/ 60600 h 76263"/>
                  <a:gd name="connsiteX4" fmla="*/ 18577 w 76263"/>
                  <a:gd name="connsiteY4" fmla="*/ 29479 h 76263"/>
                  <a:gd name="connsiteX5" fmla="*/ 18600 w 76263"/>
                  <a:gd name="connsiteY5" fmla="*/ 29450 h 76263"/>
                  <a:gd name="connsiteX6" fmla="*/ 32697 w 76263"/>
                  <a:gd name="connsiteY6" fmla="*/ 13199 h 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263" h="76263">
                    <a:moveTo>
                      <a:pt x="66670" y="42320"/>
                    </a:moveTo>
                    <a:lnTo>
                      <a:pt x="51534" y="58829"/>
                    </a:lnTo>
                    <a:cubicBezTo>
                      <a:pt x="43462" y="67628"/>
                      <a:pt x="29858" y="68414"/>
                      <a:pt x="20830" y="60600"/>
                    </a:cubicBezTo>
                    <a:lnTo>
                      <a:pt x="20830" y="60600"/>
                    </a:lnTo>
                    <a:cubicBezTo>
                      <a:pt x="11613" y="52628"/>
                      <a:pt x="10604" y="38695"/>
                      <a:pt x="18577" y="29479"/>
                    </a:cubicBezTo>
                    <a:cubicBezTo>
                      <a:pt x="18583" y="29467"/>
                      <a:pt x="18588" y="29461"/>
                      <a:pt x="18600" y="29450"/>
                    </a:cubicBezTo>
                    <a:lnTo>
                      <a:pt x="32697" y="1319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4" name="Freihandform: Form 127">
                <a:extLst>
                  <a:ext uri="{FF2B5EF4-FFF2-40B4-BE49-F238E27FC236}">
                    <a16:creationId xmlns:a16="http://schemas.microsoft.com/office/drawing/2014/main" id="{D9FDD7EC-1E1A-9134-6AE6-DF29F23473CC}"/>
                  </a:ext>
                </a:extLst>
              </p:cNvPr>
              <p:cNvSpPr/>
              <p:nvPr/>
            </p:nvSpPr>
            <p:spPr bwMode="gray">
              <a:xfrm>
                <a:off x="2079365" y="4602822"/>
                <a:ext cx="70145" cy="70145"/>
              </a:xfrm>
              <a:custGeom>
                <a:avLst/>
                <a:gdLst>
                  <a:gd name="connsiteX0" fmla="*/ 28749 w 70396"/>
                  <a:gd name="connsiteY0" fmla="*/ 13199 h 70396"/>
                  <a:gd name="connsiteX1" fmla="*/ 18958 w 70396"/>
                  <a:gd name="connsiteY1" fmla="*/ 23882 h 70396"/>
                  <a:gd name="connsiteX2" fmla="*/ 20173 w 70396"/>
                  <a:gd name="connsiteY2" fmla="*/ 54716 h 70396"/>
                  <a:gd name="connsiteX3" fmla="*/ 20173 w 70396"/>
                  <a:gd name="connsiteY3" fmla="*/ 54716 h 70396"/>
                  <a:gd name="connsiteX4" fmla="*/ 51042 w 70396"/>
                  <a:gd name="connsiteY4" fmla="*/ 53707 h 70396"/>
                  <a:gd name="connsiteX5" fmla="*/ 61279 w 70396"/>
                  <a:gd name="connsiteY5" fmla="*/ 42843 h 70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396" h="70396">
                    <a:moveTo>
                      <a:pt x="28749" y="13199"/>
                    </a:moveTo>
                    <a:lnTo>
                      <a:pt x="18958" y="23882"/>
                    </a:lnTo>
                    <a:cubicBezTo>
                      <a:pt x="10828" y="32752"/>
                      <a:pt x="11373" y="46515"/>
                      <a:pt x="20173" y="54716"/>
                    </a:cubicBezTo>
                    <a:lnTo>
                      <a:pt x="20173" y="54716"/>
                    </a:lnTo>
                    <a:cubicBezTo>
                      <a:pt x="28990" y="62923"/>
                      <a:pt x="42782" y="62471"/>
                      <a:pt x="51042" y="53707"/>
                    </a:cubicBezTo>
                    <a:lnTo>
                      <a:pt x="61279" y="42843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5" name="Freihandform: Form 128">
                <a:extLst>
                  <a:ext uri="{FF2B5EF4-FFF2-40B4-BE49-F238E27FC236}">
                    <a16:creationId xmlns:a16="http://schemas.microsoft.com/office/drawing/2014/main" id="{3B805114-7A15-1FF1-90EE-48AFEDC26752}"/>
                  </a:ext>
                </a:extLst>
              </p:cNvPr>
              <p:cNvSpPr/>
              <p:nvPr/>
            </p:nvSpPr>
            <p:spPr bwMode="gray">
              <a:xfrm>
                <a:off x="2116386" y="4633855"/>
                <a:ext cx="64300" cy="64300"/>
              </a:xfrm>
              <a:custGeom>
                <a:avLst/>
                <a:gdLst>
                  <a:gd name="connsiteX0" fmla="*/ 54102 w 64530"/>
                  <a:gd name="connsiteY0" fmla="*/ 40472 h 64530"/>
                  <a:gd name="connsiteX1" fmla="*/ 48717 w 64530"/>
                  <a:gd name="connsiteY1" fmla="*/ 45981 h 64530"/>
                  <a:gd name="connsiteX2" fmla="*/ 19608 w 64530"/>
                  <a:gd name="connsiteY2" fmla="*/ 46486 h 64530"/>
                  <a:gd name="connsiteX3" fmla="*/ 19608 w 64530"/>
                  <a:gd name="connsiteY3" fmla="*/ 46486 h 64530"/>
                  <a:gd name="connsiteX4" fmla="*/ 18839 w 64530"/>
                  <a:gd name="connsiteY4" fmla="*/ 17306 h 64530"/>
                  <a:gd name="connsiteX5" fmla="*/ 22711 w 64530"/>
                  <a:gd name="connsiteY5" fmla="*/ 13199 h 64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4530" h="64530">
                    <a:moveTo>
                      <a:pt x="54102" y="40472"/>
                    </a:moveTo>
                    <a:lnTo>
                      <a:pt x="48717" y="45981"/>
                    </a:lnTo>
                    <a:cubicBezTo>
                      <a:pt x="40791" y="54094"/>
                      <a:pt x="27809" y="54317"/>
                      <a:pt x="19608" y="46486"/>
                    </a:cubicBezTo>
                    <a:lnTo>
                      <a:pt x="19608" y="46486"/>
                    </a:lnTo>
                    <a:cubicBezTo>
                      <a:pt x="11371" y="38624"/>
                      <a:pt x="11031" y="25589"/>
                      <a:pt x="18839" y="17306"/>
                    </a:cubicBezTo>
                    <a:lnTo>
                      <a:pt x="22711" y="1319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3" name="Gruppieren 129">
              <a:extLst>
                <a:ext uri="{FF2B5EF4-FFF2-40B4-BE49-F238E27FC236}">
                  <a16:creationId xmlns:a16="http://schemas.microsoft.com/office/drawing/2014/main" id="{7FF29A8C-A859-E5DE-F5DE-55A6127B7F0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6597732" y="1626303"/>
              <a:ext cx="452080" cy="452133"/>
              <a:chOff x="8113816" y="1811130"/>
              <a:chExt cx="747504" cy="747591"/>
            </a:xfrm>
          </p:grpSpPr>
          <p:sp>
            <p:nvSpPr>
              <p:cNvPr id="91" name="Freihandform: Form 130">
                <a:extLst>
                  <a:ext uri="{FF2B5EF4-FFF2-40B4-BE49-F238E27FC236}">
                    <a16:creationId xmlns:a16="http://schemas.microsoft.com/office/drawing/2014/main" id="{A9AFF495-5D1F-25F3-B97F-AD5BECFE9064}"/>
                  </a:ext>
                </a:extLst>
              </p:cNvPr>
              <p:cNvSpPr/>
              <p:nvPr/>
            </p:nvSpPr>
            <p:spPr bwMode="gray">
              <a:xfrm>
                <a:off x="8476941" y="2028444"/>
                <a:ext cx="140284" cy="280569"/>
              </a:xfrm>
              <a:custGeom>
                <a:avLst/>
                <a:gdLst>
                  <a:gd name="connsiteX0" fmla="*/ 192627 w 203622"/>
                  <a:gd name="connsiteY0" fmla="*/ 392177 h 407244"/>
                  <a:gd name="connsiteX1" fmla="*/ 173893 w 203622"/>
                  <a:gd name="connsiteY1" fmla="*/ 300139 h 407244"/>
                  <a:gd name="connsiteX2" fmla="*/ 142943 w 203622"/>
                  <a:gd name="connsiteY2" fmla="*/ 248012 h 407244"/>
                  <a:gd name="connsiteX3" fmla="*/ 112807 w 203622"/>
                  <a:gd name="connsiteY3" fmla="*/ 231722 h 407244"/>
                  <a:gd name="connsiteX4" fmla="*/ 33802 w 203622"/>
                  <a:gd name="connsiteY4" fmla="*/ 208917 h 407244"/>
                  <a:gd name="connsiteX5" fmla="*/ 28914 w 203622"/>
                  <a:gd name="connsiteY5" fmla="*/ 206473 h 407244"/>
                  <a:gd name="connsiteX6" fmla="*/ 21584 w 203622"/>
                  <a:gd name="connsiteY6" fmla="*/ 194256 h 407244"/>
                  <a:gd name="connsiteX7" fmla="*/ 18326 w 203622"/>
                  <a:gd name="connsiteY7" fmla="*/ 163305 h 407244"/>
                  <a:gd name="connsiteX8" fmla="*/ 64752 w 203622"/>
                  <a:gd name="connsiteY8" fmla="*/ 90816 h 407244"/>
                  <a:gd name="connsiteX9" fmla="*/ 90001 w 203622"/>
                  <a:gd name="connsiteY9" fmla="*/ 54164 h 407244"/>
                  <a:gd name="connsiteX10" fmla="*/ 68010 w 203622"/>
                  <a:gd name="connsiteY10" fmla="*/ 18326 h 407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3622" h="407244">
                    <a:moveTo>
                      <a:pt x="192627" y="392177"/>
                    </a:moveTo>
                    <a:lnTo>
                      <a:pt x="173893" y="300139"/>
                    </a:lnTo>
                    <a:cubicBezTo>
                      <a:pt x="169821" y="279777"/>
                      <a:pt x="158418" y="261044"/>
                      <a:pt x="142943" y="248012"/>
                    </a:cubicBezTo>
                    <a:cubicBezTo>
                      <a:pt x="132355" y="239867"/>
                      <a:pt x="122581" y="234166"/>
                      <a:pt x="112807" y="231722"/>
                    </a:cubicBezTo>
                    <a:lnTo>
                      <a:pt x="33802" y="208917"/>
                    </a:lnTo>
                    <a:cubicBezTo>
                      <a:pt x="32172" y="208102"/>
                      <a:pt x="30543" y="207288"/>
                      <a:pt x="28914" y="206473"/>
                    </a:cubicBezTo>
                    <a:cubicBezTo>
                      <a:pt x="24842" y="204030"/>
                      <a:pt x="22398" y="199143"/>
                      <a:pt x="21584" y="194256"/>
                    </a:cubicBezTo>
                    <a:lnTo>
                      <a:pt x="18326" y="163305"/>
                    </a:lnTo>
                    <a:cubicBezTo>
                      <a:pt x="40317" y="146201"/>
                      <a:pt x="56607" y="120952"/>
                      <a:pt x="64752" y="90816"/>
                    </a:cubicBezTo>
                    <a:cubicBezTo>
                      <a:pt x="78598" y="89187"/>
                      <a:pt x="90001" y="73711"/>
                      <a:pt x="90001" y="54164"/>
                    </a:cubicBezTo>
                    <a:cubicBezTo>
                      <a:pt x="90001" y="36245"/>
                      <a:pt x="81042" y="20770"/>
                      <a:pt x="6801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2" name="Freihandform: Form 131">
                <a:extLst>
                  <a:ext uri="{FF2B5EF4-FFF2-40B4-BE49-F238E27FC236}">
                    <a16:creationId xmlns:a16="http://schemas.microsoft.com/office/drawing/2014/main" id="{F321C3FF-7514-2D18-D21B-C21668EFF3E7}"/>
                  </a:ext>
                </a:extLst>
              </p:cNvPr>
              <p:cNvSpPr/>
              <p:nvPr/>
            </p:nvSpPr>
            <p:spPr bwMode="gray">
              <a:xfrm>
                <a:off x="8271564" y="2027883"/>
                <a:ext cx="140284" cy="280569"/>
              </a:xfrm>
              <a:custGeom>
                <a:avLst/>
                <a:gdLst>
                  <a:gd name="connsiteX0" fmla="*/ 142943 w 203622"/>
                  <a:gd name="connsiteY0" fmla="*/ 18326 h 407244"/>
                  <a:gd name="connsiteX1" fmla="*/ 121766 w 203622"/>
                  <a:gd name="connsiteY1" fmla="*/ 54163 h 407244"/>
                  <a:gd name="connsiteX2" fmla="*/ 146200 w 203622"/>
                  <a:gd name="connsiteY2" fmla="*/ 90816 h 407244"/>
                  <a:gd name="connsiteX3" fmla="*/ 192626 w 203622"/>
                  <a:gd name="connsiteY3" fmla="*/ 163305 h 407244"/>
                  <a:gd name="connsiteX4" fmla="*/ 189369 w 203622"/>
                  <a:gd name="connsiteY4" fmla="*/ 194256 h 407244"/>
                  <a:gd name="connsiteX5" fmla="*/ 182038 w 203622"/>
                  <a:gd name="connsiteY5" fmla="*/ 206473 h 407244"/>
                  <a:gd name="connsiteX6" fmla="*/ 177151 w 203622"/>
                  <a:gd name="connsiteY6" fmla="*/ 208916 h 407244"/>
                  <a:gd name="connsiteX7" fmla="*/ 98960 w 203622"/>
                  <a:gd name="connsiteY7" fmla="*/ 231722 h 407244"/>
                  <a:gd name="connsiteX8" fmla="*/ 68010 w 203622"/>
                  <a:gd name="connsiteY8" fmla="*/ 248012 h 407244"/>
                  <a:gd name="connsiteX9" fmla="*/ 37059 w 203622"/>
                  <a:gd name="connsiteY9" fmla="*/ 300139 h 407244"/>
                  <a:gd name="connsiteX10" fmla="*/ 18326 w 203622"/>
                  <a:gd name="connsiteY10" fmla="*/ 392177 h 407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3622" h="407244">
                    <a:moveTo>
                      <a:pt x="142943" y="18326"/>
                    </a:moveTo>
                    <a:cubicBezTo>
                      <a:pt x="130725" y="21584"/>
                      <a:pt x="121766" y="36245"/>
                      <a:pt x="121766" y="54163"/>
                    </a:cubicBezTo>
                    <a:cubicBezTo>
                      <a:pt x="121766" y="73711"/>
                      <a:pt x="132355" y="89187"/>
                      <a:pt x="146200" y="90816"/>
                    </a:cubicBezTo>
                    <a:cubicBezTo>
                      <a:pt x="154345" y="120952"/>
                      <a:pt x="170635" y="146201"/>
                      <a:pt x="192626" y="163305"/>
                    </a:cubicBezTo>
                    <a:lnTo>
                      <a:pt x="189369" y="194256"/>
                    </a:lnTo>
                    <a:cubicBezTo>
                      <a:pt x="188554" y="199143"/>
                      <a:pt x="186111" y="204029"/>
                      <a:pt x="182038" y="206473"/>
                    </a:cubicBezTo>
                    <a:cubicBezTo>
                      <a:pt x="180409" y="207288"/>
                      <a:pt x="178780" y="208102"/>
                      <a:pt x="177151" y="208916"/>
                    </a:cubicBezTo>
                    <a:lnTo>
                      <a:pt x="98960" y="231722"/>
                    </a:lnTo>
                    <a:cubicBezTo>
                      <a:pt x="89186" y="234166"/>
                      <a:pt x="78598" y="239053"/>
                      <a:pt x="68010" y="248012"/>
                    </a:cubicBezTo>
                    <a:cubicBezTo>
                      <a:pt x="51720" y="261044"/>
                      <a:pt x="41132" y="279777"/>
                      <a:pt x="37059" y="300139"/>
                    </a:cubicBezTo>
                    <a:lnTo>
                      <a:pt x="18326" y="392177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3" name="Freihandform: Form 132">
                <a:extLst>
                  <a:ext uri="{FF2B5EF4-FFF2-40B4-BE49-F238E27FC236}">
                    <a16:creationId xmlns:a16="http://schemas.microsoft.com/office/drawing/2014/main" id="{A380CDC1-3192-207F-ED2F-273D5B190CD7}"/>
                  </a:ext>
                </a:extLst>
              </p:cNvPr>
              <p:cNvSpPr/>
              <p:nvPr/>
            </p:nvSpPr>
            <p:spPr bwMode="gray">
              <a:xfrm>
                <a:off x="8357387" y="1938102"/>
                <a:ext cx="173953" cy="112228"/>
              </a:xfrm>
              <a:custGeom>
                <a:avLst/>
                <a:gdLst>
                  <a:gd name="connsiteX0" fmla="*/ 240726 w 252491"/>
                  <a:gd name="connsiteY0" fmla="*/ 148644 h 162897"/>
                  <a:gd name="connsiteX1" fmla="*/ 129956 w 252491"/>
                  <a:gd name="connsiteY1" fmla="*/ 18326 h 162897"/>
                  <a:gd name="connsiteX2" fmla="*/ 18371 w 252491"/>
                  <a:gd name="connsiteY2" fmla="*/ 149459 h 162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2491" h="162897">
                    <a:moveTo>
                      <a:pt x="240726" y="148644"/>
                    </a:moveTo>
                    <a:cubicBezTo>
                      <a:pt x="240726" y="148644"/>
                      <a:pt x="247242" y="18326"/>
                      <a:pt x="129956" y="18326"/>
                    </a:cubicBezTo>
                    <a:cubicBezTo>
                      <a:pt x="12669" y="18326"/>
                      <a:pt x="18371" y="149459"/>
                      <a:pt x="18371" y="149459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4" name="Freihandform: Form 133">
                <a:extLst>
                  <a:ext uri="{FF2B5EF4-FFF2-40B4-BE49-F238E27FC236}">
                    <a16:creationId xmlns:a16="http://schemas.microsoft.com/office/drawing/2014/main" id="{4A559CB7-AB59-D524-FAB8-9E4145275D9F}"/>
                  </a:ext>
                </a:extLst>
              </p:cNvPr>
              <p:cNvSpPr/>
              <p:nvPr/>
            </p:nvSpPr>
            <p:spPr bwMode="gray">
              <a:xfrm>
                <a:off x="8363029" y="1973403"/>
                <a:ext cx="162730" cy="44891"/>
              </a:xfrm>
              <a:custGeom>
                <a:avLst/>
                <a:gdLst>
                  <a:gd name="connsiteX0" fmla="*/ 18326 w 236201"/>
                  <a:gd name="connsiteY0" fmla="*/ 41205 h 65159"/>
                  <a:gd name="connsiteX1" fmla="*/ 41946 w 236201"/>
                  <a:gd name="connsiteY1" fmla="*/ 20843 h 65159"/>
                  <a:gd name="connsiteX2" fmla="*/ 90815 w 236201"/>
                  <a:gd name="connsiteY2" fmla="*/ 26544 h 65159"/>
                  <a:gd name="connsiteX3" fmla="*/ 157603 w 236201"/>
                  <a:gd name="connsiteY3" fmla="*/ 50979 h 65159"/>
                  <a:gd name="connsiteX4" fmla="*/ 224392 w 236201"/>
                  <a:gd name="connsiteY4" fmla="*/ 40390 h 65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6201" h="65159">
                    <a:moveTo>
                      <a:pt x="18326" y="41205"/>
                    </a:moveTo>
                    <a:cubicBezTo>
                      <a:pt x="23213" y="31431"/>
                      <a:pt x="32172" y="24915"/>
                      <a:pt x="41946" y="20843"/>
                    </a:cubicBezTo>
                    <a:cubicBezTo>
                      <a:pt x="58236" y="15141"/>
                      <a:pt x="75340" y="20028"/>
                      <a:pt x="90815" y="26544"/>
                    </a:cubicBezTo>
                    <a:cubicBezTo>
                      <a:pt x="112807" y="36318"/>
                      <a:pt x="132355" y="48535"/>
                      <a:pt x="157603" y="50979"/>
                    </a:cubicBezTo>
                    <a:cubicBezTo>
                      <a:pt x="181224" y="53422"/>
                      <a:pt x="203215" y="50979"/>
                      <a:pt x="224392" y="40390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5" name="Freihandform: Form 134">
                <a:extLst>
                  <a:ext uri="{FF2B5EF4-FFF2-40B4-BE49-F238E27FC236}">
                    <a16:creationId xmlns:a16="http://schemas.microsoft.com/office/drawing/2014/main" id="{92E3A969-0D06-03BD-7600-A20487ADCF3E}"/>
                  </a:ext>
                </a:extLst>
              </p:cNvPr>
              <p:cNvSpPr/>
              <p:nvPr/>
            </p:nvSpPr>
            <p:spPr bwMode="gray">
              <a:xfrm>
                <a:off x="8384352" y="2158068"/>
                <a:ext cx="72948" cy="72948"/>
              </a:xfrm>
              <a:custGeom>
                <a:avLst/>
                <a:gdLst>
                  <a:gd name="connsiteX0" fmla="*/ 18326 w 105883"/>
                  <a:gd name="connsiteY0" fmla="*/ 18326 h 105883"/>
                  <a:gd name="connsiteX1" fmla="*/ 90816 w 105883"/>
                  <a:gd name="connsiteY1" fmla="*/ 93259 h 10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883" h="105883">
                    <a:moveTo>
                      <a:pt x="18326" y="18326"/>
                    </a:moveTo>
                    <a:lnTo>
                      <a:pt x="90816" y="9325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6" name="Freihandform: Form 135">
                <a:extLst>
                  <a:ext uri="{FF2B5EF4-FFF2-40B4-BE49-F238E27FC236}">
                    <a16:creationId xmlns:a16="http://schemas.microsoft.com/office/drawing/2014/main" id="{839DB50C-BA45-AE58-0924-187A8BAFBC7C}"/>
                  </a:ext>
                </a:extLst>
              </p:cNvPr>
              <p:cNvSpPr/>
              <p:nvPr/>
            </p:nvSpPr>
            <p:spPr bwMode="gray">
              <a:xfrm>
                <a:off x="8434294" y="2158068"/>
                <a:ext cx="72948" cy="72948"/>
              </a:xfrm>
              <a:custGeom>
                <a:avLst/>
                <a:gdLst>
                  <a:gd name="connsiteX0" fmla="*/ 90815 w 105883"/>
                  <a:gd name="connsiteY0" fmla="*/ 18326 h 105883"/>
                  <a:gd name="connsiteX1" fmla="*/ 18326 w 105883"/>
                  <a:gd name="connsiteY1" fmla="*/ 93259 h 10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883" h="105883">
                    <a:moveTo>
                      <a:pt x="90815" y="18326"/>
                    </a:moveTo>
                    <a:lnTo>
                      <a:pt x="18326" y="9325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7" name="Freihandform: Form 136">
                <a:extLst>
                  <a:ext uri="{FF2B5EF4-FFF2-40B4-BE49-F238E27FC236}">
                    <a16:creationId xmlns:a16="http://schemas.microsoft.com/office/drawing/2014/main" id="{DB0FD39E-5378-F937-9FAC-1FAF340D4DDD}"/>
                  </a:ext>
                </a:extLst>
              </p:cNvPr>
              <p:cNvSpPr/>
              <p:nvPr/>
            </p:nvSpPr>
            <p:spPr bwMode="gray">
              <a:xfrm>
                <a:off x="8434294" y="2209693"/>
                <a:ext cx="22446" cy="56114"/>
              </a:xfrm>
              <a:custGeom>
                <a:avLst/>
                <a:gdLst>
                  <a:gd name="connsiteX0" fmla="*/ 18326 w 32579"/>
                  <a:gd name="connsiteY0" fmla="*/ 18326 h 81448"/>
                  <a:gd name="connsiteX1" fmla="*/ 18326 w 32579"/>
                  <a:gd name="connsiteY1" fmla="*/ 68010 h 81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579" h="81448">
                    <a:moveTo>
                      <a:pt x="18326" y="18326"/>
                    </a:moveTo>
                    <a:lnTo>
                      <a:pt x="18326" y="68010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8" name="Freihandform: Form 137">
                <a:extLst>
                  <a:ext uri="{FF2B5EF4-FFF2-40B4-BE49-F238E27FC236}">
                    <a16:creationId xmlns:a16="http://schemas.microsoft.com/office/drawing/2014/main" id="{D84C309A-CC8B-007E-3E4E-44C397923847}"/>
                  </a:ext>
                </a:extLst>
              </p:cNvPr>
              <p:cNvSpPr/>
              <p:nvPr/>
            </p:nvSpPr>
            <p:spPr bwMode="gray">
              <a:xfrm>
                <a:off x="8113816" y="1811130"/>
                <a:ext cx="662142" cy="662142"/>
              </a:xfrm>
              <a:custGeom>
                <a:avLst/>
                <a:gdLst>
                  <a:gd name="connsiteX0" fmla="*/ 923635 w 961097"/>
                  <a:gd name="connsiteY0" fmla="*/ 459290 h 961097"/>
                  <a:gd name="connsiteX1" fmla="*/ 508025 w 961097"/>
                  <a:gd name="connsiteY1" fmla="*/ 923635 h 961097"/>
                  <a:gd name="connsiteX2" fmla="*/ 43680 w 961097"/>
                  <a:gd name="connsiteY2" fmla="*/ 508025 h 961097"/>
                  <a:gd name="connsiteX3" fmla="*/ 459290 w 961097"/>
                  <a:gd name="connsiteY3" fmla="*/ 43679 h 961097"/>
                  <a:gd name="connsiteX4" fmla="*/ 923635 w 961097"/>
                  <a:gd name="connsiteY4" fmla="*/ 459290 h 96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1097" h="961097">
                    <a:moveTo>
                      <a:pt x="923635" y="459290"/>
                    </a:moveTo>
                    <a:cubicBezTo>
                      <a:pt x="937093" y="702283"/>
                      <a:pt x="751018" y="910177"/>
                      <a:pt x="508025" y="923635"/>
                    </a:cubicBezTo>
                    <a:cubicBezTo>
                      <a:pt x="265032" y="937093"/>
                      <a:pt x="57138" y="751018"/>
                      <a:pt x="43680" y="508025"/>
                    </a:cubicBezTo>
                    <a:cubicBezTo>
                      <a:pt x="30222" y="265032"/>
                      <a:pt x="216297" y="57137"/>
                      <a:pt x="459290" y="43679"/>
                    </a:cubicBezTo>
                    <a:cubicBezTo>
                      <a:pt x="702283" y="30222"/>
                      <a:pt x="910177" y="216297"/>
                      <a:pt x="923635" y="459290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9" name="Freihandform: Form 138">
                <a:extLst>
                  <a:ext uri="{FF2B5EF4-FFF2-40B4-BE49-F238E27FC236}">
                    <a16:creationId xmlns:a16="http://schemas.microsoft.com/office/drawing/2014/main" id="{D70630AF-3B4C-122D-EDB9-6124AE878E5C}"/>
                  </a:ext>
                </a:extLst>
              </p:cNvPr>
              <p:cNvSpPr/>
              <p:nvPr/>
            </p:nvSpPr>
            <p:spPr bwMode="gray">
              <a:xfrm>
                <a:off x="8659310" y="2356711"/>
                <a:ext cx="202010" cy="202010"/>
              </a:xfrm>
              <a:custGeom>
                <a:avLst/>
                <a:gdLst>
                  <a:gd name="connsiteX0" fmla="*/ 100589 w 293216"/>
                  <a:gd name="connsiteY0" fmla="*/ 18326 h 293216"/>
                  <a:gd name="connsiteX1" fmla="*/ 261044 w 293216"/>
                  <a:gd name="connsiteY1" fmla="*/ 178780 h 293216"/>
                  <a:gd name="connsiteX2" fmla="*/ 261044 w 293216"/>
                  <a:gd name="connsiteY2" fmla="*/ 261044 h 293216"/>
                  <a:gd name="connsiteX3" fmla="*/ 261044 w 293216"/>
                  <a:gd name="connsiteY3" fmla="*/ 261044 h 293216"/>
                  <a:gd name="connsiteX4" fmla="*/ 178780 w 293216"/>
                  <a:gd name="connsiteY4" fmla="*/ 261044 h 293216"/>
                  <a:gd name="connsiteX5" fmla="*/ 18326 w 293216"/>
                  <a:gd name="connsiteY5" fmla="*/ 100589 h 293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3216" h="293216">
                    <a:moveTo>
                      <a:pt x="100589" y="18326"/>
                    </a:moveTo>
                    <a:lnTo>
                      <a:pt x="261044" y="178780"/>
                    </a:lnTo>
                    <a:cubicBezTo>
                      <a:pt x="283849" y="201586"/>
                      <a:pt x="283849" y="238238"/>
                      <a:pt x="261044" y="261044"/>
                    </a:cubicBezTo>
                    <a:lnTo>
                      <a:pt x="261044" y="261044"/>
                    </a:lnTo>
                    <a:cubicBezTo>
                      <a:pt x="238238" y="283849"/>
                      <a:pt x="201586" y="283849"/>
                      <a:pt x="178780" y="261044"/>
                    </a:cubicBezTo>
                    <a:lnTo>
                      <a:pt x="18326" y="100589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0" name="Freihandform: Form 139">
                <a:extLst>
                  <a:ext uri="{FF2B5EF4-FFF2-40B4-BE49-F238E27FC236}">
                    <a16:creationId xmlns:a16="http://schemas.microsoft.com/office/drawing/2014/main" id="{5B461BA0-1F18-7869-73B8-6A359D0985C3}"/>
                  </a:ext>
                </a:extLst>
              </p:cNvPr>
              <p:cNvSpPr/>
              <p:nvPr/>
            </p:nvSpPr>
            <p:spPr bwMode="gray">
              <a:xfrm>
                <a:off x="8559988" y="2257391"/>
                <a:ext cx="230068" cy="230066"/>
              </a:xfrm>
              <a:custGeom>
                <a:avLst/>
                <a:gdLst>
                  <a:gd name="connsiteX0" fmla="*/ 18326 w 333940"/>
                  <a:gd name="connsiteY0" fmla="*/ 322130 h 333940"/>
                  <a:gd name="connsiteX1" fmla="*/ 322130 w 333940"/>
                  <a:gd name="connsiteY1" fmla="*/ 18326 h 333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3940" h="333940">
                    <a:moveTo>
                      <a:pt x="18326" y="322130"/>
                    </a:moveTo>
                    <a:cubicBezTo>
                      <a:pt x="159233" y="271632"/>
                      <a:pt x="270818" y="159233"/>
                      <a:pt x="32213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4" name="Gruppieren 140">
              <a:extLst>
                <a:ext uri="{FF2B5EF4-FFF2-40B4-BE49-F238E27FC236}">
                  <a16:creationId xmlns:a16="http://schemas.microsoft.com/office/drawing/2014/main" id="{84142B47-6C1B-DC56-757B-D15385B14905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921751" y="3197527"/>
              <a:ext cx="355624" cy="360952"/>
              <a:chOff x="7986064" y="5303416"/>
              <a:chExt cx="734069" cy="745069"/>
            </a:xfrm>
          </p:grpSpPr>
          <p:sp>
            <p:nvSpPr>
              <p:cNvPr id="80" name="Freihandform: Form 141">
                <a:extLst>
                  <a:ext uri="{FF2B5EF4-FFF2-40B4-BE49-F238E27FC236}">
                    <a16:creationId xmlns:a16="http://schemas.microsoft.com/office/drawing/2014/main" id="{3DB3AB1B-B5A2-A5BB-9F29-D7200199895D}"/>
                  </a:ext>
                </a:extLst>
              </p:cNvPr>
              <p:cNvSpPr/>
              <p:nvPr/>
            </p:nvSpPr>
            <p:spPr bwMode="gray">
              <a:xfrm>
                <a:off x="8383353" y="5963527"/>
                <a:ext cx="48897" cy="24449"/>
              </a:xfrm>
              <a:custGeom>
                <a:avLst/>
                <a:gdLst>
                  <a:gd name="connsiteX0" fmla="*/ 50905 w 65159"/>
                  <a:gd name="connsiteY0" fmla="*/ 18326 h 32579"/>
                  <a:gd name="connsiteX1" fmla="*/ 18326 w 65159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159" h="32579">
                    <a:moveTo>
                      <a:pt x="50905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1" name="Freihandform: Form 142">
                <a:extLst>
                  <a:ext uri="{FF2B5EF4-FFF2-40B4-BE49-F238E27FC236}">
                    <a16:creationId xmlns:a16="http://schemas.microsoft.com/office/drawing/2014/main" id="{1B19B53B-87C6-B59F-A499-EC65DB64DEE0}"/>
                  </a:ext>
                </a:extLst>
              </p:cNvPr>
              <p:cNvSpPr/>
              <p:nvPr/>
            </p:nvSpPr>
            <p:spPr bwMode="gray">
              <a:xfrm>
                <a:off x="8387632" y="5898739"/>
                <a:ext cx="61121" cy="24449"/>
              </a:xfrm>
              <a:custGeom>
                <a:avLst/>
                <a:gdLst>
                  <a:gd name="connsiteX0" fmla="*/ 67195 w 81448"/>
                  <a:gd name="connsiteY0" fmla="*/ 18326 h 32579"/>
                  <a:gd name="connsiteX1" fmla="*/ 18326 w 81448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32579">
                    <a:moveTo>
                      <a:pt x="67195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2" name="Freihandform: Form 143">
                <a:extLst>
                  <a:ext uri="{FF2B5EF4-FFF2-40B4-BE49-F238E27FC236}">
                    <a16:creationId xmlns:a16="http://schemas.microsoft.com/office/drawing/2014/main" id="{4928CFBF-B60C-B31A-45EC-7DF2540DBE2C}"/>
                  </a:ext>
                </a:extLst>
              </p:cNvPr>
              <p:cNvSpPr/>
              <p:nvPr/>
            </p:nvSpPr>
            <p:spPr bwMode="gray">
              <a:xfrm>
                <a:off x="8392522" y="5833950"/>
                <a:ext cx="67234" cy="24449"/>
              </a:xfrm>
              <a:custGeom>
                <a:avLst/>
                <a:gdLst>
                  <a:gd name="connsiteX0" fmla="*/ 76969 w 89593"/>
                  <a:gd name="connsiteY0" fmla="*/ 18326 h 32579"/>
                  <a:gd name="connsiteX1" fmla="*/ 18326 w 89593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32579">
                    <a:moveTo>
                      <a:pt x="76969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3" name="Freihandform: Form 144">
                <a:extLst>
                  <a:ext uri="{FF2B5EF4-FFF2-40B4-BE49-F238E27FC236}">
                    <a16:creationId xmlns:a16="http://schemas.microsoft.com/office/drawing/2014/main" id="{1E06BC50-0327-5D61-15EA-59398085EC79}"/>
                  </a:ext>
                </a:extLst>
              </p:cNvPr>
              <p:cNvSpPr/>
              <p:nvPr/>
            </p:nvSpPr>
            <p:spPr bwMode="gray">
              <a:xfrm>
                <a:off x="7986064" y="5755102"/>
                <a:ext cx="134467" cy="293383"/>
              </a:xfrm>
              <a:custGeom>
                <a:avLst/>
                <a:gdLst>
                  <a:gd name="connsiteX0" fmla="*/ 18326 w 179187"/>
                  <a:gd name="connsiteY0" fmla="*/ 375072 h 390954"/>
                  <a:gd name="connsiteX1" fmla="*/ 150273 w 179187"/>
                  <a:gd name="connsiteY1" fmla="*/ 375072 h 390954"/>
                  <a:gd name="connsiteX2" fmla="*/ 168192 w 179187"/>
                  <a:gd name="connsiteY2" fmla="*/ 357154 h 390954"/>
                  <a:gd name="connsiteX3" fmla="*/ 168192 w 179187"/>
                  <a:gd name="connsiteY3" fmla="*/ 36245 h 390954"/>
                  <a:gd name="connsiteX4" fmla="*/ 150273 w 179187"/>
                  <a:gd name="connsiteY4" fmla="*/ 18326 h 390954"/>
                  <a:gd name="connsiteX5" fmla="*/ 18326 w 179187"/>
                  <a:gd name="connsiteY5" fmla="*/ 18326 h 390954"/>
                  <a:gd name="connsiteX6" fmla="*/ 18326 w 179187"/>
                  <a:gd name="connsiteY6" fmla="*/ 375072 h 39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9187" h="390954">
                    <a:moveTo>
                      <a:pt x="18326" y="375072"/>
                    </a:moveTo>
                    <a:lnTo>
                      <a:pt x="150273" y="375072"/>
                    </a:lnTo>
                    <a:cubicBezTo>
                      <a:pt x="160047" y="375072"/>
                      <a:pt x="168192" y="366928"/>
                      <a:pt x="168192" y="357154"/>
                    </a:cubicBezTo>
                    <a:lnTo>
                      <a:pt x="168192" y="36245"/>
                    </a:lnTo>
                    <a:cubicBezTo>
                      <a:pt x="168192" y="26471"/>
                      <a:pt x="160047" y="18326"/>
                      <a:pt x="150273" y="18326"/>
                    </a:cubicBezTo>
                    <a:lnTo>
                      <a:pt x="18326" y="18326"/>
                    </a:lnTo>
                    <a:lnTo>
                      <a:pt x="18326" y="3750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4" name="Freihandform: Form 145">
                <a:extLst>
                  <a:ext uri="{FF2B5EF4-FFF2-40B4-BE49-F238E27FC236}">
                    <a16:creationId xmlns:a16="http://schemas.microsoft.com/office/drawing/2014/main" id="{CD338184-DF7F-8991-A6D0-66469A309032}"/>
                  </a:ext>
                </a:extLst>
              </p:cNvPr>
              <p:cNvSpPr/>
              <p:nvPr/>
            </p:nvSpPr>
            <p:spPr bwMode="gray">
              <a:xfrm>
                <a:off x="8099139" y="5768549"/>
                <a:ext cx="409514" cy="275046"/>
              </a:xfrm>
              <a:custGeom>
                <a:avLst/>
                <a:gdLst>
                  <a:gd name="connsiteX0" fmla="*/ 299325 w 545707"/>
                  <a:gd name="connsiteY0" fmla="*/ 18326 h 366520"/>
                  <a:gd name="connsiteX1" fmla="*/ 489915 w 545707"/>
                  <a:gd name="connsiteY1" fmla="*/ 18326 h 366520"/>
                  <a:gd name="connsiteX2" fmla="*/ 533083 w 545707"/>
                  <a:gd name="connsiteY2" fmla="*/ 63123 h 366520"/>
                  <a:gd name="connsiteX3" fmla="*/ 488286 w 545707"/>
                  <a:gd name="connsiteY3" fmla="*/ 104662 h 366520"/>
                  <a:gd name="connsiteX4" fmla="*/ 470368 w 545707"/>
                  <a:gd name="connsiteY4" fmla="*/ 104662 h 366520"/>
                  <a:gd name="connsiteX5" fmla="*/ 513536 w 545707"/>
                  <a:gd name="connsiteY5" fmla="*/ 149459 h 366520"/>
                  <a:gd name="connsiteX6" fmla="*/ 468739 w 545707"/>
                  <a:gd name="connsiteY6" fmla="*/ 190998 h 366520"/>
                  <a:gd name="connsiteX7" fmla="*/ 450820 w 545707"/>
                  <a:gd name="connsiteY7" fmla="*/ 190998 h 366520"/>
                  <a:gd name="connsiteX8" fmla="*/ 493988 w 545707"/>
                  <a:gd name="connsiteY8" fmla="*/ 235795 h 366520"/>
                  <a:gd name="connsiteX9" fmla="*/ 449191 w 545707"/>
                  <a:gd name="connsiteY9" fmla="*/ 277334 h 366520"/>
                  <a:gd name="connsiteX10" fmla="*/ 431272 w 545707"/>
                  <a:gd name="connsiteY10" fmla="*/ 277334 h 366520"/>
                  <a:gd name="connsiteX11" fmla="*/ 474440 w 545707"/>
                  <a:gd name="connsiteY11" fmla="*/ 316429 h 366520"/>
                  <a:gd name="connsiteX12" fmla="*/ 429643 w 545707"/>
                  <a:gd name="connsiteY12" fmla="*/ 355525 h 366520"/>
                  <a:gd name="connsiteX13" fmla="*/ 158418 w 545707"/>
                  <a:gd name="connsiteY13" fmla="*/ 312357 h 366520"/>
                  <a:gd name="connsiteX14" fmla="*/ 68010 w 545707"/>
                  <a:gd name="connsiteY14" fmla="*/ 303397 h 366520"/>
                  <a:gd name="connsiteX15" fmla="*/ 18326 w 545707"/>
                  <a:gd name="connsiteY15" fmla="*/ 315615 h 366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45707" h="366520">
                    <a:moveTo>
                      <a:pt x="299325" y="18326"/>
                    </a:moveTo>
                    <a:lnTo>
                      <a:pt x="489915" y="18326"/>
                    </a:lnTo>
                    <a:cubicBezTo>
                      <a:pt x="514350" y="18326"/>
                      <a:pt x="533898" y="38688"/>
                      <a:pt x="533083" y="63123"/>
                    </a:cubicBezTo>
                    <a:cubicBezTo>
                      <a:pt x="532269" y="85929"/>
                      <a:pt x="511092" y="104662"/>
                      <a:pt x="488286" y="104662"/>
                    </a:cubicBezTo>
                    <a:lnTo>
                      <a:pt x="470368" y="104662"/>
                    </a:lnTo>
                    <a:cubicBezTo>
                      <a:pt x="494802" y="104662"/>
                      <a:pt x="514350" y="125024"/>
                      <a:pt x="513536" y="149459"/>
                    </a:cubicBezTo>
                    <a:cubicBezTo>
                      <a:pt x="512721" y="172264"/>
                      <a:pt x="491545" y="190998"/>
                      <a:pt x="468739" y="190998"/>
                    </a:cubicBezTo>
                    <a:lnTo>
                      <a:pt x="450820" y="190998"/>
                    </a:lnTo>
                    <a:cubicBezTo>
                      <a:pt x="475255" y="190998"/>
                      <a:pt x="494802" y="211360"/>
                      <a:pt x="493988" y="235795"/>
                    </a:cubicBezTo>
                    <a:cubicBezTo>
                      <a:pt x="493174" y="258600"/>
                      <a:pt x="471997" y="277334"/>
                      <a:pt x="449191" y="277334"/>
                    </a:cubicBezTo>
                    <a:lnTo>
                      <a:pt x="431272" y="277334"/>
                    </a:lnTo>
                    <a:cubicBezTo>
                      <a:pt x="455707" y="277334"/>
                      <a:pt x="474440" y="294438"/>
                      <a:pt x="474440" y="316429"/>
                    </a:cubicBezTo>
                    <a:cubicBezTo>
                      <a:pt x="474440" y="343307"/>
                      <a:pt x="452449" y="355525"/>
                      <a:pt x="429643" y="355525"/>
                    </a:cubicBezTo>
                    <a:cubicBezTo>
                      <a:pt x="283035" y="355525"/>
                      <a:pt x="200772" y="331090"/>
                      <a:pt x="158418" y="312357"/>
                    </a:cubicBezTo>
                    <a:cubicBezTo>
                      <a:pt x="129911" y="299325"/>
                      <a:pt x="98146" y="296067"/>
                      <a:pt x="68010" y="303397"/>
                    </a:cubicBezTo>
                    <a:lnTo>
                      <a:pt x="18326" y="315615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5" name="Freihandform: Form 146">
                <a:extLst>
                  <a:ext uri="{FF2B5EF4-FFF2-40B4-BE49-F238E27FC236}">
                    <a16:creationId xmlns:a16="http://schemas.microsoft.com/office/drawing/2014/main" id="{C6C11467-A220-1C52-4CCD-91F8C77F33F6}"/>
                  </a:ext>
                </a:extLst>
              </p:cNvPr>
              <p:cNvSpPr/>
              <p:nvPr/>
            </p:nvSpPr>
            <p:spPr bwMode="gray">
              <a:xfrm>
                <a:off x="8098527" y="5676867"/>
                <a:ext cx="262822" cy="122243"/>
              </a:xfrm>
              <a:custGeom>
                <a:avLst/>
                <a:gdLst>
                  <a:gd name="connsiteX0" fmla="*/ 18326 w 350230"/>
                  <a:gd name="connsiteY0" fmla="*/ 149459 h 162897"/>
                  <a:gd name="connsiteX1" fmla="*/ 121766 w 350230"/>
                  <a:gd name="connsiteY1" fmla="*/ 149459 h 162897"/>
                  <a:gd name="connsiteX2" fmla="*/ 179595 w 350230"/>
                  <a:gd name="connsiteY2" fmla="*/ 149459 h 162897"/>
                  <a:gd name="connsiteX3" fmla="*/ 338420 w 350230"/>
                  <a:gd name="connsiteY3" fmla="*/ 18326 h 162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0230" h="162897">
                    <a:moveTo>
                      <a:pt x="18326" y="149459"/>
                    </a:moveTo>
                    <a:lnTo>
                      <a:pt x="121766" y="149459"/>
                    </a:lnTo>
                    <a:lnTo>
                      <a:pt x="179595" y="149459"/>
                    </a:lnTo>
                    <a:cubicBezTo>
                      <a:pt x="179595" y="149459"/>
                      <a:pt x="186925" y="44390"/>
                      <a:pt x="33842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6" name="Freihandform: Form 147">
                <a:extLst>
                  <a:ext uri="{FF2B5EF4-FFF2-40B4-BE49-F238E27FC236}">
                    <a16:creationId xmlns:a16="http://schemas.microsoft.com/office/drawing/2014/main" id="{03D12D90-6236-4F72-73BB-13DBF1B667B0}"/>
                  </a:ext>
                </a:extLst>
              </p:cNvPr>
              <p:cNvSpPr/>
              <p:nvPr/>
            </p:nvSpPr>
            <p:spPr bwMode="gray">
              <a:xfrm>
                <a:off x="8124809" y="5326642"/>
                <a:ext cx="537869" cy="140580"/>
              </a:xfrm>
              <a:custGeom>
                <a:avLst/>
                <a:gdLst>
                  <a:gd name="connsiteX0" fmla="*/ 705755 w 716750"/>
                  <a:gd name="connsiteY0" fmla="*/ 18326 h 187332"/>
                  <a:gd name="connsiteX1" fmla="*/ 323759 w 716750"/>
                  <a:gd name="connsiteY1" fmla="*/ 155160 h 187332"/>
                  <a:gd name="connsiteX2" fmla="*/ 18326 w 716750"/>
                  <a:gd name="connsiteY2" fmla="*/ 163305 h 187332"/>
                  <a:gd name="connsiteX3" fmla="*/ 18326 w 716750"/>
                  <a:gd name="connsiteY3" fmla="*/ 163305 h 187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6750" h="187332">
                    <a:moveTo>
                      <a:pt x="705755" y="18326"/>
                    </a:moveTo>
                    <a:cubicBezTo>
                      <a:pt x="551816" y="92445"/>
                      <a:pt x="421498" y="133169"/>
                      <a:pt x="323759" y="155160"/>
                    </a:cubicBezTo>
                    <a:cubicBezTo>
                      <a:pt x="223577" y="177966"/>
                      <a:pt x="120137" y="180409"/>
                      <a:pt x="18326" y="163305"/>
                    </a:cubicBezTo>
                    <a:lnTo>
                      <a:pt x="18326" y="163305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7" name="Freihandform: Form 148">
                <a:extLst>
                  <a:ext uri="{FF2B5EF4-FFF2-40B4-BE49-F238E27FC236}">
                    <a16:creationId xmlns:a16="http://schemas.microsoft.com/office/drawing/2014/main" id="{6A78075A-9A5C-F443-3903-82F1DDA7828A}"/>
                  </a:ext>
                </a:extLst>
              </p:cNvPr>
              <p:cNvSpPr/>
              <p:nvPr/>
            </p:nvSpPr>
            <p:spPr bwMode="gray">
              <a:xfrm>
                <a:off x="8338735" y="5596798"/>
                <a:ext cx="97794" cy="195589"/>
              </a:xfrm>
              <a:custGeom>
                <a:avLst/>
                <a:gdLst>
                  <a:gd name="connsiteX0" fmla="*/ 117694 w 130318"/>
                  <a:gd name="connsiteY0" fmla="*/ 42761 h 260636"/>
                  <a:gd name="connsiteX1" fmla="*/ 117694 w 130318"/>
                  <a:gd name="connsiteY1" fmla="*/ 247198 h 260636"/>
                  <a:gd name="connsiteX2" fmla="*/ 18326 w 130318"/>
                  <a:gd name="connsiteY2" fmla="*/ 247198 h 260636"/>
                  <a:gd name="connsiteX3" fmla="*/ 18326 w 130318"/>
                  <a:gd name="connsiteY3" fmla="*/ 18326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260636">
                    <a:moveTo>
                      <a:pt x="117694" y="42761"/>
                    </a:moveTo>
                    <a:lnTo>
                      <a:pt x="117694" y="247198"/>
                    </a:lnTo>
                    <a:lnTo>
                      <a:pt x="18326" y="247198"/>
                    </a:ln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8" name="Freihandform: Form 149">
                <a:extLst>
                  <a:ext uri="{FF2B5EF4-FFF2-40B4-BE49-F238E27FC236}">
                    <a16:creationId xmlns:a16="http://schemas.microsoft.com/office/drawing/2014/main" id="{9895C9B3-25D4-B3B2-D0DE-B1E4A9C1A954}"/>
                  </a:ext>
                </a:extLst>
              </p:cNvPr>
              <p:cNvSpPr/>
              <p:nvPr/>
            </p:nvSpPr>
            <p:spPr bwMode="gray">
              <a:xfrm>
                <a:off x="8640675" y="5303416"/>
                <a:ext cx="79458" cy="446186"/>
              </a:xfrm>
              <a:custGeom>
                <a:avLst/>
                <a:gdLst>
                  <a:gd name="connsiteX0" fmla="*/ 61494 w 105883"/>
                  <a:gd name="connsiteY0" fmla="*/ 581953 h 594577"/>
                  <a:gd name="connsiteX1" fmla="*/ 18326 w 105883"/>
                  <a:gd name="connsiteY1" fmla="*/ 581953 h 594577"/>
                  <a:gd name="connsiteX2" fmla="*/ 18326 w 105883"/>
                  <a:gd name="connsiteY2" fmla="*/ 18326 h 594577"/>
                  <a:gd name="connsiteX3" fmla="*/ 61494 w 105883"/>
                  <a:gd name="connsiteY3" fmla="*/ 18326 h 594577"/>
                  <a:gd name="connsiteX4" fmla="*/ 94073 w 105883"/>
                  <a:gd name="connsiteY4" fmla="*/ 50906 h 594577"/>
                  <a:gd name="connsiteX5" fmla="*/ 94073 w 105883"/>
                  <a:gd name="connsiteY5" fmla="*/ 549373 h 594577"/>
                  <a:gd name="connsiteX6" fmla="*/ 61494 w 105883"/>
                  <a:gd name="connsiteY6" fmla="*/ 581953 h 594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5883" h="594577">
                    <a:moveTo>
                      <a:pt x="61494" y="581953"/>
                    </a:moveTo>
                    <a:lnTo>
                      <a:pt x="18326" y="581953"/>
                    </a:lnTo>
                    <a:lnTo>
                      <a:pt x="18326" y="18326"/>
                    </a:lnTo>
                    <a:lnTo>
                      <a:pt x="61494" y="18326"/>
                    </a:lnTo>
                    <a:cubicBezTo>
                      <a:pt x="79413" y="18326"/>
                      <a:pt x="94073" y="32987"/>
                      <a:pt x="94073" y="50906"/>
                    </a:cubicBezTo>
                    <a:lnTo>
                      <a:pt x="94073" y="549373"/>
                    </a:lnTo>
                    <a:cubicBezTo>
                      <a:pt x="94073" y="567292"/>
                      <a:pt x="79413" y="581953"/>
                      <a:pt x="61494" y="58195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9" name="Freihandform: Form 150">
                <a:extLst>
                  <a:ext uri="{FF2B5EF4-FFF2-40B4-BE49-F238E27FC236}">
                    <a16:creationId xmlns:a16="http://schemas.microsoft.com/office/drawing/2014/main" id="{2D6FD5AF-ABF4-E8B4-3BF2-ED86C82376B8}"/>
                  </a:ext>
                </a:extLst>
              </p:cNvPr>
              <p:cNvSpPr/>
              <p:nvPr/>
            </p:nvSpPr>
            <p:spPr bwMode="gray">
              <a:xfrm>
                <a:off x="8125421" y="5585273"/>
                <a:ext cx="537869" cy="140580"/>
              </a:xfrm>
              <a:custGeom>
                <a:avLst/>
                <a:gdLst>
                  <a:gd name="connsiteX0" fmla="*/ 704940 w 716750"/>
                  <a:gd name="connsiteY0" fmla="*/ 174591 h 187332"/>
                  <a:gd name="connsiteX1" fmla="*/ 331904 w 716750"/>
                  <a:gd name="connsiteY1" fmla="*/ 39386 h 187332"/>
                  <a:gd name="connsiteX2" fmla="*/ 18326 w 716750"/>
                  <a:gd name="connsiteY2" fmla="*/ 28797 h 187332"/>
                  <a:gd name="connsiteX3" fmla="*/ 18326 w 716750"/>
                  <a:gd name="connsiteY3" fmla="*/ 28797 h 187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6750" h="187332">
                    <a:moveTo>
                      <a:pt x="704940" y="174591"/>
                    </a:moveTo>
                    <a:cubicBezTo>
                      <a:pt x="555074" y="102101"/>
                      <a:pt x="428014" y="62191"/>
                      <a:pt x="331904" y="39386"/>
                    </a:cubicBezTo>
                    <a:cubicBezTo>
                      <a:pt x="229278" y="15765"/>
                      <a:pt x="122581" y="11693"/>
                      <a:pt x="18326" y="28797"/>
                    </a:cubicBezTo>
                    <a:lnTo>
                      <a:pt x="18326" y="28797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0" name="Freihandform: Form 151">
                <a:extLst>
                  <a:ext uri="{FF2B5EF4-FFF2-40B4-BE49-F238E27FC236}">
                    <a16:creationId xmlns:a16="http://schemas.microsoft.com/office/drawing/2014/main" id="{595D3152-1BFF-70FD-6F67-BEF62724CF11}"/>
                  </a:ext>
                </a:extLst>
              </p:cNvPr>
              <p:cNvSpPr/>
              <p:nvPr/>
            </p:nvSpPr>
            <p:spPr bwMode="gray">
              <a:xfrm>
                <a:off x="8071634" y="5415267"/>
                <a:ext cx="79458" cy="226149"/>
              </a:xfrm>
              <a:custGeom>
                <a:avLst/>
                <a:gdLst>
                  <a:gd name="connsiteX0" fmla="*/ 89187 w 105883"/>
                  <a:gd name="connsiteY0" fmla="*/ 283035 h 301361"/>
                  <a:gd name="connsiteX1" fmla="*/ 52535 w 105883"/>
                  <a:gd name="connsiteY1" fmla="*/ 283035 h 301361"/>
                  <a:gd name="connsiteX2" fmla="*/ 18326 w 105883"/>
                  <a:gd name="connsiteY2" fmla="*/ 248827 h 301361"/>
                  <a:gd name="connsiteX3" fmla="*/ 18326 w 105883"/>
                  <a:gd name="connsiteY3" fmla="*/ 52535 h 301361"/>
                  <a:gd name="connsiteX4" fmla="*/ 52535 w 105883"/>
                  <a:gd name="connsiteY4" fmla="*/ 18326 h 301361"/>
                  <a:gd name="connsiteX5" fmla="*/ 89187 w 105883"/>
                  <a:gd name="connsiteY5" fmla="*/ 18326 h 301361"/>
                  <a:gd name="connsiteX6" fmla="*/ 89187 w 105883"/>
                  <a:gd name="connsiteY6" fmla="*/ 283035 h 301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5883" h="301361">
                    <a:moveTo>
                      <a:pt x="89187" y="283035"/>
                    </a:moveTo>
                    <a:lnTo>
                      <a:pt x="52535" y="283035"/>
                    </a:lnTo>
                    <a:cubicBezTo>
                      <a:pt x="33802" y="283035"/>
                      <a:pt x="18326" y="267560"/>
                      <a:pt x="18326" y="248827"/>
                    </a:cubicBezTo>
                    <a:lnTo>
                      <a:pt x="18326" y="52535"/>
                    </a:lnTo>
                    <a:cubicBezTo>
                      <a:pt x="18326" y="33801"/>
                      <a:pt x="33802" y="18326"/>
                      <a:pt x="52535" y="18326"/>
                    </a:cubicBezTo>
                    <a:lnTo>
                      <a:pt x="89187" y="18326"/>
                    </a:lnTo>
                    <a:lnTo>
                      <a:pt x="89187" y="283035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5" name="Gruppieren 152">
              <a:extLst>
                <a:ext uri="{FF2B5EF4-FFF2-40B4-BE49-F238E27FC236}">
                  <a16:creationId xmlns:a16="http://schemas.microsoft.com/office/drawing/2014/main" id="{8872F882-AA25-4F42-700A-300D1E880F5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4363116" y="1676645"/>
              <a:ext cx="442498" cy="390279"/>
              <a:chOff x="8797658" y="7629428"/>
              <a:chExt cx="712335" cy="628274"/>
            </a:xfrm>
          </p:grpSpPr>
          <p:sp>
            <p:nvSpPr>
              <p:cNvPr id="61" name="Freihandform: Form 153">
                <a:extLst>
                  <a:ext uri="{FF2B5EF4-FFF2-40B4-BE49-F238E27FC236}">
                    <a16:creationId xmlns:a16="http://schemas.microsoft.com/office/drawing/2014/main" id="{25319030-2B7E-580C-FDB2-F491361149F3}"/>
                  </a:ext>
                </a:extLst>
              </p:cNvPr>
              <p:cNvSpPr/>
              <p:nvPr/>
            </p:nvSpPr>
            <p:spPr bwMode="gray">
              <a:xfrm>
                <a:off x="9030736" y="7823205"/>
                <a:ext cx="92795" cy="141921"/>
              </a:xfrm>
              <a:custGeom>
                <a:avLst/>
                <a:gdLst>
                  <a:gd name="connsiteX0" fmla="*/ 12282 w 92794"/>
                  <a:gd name="connsiteY0" fmla="*/ 132369 h 141921"/>
                  <a:gd name="connsiteX1" fmla="*/ 12282 w 92794"/>
                  <a:gd name="connsiteY1" fmla="*/ 12282 h 141921"/>
                  <a:gd name="connsiteX2" fmla="*/ 82150 w 92794"/>
                  <a:gd name="connsiteY2" fmla="*/ 12282 h 141921"/>
                  <a:gd name="connsiteX3" fmla="*/ 82150 w 92794"/>
                  <a:gd name="connsiteY3" fmla="*/ 132369 h 141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794" h="141921">
                    <a:moveTo>
                      <a:pt x="12282" y="132369"/>
                    </a:moveTo>
                    <a:lnTo>
                      <a:pt x="12282" y="12282"/>
                    </a:lnTo>
                    <a:lnTo>
                      <a:pt x="82150" y="12282"/>
                    </a:lnTo>
                    <a:lnTo>
                      <a:pt x="82150" y="13236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2" name="Freihandform: Form 154">
                <a:extLst>
                  <a:ext uri="{FF2B5EF4-FFF2-40B4-BE49-F238E27FC236}">
                    <a16:creationId xmlns:a16="http://schemas.microsoft.com/office/drawing/2014/main" id="{235C5CF7-484A-CA36-78DA-0B7B94F45AB3}"/>
                  </a:ext>
                </a:extLst>
              </p:cNvPr>
              <p:cNvSpPr/>
              <p:nvPr/>
            </p:nvSpPr>
            <p:spPr bwMode="gray">
              <a:xfrm>
                <a:off x="9065671" y="7823205"/>
                <a:ext cx="21834" cy="174672"/>
              </a:xfrm>
              <a:custGeom>
                <a:avLst/>
                <a:gdLst>
                  <a:gd name="connsiteX0" fmla="*/ 12282 w 21834"/>
                  <a:gd name="connsiteY0" fmla="*/ 12282 h 174672"/>
                  <a:gd name="connsiteX1" fmla="*/ 12282 w 21834"/>
                  <a:gd name="connsiteY1" fmla="*/ 165120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174672">
                    <a:moveTo>
                      <a:pt x="12282" y="12282"/>
                    </a:moveTo>
                    <a:lnTo>
                      <a:pt x="12282" y="165120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3" name="Freihandform: Form 155">
                <a:extLst>
                  <a:ext uri="{FF2B5EF4-FFF2-40B4-BE49-F238E27FC236}">
                    <a16:creationId xmlns:a16="http://schemas.microsoft.com/office/drawing/2014/main" id="{B355B21C-B0BD-D60C-2C96-5002D7824A09}"/>
                  </a:ext>
                </a:extLst>
              </p:cNvPr>
              <p:cNvSpPr/>
              <p:nvPr/>
            </p:nvSpPr>
            <p:spPr bwMode="gray">
              <a:xfrm>
                <a:off x="9043836" y="7656720"/>
                <a:ext cx="65502" cy="65502"/>
              </a:xfrm>
              <a:custGeom>
                <a:avLst/>
                <a:gdLst>
                  <a:gd name="connsiteX0" fmla="*/ 55950 w 65502"/>
                  <a:gd name="connsiteY0" fmla="*/ 34116 h 65502"/>
                  <a:gd name="connsiteX1" fmla="*/ 34116 w 65502"/>
                  <a:gd name="connsiteY1" fmla="*/ 55950 h 65502"/>
                  <a:gd name="connsiteX2" fmla="*/ 12282 w 65502"/>
                  <a:gd name="connsiteY2" fmla="*/ 34116 h 65502"/>
                  <a:gd name="connsiteX3" fmla="*/ 34116 w 65502"/>
                  <a:gd name="connsiteY3" fmla="*/ 12282 h 65502"/>
                  <a:gd name="connsiteX4" fmla="*/ 55950 w 65502"/>
                  <a:gd name="connsiteY4" fmla="*/ 34116 h 65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502" h="65502">
                    <a:moveTo>
                      <a:pt x="55950" y="34116"/>
                    </a:moveTo>
                    <a:cubicBezTo>
                      <a:pt x="55950" y="46124"/>
                      <a:pt x="46124" y="55950"/>
                      <a:pt x="34116" y="55950"/>
                    </a:cubicBezTo>
                    <a:cubicBezTo>
                      <a:pt x="22107" y="55950"/>
                      <a:pt x="12282" y="46124"/>
                      <a:pt x="12282" y="34116"/>
                    </a:cubicBezTo>
                    <a:cubicBezTo>
                      <a:pt x="12282" y="22107"/>
                      <a:pt x="22107" y="12282"/>
                      <a:pt x="34116" y="12282"/>
                    </a:cubicBezTo>
                    <a:cubicBezTo>
                      <a:pt x="46124" y="12282"/>
                      <a:pt x="55950" y="22107"/>
                      <a:pt x="55950" y="34116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4" name="Freihandform: Form 156">
                <a:extLst>
                  <a:ext uri="{FF2B5EF4-FFF2-40B4-BE49-F238E27FC236}">
                    <a16:creationId xmlns:a16="http://schemas.microsoft.com/office/drawing/2014/main" id="{EA834B4A-DC92-BC1B-C4B0-ABDD36303C87}"/>
                  </a:ext>
                </a:extLst>
              </p:cNvPr>
              <p:cNvSpPr/>
              <p:nvPr/>
            </p:nvSpPr>
            <p:spPr bwMode="gray">
              <a:xfrm>
                <a:off x="9065671" y="7726043"/>
                <a:ext cx="21834" cy="87336"/>
              </a:xfrm>
              <a:custGeom>
                <a:avLst/>
                <a:gdLst>
                  <a:gd name="connsiteX0" fmla="*/ 12282 w 21834"/>
                  <a:gd name="connsiteY0" fmla="*/ 12282 h 87336"/>
                  <a:gd name="connsiteX1" fmla="*/ 12282 w 21834"/>
                  <a:gd name="connsiteY1" fmla="*/ 78875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87336">
                    <a:moveTo>
                      <a:pt x="12282" y="12282"/>
                    </a:moveTo>
                    <a:lnTo>
                      <a:pt x="12282" y="78875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5" name="Freihandform: Form 157">
                <a:extLst>
                  <a:ext uri="{FF2B5EF4-FFF2-40B4-BE49-F238E27FC236}">
                    <a16:creationId xmlns:a16="http://schemas.microsoft.com/office/drawing/2014/main" id="{BD4CE683-062A-C30C-5C7F-BA60B2448AEF}"/>
                  </a:ext>
                </a:extLst>
              </p:cNvPr>
              <p:cNvSpPr/>
              <p:nvPr/>
            </p:nvSpPr>
            <p:spPr bwMode="gray">
              <a:xfrm>
                <a:off x="9030736" y="7770803"/>
                <a:ext cx="92795" cy="76419"/>
              </a:xfrm>
              <a:custGeom>
                <a:avLst/>
                <a:gdLst>
                  <a:gd name="connsiteX0" fmla="*/ 12282 w 92794"/>
                  <a:gd name="connsiteY0" fmla="*/ 12282 h 76419"/>
                  <a:gd name="connsiteX1" fmla="*/ 12282 w 92794"/>
                  <a:gd name="connsiteY1" fmla="*/ 64683 h 76419"/>
                  <a:gd name="connsiteX2" fmla="*/ 82150 w 92794"/>
                  <a:gd name="connsiteY2" fmla="*/ 64683 h 76419"/>
                  <a:gd name="connsiteX3" fmla="*/ 82150 w 92794"/>
                  <a:gd name="connsiteY3" fmla="*/ 12282 h 76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794" h="76419">
                    <a:moveTo>
                      <a:pt x="12282" y="12282"/>
                    </a:moveTo>
                    <a:lnTo>
                      <a:pt x="12282" y="64683"/>
                    </a:lnTo>
                    <a:lnTo>
                      <a:pt x="82150" y="64683"/>
                    </a:lnTo>
                    <a:lnTo>
                      <a:pt x="82150" y="12282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6" name="Freihandform: Form 158">
                <a:extLst>
                  <a:ext uri="{FF2B5EF4-FFF2-40B4-BE49-F238E27FC236}">
                    <a16:creationId xmlns:a16="http://schemas.microsoft.com/office/drawing/2014/main" id="{01888448-A7B1-4F7E-A7DD-DFE88E5F0B24}"/>
                  </a:ext>
                </a:extLst>
              </p:cNvPr>
              <p:cNvSpPr/>
              <p:nvPr/>
            </p:nvSpPr>
            <p:spPr bwMode="gray">
              <a:xfrm>
                <a:off x="8957592" y="7682375"/>
                <a:ext cx="169214" cy="87336"/>
              </a:xfrm>
              <a:custGeom>
                <a:avLst/>
                <a:gdLst>
                  <a:gd name="connsiteX0" fmla="*/ 158570 w 169213"/>
                  <a:gd name="connsiteY0" fmla="*/ 55950 h 87336"/>
                  <a:gd name="connsiteX1" fmla="*/ 101801 w 169213"/>
                  <a:gd name="connsiteY1" fmla="*/ 55950 h 87336"/>
                  <a:gd name="connsiteX2" fmla="*/ 66867 w 169213"/>
                  <a:gd name="connsiteY2" fmla="*/ 69596 h 87336"/>
                  <a:gd name="connsiteX3" fmla="*/ 66867 w 169213"/>
                  <a:gd name="connsiteY3" fmla="*/ 69596 h 87336"/>
                  <a:gd name="connsiteX4" fmla="*/ 32478 w 169213"/>
                  <a:gd name="connsiteY4" fmla="*/ 61954 h 87336"/>
                  <a:gd name="connsiteX5" fmla="*/ 12282 w 169213"/>
                  <a:gd name="connsiteY5" fmla="*/ 12282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9213" h="87336">
                    <a:moveTo>
                      <a:pt x="158570" y="55950"/>
                    </a:moveTo>
                    <a:lnTo>
                      <a:pt x="101801" y="55950"/>
                    </a:lnTo>
                    <a:cubicBezTo>
                      <a:pt x="88701" y="55950"/>
                      <a:pt x="76146" y="60862"/>
                      <a:pt x="66867" y="69596"/>
                    </a:cubicBezTo>
                    <a:lnTo>
                      <a:pt x="66867" y="69596"/>
                    </a:lnTo>
                    <a:cubicBezTo>
                      <a:pt x="55950" y="79967"/>
                      <a:pt x="37937" y="76146"/>
                      <a:pt x="32478" y="61954"/>
                    </a:cubicBezTo>
                    <a:lnTo>
                      <a:pt x="12282" y="12282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7" name="Freihandform: Form 159">
                <a:extLst>
                  <a:ext uri="{FF2B5EF4-FFF2-40B4-BE49-F238E27FC236}">
                    <a16:creationId xmlns:a16="http://schemas.microsoft.com/office/drawing/2014/main" id="{564B1CCB-583D-84D2-C1FF-45BB85D1DC13}"/>
                  </a:ext>
                </a:extLst>
              </p:cNvPr>
              <p:cNvSpPr/>
              <p:nvPr/>
            </p:nvSpPr>
            <p:spPr bwMode="gray">
              <a:xfrm>
                <a:off x="9103880" y="7726043"/>
                <a:ext cx="49127" cy="120087"/>
              </a:xfrm>
              <a:custGeom>
                <a:avLst/>
                <a:gdLst>
                  <a:gd name="connsiteX0" fmla="*/ 12282 w 49126"/>
                  <a:gd name="connsiteY0" fmla="*/ 12282 h 120087"/>
                  <a:gd name="connsiteX1" fmla="*/ 12282 w 49126"/>
                  <a:gd name="connsiteY1" fmla="*/ 12282 h 120087"/>
                  <a:gd name="connsiteX2" fmla="*/ 36845 w 49126"/>
                  <a:gd name="connsiteY2" fmla="*/ 41758 h 120087"/>
                  <a:gd name="connsiteX3" fmla="*/ 36845 w 49126"/>
                  <a:gd name="connsiteY3" fmla="*/ 109443 h 120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126" h="120087">
                    <a:moveTo>
                      <a:pt x="12282" y="12282"/>
                    </a:moveTo>
                    <a:lnTo>
                      <a:pt x="12282" y="12282"/>
                    </a:lnTo>
                    <a:cubicBezTo>
                      <a:pt x="28657" y="12282"/>
                      <a:pt x="36845" y="25382"/>
                      <a:pt x="36845" y="41758"/>
                    </a:cubicBezTo>
                    <a:lnTo>
                      <a:pt x="36845" y="109443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8" name="Freihandform: Form 160">
                <a:extLst>
                  <a:ext uri="{FF2B5EF4-FFF2-40B4-BE49-F238E27FC236}">
                    <a16:creationId xmlns:a16="http://schemas.microsoft.com/office/drawing/2014/main" id="{8EE81A2F-EED7-2CCE-648C-8670F3F7301B}"/>
                  </a:ext>
                </a:extLst>
              </p:cNvPr>
              <p:cNvSpPr/>
              <p:nvPr/>
            </p:nvSpPr>
            <p:spPr bwMode="gray">
              <a:xfrm>
                <a:off x="8797658" y="7900170"/>
                <a:ext cx="447597" cy="262008"/>
              </a:xfrm>
              <a:custGeom>
                <a:avLst/>
                <a:gdLst>
                  <a:gd name="connsiteX0" fmla="*/ 12282 w 447597"/>
                  <a:gd name="connsiteY0" fmla="*/ 189137 h 262008"/>
                  <a:gd name="connsiteX1" fmla="*/ 204967 w 447597"/>
                  <a:gd name="connsiteY1" fmla="*/ 12282 h 262008"/>
                  <a:gd name="connsiteX2" fmla="*/ 438045 w 447597"/>
                  <a:gd name="connsiteY2" fmla="*/ 253548 h 262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7597" h="262008">
                    <a:moveTo>
                      <a:pt x="12282" y="189137"/>
                    </a:moveTo>
                    <a:lnTo>
                      <a:pt x="204967" y="12282"/>
                    </a:lnTo>
                    <a:lnTo>
                      <a:pt x="438045" y="253548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9" name="Freihandform: Form 161">
                <a:extLst>
                  <a:ext uri="{FF2B5EF4-FFF2-40B4-BE49-F238E27FC236}">
                    <a16:creationId xmlns:a16="http://schemas.microsoft.com/office/drawing/2014/main" id="{D8A54E3A-8205-253A-EC04-BFB7218B9BA3}"/>
                  </a:ext>
                </a:extLst>
              </p:cNvPr>
              <p:cNvSpPr/>
              <p:nvPr/>
            </p:nvSpPr>
            <p:spPr bwMode="gray">
              <a:xfrm>
                <a:off x="9062396" y="7779537"/>
                <a:ext cx="447597" cy="251091"/>
              </a:xfrm>
              <a:custGeom>
                <a:avLst/>
                <a:gdLst>
                  <a:gd name="connsiteX0" fmla="*/ 12282 w 447597"/>
                  <a:gd name="connsiteY0" fmla="*/ 211517 h 251091"/>
                  <a:gd name="connsiteX1" fmla="*/ 222980 w 447597"/>
                  <a:gd name="connsiteY1" fmla="*/ 12282 h 251091"/>
                  <a:gd name="connsiteX2" fmla="*/ 438591 w 447597"/>
                  <a:gd name="connsiteY2" fmla="*/ 242085 h 251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7597" h="251091">
                    <a:moveTo>
                      <a:pt x="12282" y="211517"/>
                    </a:moveTo>
                    <a:lnTo>
                      <a:pt x="222980" y="12282"/>
                    </a:lnTo>
                    <a:lnTo>
                      <a:pt x="438591" y="24208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0" name="Freihandform: Form 162">
                <a:extLst>
                  <a:ext uri="{FF2B5EF4-FFF2-40B4-BE49-F238E27FC236}">
                    <a16:creationId xmlns:a16="http://schemas.microsoft.com/office/drawing/2014/main" id="{38A1A52F-A498-8E31-72B0-AA762EB7C947}"/>
                  </a:ext>
                </a:extLst>
              </p:cNvPr>
              <p:cNvSpPr/>
              <p:nvPr/>
            </p:nvSpPr>
            <p:spPr bwMode="gray">
              <a:xfrm>
                <a:off x="9223421" y="7924733"/>
                <a:ext cx="21834" cy="332969"/>
              </a:xfrm>
              <a:custGeom>
                <a:avLst/>
                <a:gdLst>
                  <a:gd name="connsiteX0" fmla="*/ 12282 w 21834"/>
                  <a:gd name="connsiteY0" fmla="*/ 12282 h 332968"/>
                  <a:gd name="connsiteX1" fmla="*/ 12282 w 21834"/>
                  <a:gd name="connsiteY1" fmla="*/ 325054 h 332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32968">
                    <a:moveTo>
                      <a:pt x="12282" y="12282"/>
                    </a:moveTo>
                    <a:lnTo>
                      <a:pt x="12282" y="325054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1" name="Freihandform: Form 163">
                <a:extLst>
                  <a:ext uri="{FF2B5EF4-FFF2-40B4-BE49-F238E27FC236}">
                    <a16:creationId xmlns:a16="http://schemas.microsoft.com/office/drawing/2014/main" id="{5BFBA4E4-2B5A-8435-51DD-AE5AC4B3A67C}"/>
                  </a:ext>
                </a:extLst>
              </p:cNvPr>
              <p:cNvSpPr/>
              <p:nvPr/>
            </p:nvSpPr>
            <p:spPr bwMode="gray">
              <a:xfrm>
                <a:off x="9308574" y="7924733"/>
                <a:ext cx="21834" cy="332969"/>
              </a:xfrm>
              <a:custGeom>
                <a:avLst/>
                <a:gdLst>
                  <a:gd name="connsiteX0" fmla="*/ 12282 w 21834"/>
                  <a:gd name="connsiteY0" fmla="*/ 12282 h 332968"/>
                  <a:gd name="connsiteX1" fmla="*/ 12282 w 21834"/>
                  <a:gd name="connsiteY1" fmla="*/ 325054 h 332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32968">
                    <a:moveTo>
                      <a:pt x="12282" y="12282"/>
                    </a:moveTo>
                    <a:lnTo>
                      <a:pt x="12282" y="325054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2" name="Freihandform: Form 164">
                <a:extLst>
                  <a:ext uri="{FF2B5EF4-FFF2-40B4-BE49-F238E27FC236}">
                    <a16:creationId xmlns:a16="http://schemas.microsoft.com/office/drawing/2014/main" id="{09880B39-BD16-8CE0-6528-8952C9EEBF3D}"/>
                  </a:ext>
                </a:extLst>
              </p:cNvPr>
              <p:cNvSpPr/>
              <p:nvPr/>
            </p:nvSpPr>
            <p:spPr bwMode="gray">
              <a:xfrm>
                <a:off x="9227788" y="7962943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3" name="Freihandform: Form 165">
                <a:extLst>
                  <a:ext uri="{FF2B5EF4-FFF2-40B4-BE49-F238E27FC236}">
                    <a16:creationId xmlns:a16="http://schemas.microsoft.com/office/drawing/2014/main" id="{295AC6F2-68CB-62E9-F456-E8FD8EA4249D}"/>
                  </a:ext>
                </a:extLst>
              </p:cNvPr>
              <p:cNvSpPr/>
              <p:nvPr/>
            </p:nvSpPr>
            <p:spPr bwMode="gray">
              <a:xfrm>
                <a:off x="9227788" y="8021894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4" name="Freihandform: Form 166">
                <a:extLst>
                  <a:ext uri="{FF2B5EF4-FFF2-40B4-BE49-F238E27FC236}">
                    <a16:creationId xmlns:a16="http://schemas.microsoft.com/office/drawing/2014/main" id="{45B0FAB3-68B4-8E26-9797-562ED89CFAD3}"/>
                  </a:ext>
                </a:extLst>
              </p:cNvPr>
              <p:cNvSpPr/>
              <p:nvPr/>
            </p:nvSpPr>
            <p:spPr bwMode="gray">
              <a:xfrm>
                <a:off x="9227788" y="8080846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5" name="Freihandform: Form 167">
                <a:extLst>
                  <a:ext uri="{FF2B5EF4-FFF2-40B4-BE49-F238E27FC236}">
                    <a16:creationId xmlns:a16="http://schemas.microsoft.com/office/drawing/2014/main" id="{A608F61F-A41E-5644-A6F4-E2782D0E93A4}"/>
                  </a:ext>
                </a:extLst>
              </p:cNvPr>
              <p:cNvSpPr/>
              <p:nvPr/>
            </p:nvSpPr>
            <p:spPr bwMode="gray">
              <a:xfrm>
                <a:off x="9227788" y="8140344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6" name="Freihandform: Form 168">
                <a:extLst>
                  <a:ext uri="{FF2B5EF4-FFF2-40B4-BE49-F238E27FC236}">
                    <a16:creationId xmlns:a16="http://schemas.microsoft.com/office/drawing/2014/main" id="{CCB4D8FA-2EC8-BC00-65D1-503D353BD989}"/>
                  </a:ext>
                </a:extLst>
              </p:cNvPr>
              <p:cNvSpPr/>
              <p:nvPr/>
            </p:nvSpPr>
            <p:spPr bwMode="gray">
              <a:xfrm>
                <a:off x="9227788" y="8199296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7" name="Freihandform: Form 169">
                <a:extLst>
                  <a:ext uri="{FF2B5EF4-FFF2-40B4-BE49-F238E27FC236}">
                    <a16:creationId xmlns:a16="http://schemas.microsoft.com/office/drawing/2014/main" id="{36FF92CC-1531-DA0A-4DD3-C1C0227A921A}"/>
                  </a:ext>
                </a:extLst>
              </p:cNvPr>
              <p:cNvSpPr/>
              <p:nvPr/>
            </p:nvSpPr>
            <p:spPr bwMode="gray">
              <a:xfrm>
                <a:off x="9273094" y="7629428"/>
                <a:ext cx="98253" cy="87336"/>
              </a:xfrm>
              <a:custGeom>
                <a:avLst/>
                <a:gdLst>
                  <a:gd name="connsiteX0" fmla="*/ 12282 w 98253"/>
                  <a:gd name="connsiteY0" fmla="*/ 12282 h 87336"/>
                  <a:gd name="connsiteX1" fmla="*/ 89246 w 98253"/>
                  <a:gd name="connsiteY1" fmla="*/ 12282 h 87336"/>
                  <a:gd name="connsiteX2" fmla="*/ 89246 w 98253"/>
                  <a:gd name="connsiteY2" fmla="*/ 79967 h 87336"/>
                  <a:gd name="connsiteX3" fmla="*/ 12282 w 98253"/>
                  <a:gd name="connsiteY3" fmla="*/ 79967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53" h="87336">
                    <a:moveTo>
                      <a:pt x="12282" y="12282"/>
                    </a:moveTo>
                    <a:lnTo>
                      <a:pt x="89246" y="12282"/>
                    </a:lnTo>
                    <a:lnTo>
                      <a:pt x="89246" y="79967"/>
                    </a:lnTo>
                    <a:lnTo>
                      <a:pt x="12282" y="7996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8" name="Freihandform: Form 170">
                <a:extLst>
                  <a:ext uri="{FF2B5EF4-FFF2-40B4-BE49-F238E27FC236}">
                    <a16:creationId xmlns:a16="http://schemas.microsoft.com/office/drawing/2014/main" id="{301B466A-9F17-AC7E-8F7A-0DD6657DB3BD}"/>
                  </a:ext>
                </a:extLst>
              </p:cNvPr>
              <p:cNvSpPr/>
              <p:nvPr/>
            </p:nvSpPr>
            <p:spPr bwMode="gray">
              <a:xfrm>
                <a:off x="9350059" y="7663271"/>
                <a:ext cx="98253" cy="87336"/>
              </a:xfrm>
              <a:custGeom>
                <a:avLst/>
                <a:gdLst>
                  <a:gd name="connsiteX0" fmla="*/ 12282 w 98253"/>
                  <a:gd name="connsiteY0" fmla="*/ 12282 h 87336"/>
                  <a:gd name="connsiteX1" fmla="*/ 89247 w 98253"/>
                  <a:gd name="connsiteY1" fmla="*/ 12282 h 87336"/>
                  <a:gd name="connsiteX2" fmla="*/ 89247 w 98253"/>
                  <a:gd name="connsiteY2" fmla="*/ 79967 h 87336"/>
                  <a:gd name="connsiteX3" fmla="*/ 12282 w 98253"/>
                  <a:gd name="connsiteY3" fmla="*/ 79967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53" h="87336">
                    <a:moveTo>
                      <a:pt x="12282" y="12282"/>
                    </a:moveTo>
                    <a:lnTo>
                      <a:pt x="89247" y="12282"/>
                    </a:lnTo>
                    <a:lnTo>
                      <a:pt x="89247" y="79967"/>
                    </a:lnTo>
                    <a:lnTo>
                      <a:pt x="12282" y="7996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9" name="Freihandform: Form 171">
                <a:extLst>
                  <a:ext uri="{FF2B5EF4-FFF2-40B4-BE49-F238E27FC236}">
                    <a16:creationId xmlns:a16="http://schemas.microsoft.com/office/drawing/2014/main" id="{DE6E8ED5-4098-B867-A25C-5884D17FB746}"/>
                  </a:ext>
                </a:extLst>
              </p:cNvPr>
              <p:cNvSpPr/>
              <p:nvPr/>
            </p:nvSpPr>
            <p:spPr bwMode="gray">
              <a:xfrm>
                <a:off x="9273094" y="7629428"/>
                <a:ext cx="21834" cy="174672"/>
              </a:xfrm>
              <a:custGeom>
                <a:avLst/>
                <a:gdLst>
                  <a:gd name="connsiteX0" fmla="*/ 12282 w 21834"/>
                  <a:gd name="connsiteY0" fmla="*/ 162390 h 174672"/>
                  <a:gd name="connsiteX1" fmla="*/ 12282 w 21834"/>
                  <a:gd name="connsiteY1" fmla="*/ 12282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174672">
                    <a:moveTo>
                      <a:pt x="12282" y="162390"/>
                    </a:moveTo>
                    <a:lnTo>
                      <a:pt x="12282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6" name="Gruppieren 174">
              <a:extLst>
                <a:ext uri="{FF2B5EF4-FFF2-40B4-BE49-F238E27FC236}">
                  <a16:creationId xmlns:a16="http://schemas.microsoft.com/office/drawing/2014/main" id="{286DA8C0-E6E1-8BFC-B825-E353CDB1D4B3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1006530" y="4761255"/>
              <a:ext cx="474967" cy="430310"/>
              <a:chOff x="8663730" y="8525169"/>
              <a:chExt cx="716156" cy="648821"/>
            </a:xfrm>
          </p:grpSpPr>
          <p:sp>
            <p:nvSpPr>
              <p:cNvPr id="48" name="Freihandform: Form 175">
                <a:extLst>
                  <a:ext uri="{FF2B5EF4-FFF2-40B4-BE49-F238E27FC236}">
                    <a16:creationId xmlns:a16="http://schemas.microsoft.com/office/drawing/2014/main" id="{2C1F0C23-2E13-2A0C-287B-3C4F0EDB1C90}"/>
                  </a:ext>
                </a:extLst>
              </p:cNvPr>
              <p:cNvSpPr/>
              <p:nvPr/>
            </p:nvSpPr>
            <p:spPr bwMode="gray">
              <a:xfrm>
                <a:off x="8855869" y="8911268"/>
                <a:ext cx="360261" cy="114629"/>
              </a:xfrm>
              <a:custGeom>
                <a:avLst/>
                <a:gdLst>
                  <a:gd name="connsiteX0" fmla="*/ 205708 w 360261"/>
                  <a:gd name="connsiteY0" fmla="*/ 107623 h 114628"/>
                  <a:gd name="connsiteX1" fmla="*/ 239005 w 360261"/>
                  <a:gd name="connsiteY1" fmla="*/ 107623 h 114628"/>
                  <a:gd name="connsiteX2" fmla="*/ 327978 w 360261"/>
                  <a:gd name="connsiteY2" fmla="*/ 80331 h 114628"/>
                  <a:gd name="connsiteX3" fmla="*/ 352541 w 360261"/>
                  <a:gd name="connsiteY3" fmla="*/ 63955 h 114628"/>
                  <a:gd name="connsiteX4" fmla="*/ 355271 w 360261"/>
                  <a:gd name="connsiteY4" fmla="*/ 51946 h 114628"/>
                  <a:gd name="connsiteX5" fmla="*/ 341078 w 360261"/>
                  <a:gd name="connsiteY5" fmla="*/ 38846 h 114628"/>
                  <a:gd name="connsiteX6" fmla="*/ 302323 w 360261"/>
                  <a:gd name="connsiteY6" fmla="*/ 38300 h 114628"/>
                  <a:gd name="connsiteX7" fmla="*/ 217171 w 360261"/>
                  <a:gd name="connsiteY7" fmla="*/ 41576 h 114628"/>
                  <a:gd name="connsiteX8" fmla="*/ 175140 w 360261"/>
                  <a:gd name="connsiteY8" fmla="*/ 19741 h 114628"/>
                  <a:gd name="connsiteX9" fmla="*/ 7018 w 360261"/>
                  <a:gd name="connsiteY9" fmla="*/ 40483 h 114628"/>
                  <a:gd name="connsiteX10" fmla="*/ 7018 w 360261"/>
                  <a:gd name="connsiteY10" fmla="*/ 40483 h 11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0261" h="114628">
                    <a:moveTo>
                      <a:pt x="205708" y="107623"/>
                    </a:moveTo>
                    <a:lnTo>
                      <a:pt x="239005" y="107623"/>
                    </a:lnTo>
                    <a:cubicBezTo>
                      <a:pt x="270664" y="107623"/>
                      <a:pt x="301777" y="98343"/>
                      <a:pt x="327978" y="80331"/>
                    </a:cubicBezTo>
                    <a:lnTo>
                      <a:pt x="352541" y="63955"/>
                    </a:lnTo>
                    <a:cubicBezTo>
                      <a:pt x="356362" y="61226"/>
                      <a:pt x="358000" y="55768"/>
                      <a:pt x="355271" y="51946"/>
                    </a:cubicBezTo>
                    <a:cubicBezTo>
                      <a:pt x="351450" y="45942"/>
                      <a:pt x="346537" y="42121"/>
                      <a:pt x="341078" y="38846"/>
                    </a:cubicBezTo>
                    <a:cubicBezTo>
                      <a:pt x="329070" y="31750"/>
                      <a:pt x="314332" y="32296"/>
                      <a:pt x="302323" y="38300"/>
                    </a:cubicBezTo>
                    <a:cubicBezTo>
                      <a:pt x="257018" y="60134"/>
                      <a:pt x="217171" y="41576"/>
                      <a:pt x="217171" y="41576"/>
                    </a:cubicBezTo>
                    <a:cubicBezTo>
                      <a:pt x="202433" y="32296"/>
                      <a:pt x="188786" y="25200"/>
                      <a:pt x="175140" y="19741"/>
                    </a:cubicBezTo>
                    <a:cubicBezTo>
                      <a:pt x="119463" y="-3185"/>
                      <a:pt x="55599" y="5549"/>
                      <a:pt x="7018" y="40483"/>
                    </a:cubicBezTo>
                    <a:lnTo>
                      <a:pt x="7018" y="40483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9" name="Freihandform: Form 176">
                <a:extLst>
                  <a:ext uri="{FF2B5EF4-FFF2-40B4-BE49-F238E27FC236}">
                    <a16:creationId xmlns:a16="http://schemas.microsoft.com/office/drawing/2014/main" id="{2FCA1D6E-F1A4-7384-7056-3913E5F75F2E}"/>
                  </a:ext>
                </a:extLst>
              </p:cNvPr>
              <p:cNvSpPr/>
              <p:nvPr/>
            </p:nvSpPr>
            <p:spPr bwMode="gray">
              <a:xfrm>
                <a:off x="8855869" y="8898661"/>
                <a:ext cx="524017" cy="174672"/>
              </a:xfrm>
              <a:custGeom>
                <a:avLst/>
                <a:gdLst>
                  <a:gd name="connsiteX0" fmla="*/ 7018 w 524016"/>
                  <a:gd name="connsiteY0" fmla="*/ 169902 h 174672"/>
                  <a:gd name="connsiteX1" fmla="*/ 213895 w 524016"/>
                  <a:gd name="connsiteY1" fmla="*/ 162806 h 174672"/>
                  <a:gd name="connsiteX2" fmla="*/ 313786 w 524016"/>
                  <a:gd name="connsiteY2" fmla="*/ 140972 h 174672"/>
                  <a:gd name="connsiteX3" fmla="*/ 514113 w 524016"/>
                  <a:gd name="connsiteY3" fmla="*/ 35077 h 174672"/>
                  <a:gd name="connsiteX4" fmla="*/ 516842 w 524016"/>
                  <a:gd name="connsiteY4" fmla="*/ 23068 h 174672"/>
                  <a:gd name="connsiteX5" fmla="*/ 460620 w 524016"/>
                  <a:gd name="connsiteY5" fmla="*/ 9967 h 174672"/>
                  <a:gd name="connsiteX6" fmla="*/ 449703 w 524016"/>
                  <a:gd name="connsiteY6" fmla="*/ 13789 h 174672"/>
                  <a:gd name="connsiteX7" fmla="*/ 348720 w 524016"/>
                  <a:gd name="connsiteY7" fmla="*/ 56911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4016" h="174672">
                    <a:moveTo>
                      <a:pt x="7018" y="169902"/>
                    </a:moveTo>
                    <a:cubicBezTo>
                      <a:pt x="7018" y="169902"/>
                      <a:pt x="82345" y="155164"/>
                      <a:pt x="213895" y="162806"/>
                    </a:cubicBezTo>
                    <a:cubicBezTo>
                      <a:pt x="248830" y="164989"/>
                      <a:pt x="283218" y="156801"/>
                      <a:pt x="313786" y="140972"/>
                    </a:cubicBezTo>
                    <a:lnTo>
                      <a:pt x="514113" y="35077"/>
                    </a:lnTo>
                    <a:cubicBezTo>
                      <a:pt x="518480" y="32894"/>
                      <a:pt x="519572" y="26889"/>
                      <a:pt x="516842" y="23068"/>
                    </a:cubicBezTo>
                    <a:cubicBezTo>
                      <a:pt x="509746" y="13789"/>
                      <a:pt x="493371" y="1234"/>
                      <a:pt x="460620" y="9967"/>
                    </a:cubicBezTo>
                    <a:cubicBezTo>
                      <a:pt x="456799" y="11059"/>
                      <a:pt x="453524" y="12151"/>
                      <a:pt x="449703" y="13789"/>
                    </a:cubicBezTo>
                    <a:lnTo>
                      <a:pt x="348720" y="56911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0" name="Freihandform: Form 177">
                <a:extLst>
                  <a:ext uri="{FF2B5EF4-FFF2-40B4-BE49-F238E27FC236}">
                    <a16:creationId xmlns:a16="http://schemas.microsoft.com/office/drawing/2014/main" id="{53B74D0C-FE90-397B-49C4-A1B6B67483AC}"/>
                  </a:ext>
                </a:extLst>
              </p:cNvPr>
              <p:cNvSpPr/>
              <p:nvPr/>
            </p:nvSpPr>
            <p:spPr bwMode="gray">
              <a:xfrm>
                <a:off x="8779996" y="8918533"/>
                <a:ext cx="87336" cy="201965"/>
              </a:xfrm>
              <a:custGeom>
                <a:avLst/>
                <a:gdLst>
                  <a:gd name="connsiteX0" fmla="*/ 7018 w 87336"/>
                  <a:gd name="connsiteY0" fmla="*/ 198066 h 201964"/>
                  <a:gd name="connsiteX1" fmla="*/ 80708 w 87336"/>
                  <a:gd name="connsiteY1" fmla="*/ 198066 h 201964"/>
                  <a:gd name="connsiteX2" fmla="*/ 80708 w 87336"/>
                  <a:gd name="connsiteY2" fmla="*/ 7018 h 201964"/>
                  <a:gd name="connsiteX3" fmla="*/ 7018 w 87336"/>
                  <a:gd name="connsiteY3" fmla="*/ 7018 h 201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7336" h="201964">
                    <a:moveTo>
                      <a:pt x="7018" y="198066"/>
                    </a:moveTo>
                    <a:lnTo>
                      <a:pt x="80708" y="198066"/>
                    </a:lnTo>
                    <a:lnTo>
                      <a:pt x="80708" y="7018"/>
                    </a:lnTo>
                    <a:lnTo>
                      <a:pt x="7018" y="7018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1" name="Freihandform: Form 178">
                <a:extLst>
                  <a:ext uri="{FF2B5EF4-FFF2-40B4-BE49-F238E27FC236}">
                    <a16:creationId xmlns:a16="http://schemas.microsoft.com/office/drawing/2014/main" id="{16C34792-1994-48E2-F244-70B3A0605D5E}"/>
                  </a:ext>
                </a:extLst>
              </p:cNvPr>
              <p:cNvSpPr/>
              <p:nvPr/>
            </p:nvSpPr>
            <p:spPr bwMode="gray">
              <a:xfrm>
                <a:off x="8663730" y="8862855"/>
                <a:ext cx="125546" cy="311135"/>
              </a:xfrm>
              <a:custGeom>
                <a:avLst/>
                <a:gdLst>
                  <a:gd name="connsiteX0" fmla="*/ 7018 w 125545"/>
                  <a:gd name="connsiteY0" fmla="*/ 304507 h 311134"/>
                  <a:gd name="connsiteX1" fmla="*/ 123284 w 125545"/>
                  <a:gd name="connsiteY1" fmla="*/ 304507 h 311134"/>
                  <a:gd name="connsiteX2" fmla="*/ 123284 w 125545"/>
                  <a:gd name="connsiteY2" fmla="*/ 7018 h 311134"/>
                  <a:gd name="connsiteX3" fmla="*/ 7018 w 125545"/>
                  <a:gd name="connsiteY3" fmla="*/ 7018 h 311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5545" h="311134">
                    <a:moveTo>
                      <a:pt x="7018" y="304507"/>
                    </a:moveTo>
                    <a:lnTo>
                      <a:pt x="123284" y="304507"/>
                    </a:lnTo>
                    <a:lnTo>
                      <a:pt x="123284" y="7018"/>
                    </a:lnTo>
                    <a:lnTo>
                      <a:pt x="7018" y="7018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2" name="Freihandform: Form 179">
                <a:extLst>
                  <a:ext uri="{FF2B5EF4-FFF2-40B4-BE49-F238E27FC236}">
                    <a16:creationId xmlns:a16="http://schemas.microsoft.com/office/drawing/2014/main" id="{1FBA7514-9694-B559-D0BA-352095D8E010}"/>
                  </a:ext>
                </a:extLst>
              </p:cNvPr>
              <p:cNvSpPr/>
              <p:nvPr/>
            </p:nvSpPr>
            <p:spPr bwMode="gray">
              <a:xfrm>
                <a:off x="9052024" y="8745147"/>
                <a:ext cx="87336" cy="147380"/>
              </a:xfrm>
              <a:custGeom>
                <a:avLst/>
                <a:gdLst>
                  <a:gd name="connsiteX0" fmla="*/ 12282 w 87336"/>
                  <a:gd name="connsiteY0" fmla="*/ 107260 h 147379"/>
                  <a:gd name="connsiteX1" fmla="*/ 43941 w 87336"/>
                  <a:gd name="connsiteY1" fmla="*/ 138919 h 147379"/>
                  <a:gd name="connsiteX2" fmla="*/ 75601 w 87336"/>
                  <a:gd name="connsiteY2" fmla="*/ 107260 h 147379"/>
                  <a:gd name="connsiteX3" fmla="*/ 43941 w 87336"/>
                  <a:gd name="connsiteY3" fmla="*/ 75600 h 147379"/>
                  <a:gd name="connsiteX4" fmla="*/ 12282 w 87336"/>
                  <a:gd name="connsiteY4" fmla="*/ 43941 h 147379"/>
                  <a:gd name="connsiteX5" fmla="*/ 43941 w 87336"/>
                  <a:gd name="connsiteY5" fmla="*/ 12282 h 147379"/>
                  <a:gd name="connsiteX6" fmla="*/ 75601 w 87336"/>
                  <a:gd name="connsiteY6" fmla="*/ 43941 h 14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7336" h="147379">
                    <a:moveTo>
                      <a:pt x="12282" y="107260"/>
                    </a:moveTo>
                    <a:cubicBezTo>
                      <a:pt x="12282" y="124727"/>
                      <a:pt x="26474" y="138919"/>
                      <a:pt x="43941" y="138919"/>
                    </a:cubicBezTo>
                    <a:cubicBezTo>
                      <a:pt x="61408" y="138919"/>
                      <a:pt x="75601" y="124727"/>
                      <a:pt x="75601" y="107260"/>
                    </a:cubicBezTo>
                    <a:cubicBezTo>
                      <a:pt x="75601" y="89792"/>
                      <a:pt x="62500" y="81604"/>
                      <a:pt x="43941" y="75600"/>
                    </a:cubicBezTo>
                    <a:cubicBezTo>
                      <a:pt x="27565" y="70142"/>
                      <a:pt x="12282" y="61408"/>
                      <a:pt x="12282" y="43941"/>
                    </a:cubicBezTo>
                    <a:cubicBezTo>
                      <a:pt x="12282" y="26474"/>
                      <a:pt x="26474" y="12282"/>
                      <a:pt x="43941" y="12282"/>
                    </a:cubicBezTo>
                    <a:cubicBezTo>
                      <a:pt x="61408" y="12282"/>
                      <a:pt x="75601" y="26474"/>
                      <a:pt x="75601" y="4394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3" name="Freihandform: Form 180">
                <a:extLst>
                  <a:ext uri="{FF2B5EF4-FFF2-40B4-BE49-F238E27FC236}">
                    <a16:creationId xmlns:a16="http://schemas.microsoft.com/office/drawing/2014/main" id="{5378908A-3CD7-C218-E24B-66C8DAE0DD3F}"/>
                  </a:ext>
                </a:extLst>
              </p:cNvPr>
              <p:cNvSpPr/>
              <p:nvPr/>
            </p:nvSpPr>
            <p:spPr bwMode="gray">
              <a:xfrm>
                <a:off x="9083684" y="8727134"/>
                <a:ext cx="21834" cy="38210"/>
              </a:xfrm>
              <a:custGeom>
                <a:avLst/>
                <a:gdLst>
                  <a:gd name="connsiteX0" fmla="*/ 12282 w 21834"/>
                  <a:gd name="connsiteY0" fmla="*/ 12281 h 38209"/>
                  <a:gd name="connsiteX1" fmla="*/ 12282 w 21834"/>
                  <a:gd name="connsiteY1" fmla="*/ 30295 h 3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8209">
                    <a:moveTo>
                      <a:pt x="12282" y="12281"/>
                    </a:moveTo>
                    <a:lnTo>
                      <a:pt x="12282" y="3029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4" name="Freihandform: Form 181">
                <a:extLst>
                  <a:ext uri="{FF2B5EF4-FFF2-40B4-BE49-F238E27FC236}">
                    <a16:creationId xmlns:a16="http://schemas.microsoft.com/office/drawing/2014/main" id="{13B0C4FF-803B-28E0-E847-1C9AA02F20F8}"/>
                  </a:ext>
                </a:extLst>
              </p:cNvPr>
              <p:cNvSpPr/>
              <p:nvPr/>
            </p:nvSpPr>
            <p:spPr bwMode="gray">
              <a:xfrm>
                <a:off x="9083684" y="8871784"/>
                <a:ext cx="21834" cy="38210"/>
              </a:xfrm>
              <a:custGeom>
                <a:avLst/>
                <a:gdLst>
                  <a:gd name="connsiteX0" fmla="*/ 12282 w 21834"/>
                  <a:gd name="connsiteY0" fmla="*/ 12281 h 38209"/>
                  <a:gd name="connsiteX1" fmla="*/ 12282 w 21834"/>
                  <a:gd name="connsiteY1" fmla="*/ 29749 h 3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8209">
                    <a:moveTo>
                      <a:pt x="12282" y="12281"/>
                    </a:moveTo>
                    <a:lnTo>
                      <a:pt x="12282" y="2974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5" name="Freihandform: Form 182">
                <a:extLst>
                  <a:ext uri="{FF2B5EF4-FFF2-40B4-BE49-F238E27FC236}">
                    <a16:creationId xmlns:a16="http://schemas.microsoft.com/office/drawing/2014/main" id="{3D0AC06F-7936-238E-CC89-14ECA6136DA1}"/>
                  </a:ext>
                </a:extLst>
              </p:cNvPr>
              <p:cNvSpPr/>
              <p:nvPr/>
            </p:nvSpPr>
            <p:spPr bwMode="gray">
              <a:xfrm>
                <a:off x="9198858" y="8709121"/>
                <a:ext cx="103712" cy="229257"/>
              </a:xfrm>
              <a:custGeom>
                <a:avLst/>
                <a:gdLst>
                  <a:gd name="connsiteX0" fmla="*/ 64137 w 103711"/>
                  <a:gd name="connsiteY0" fmla="*/ 221888 h 229257"/>
                  <a:gd name="connsiteX1" fmla="*/ 85425 w 103711"/>
                  <a:gd name="connsiteY1" fmla="*/ 94705 h 229257"/>
                  <a:gd name="connsiteX2" fmla="*/ 12282 w 103711"/>
                  <a:gd name="connsiteY2" fmla="*/ 12282 h 229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3711" h="229257">
                    <a:moveTo>
                      <a:pt x="64137" y="221888"/>
                    </a:moveTo>
                    <a:cubicBezTo>
                      <a:pt x="87609" y="193504"/>
                      <a:pt x="108351" y="140011"/>
                      <a:pt x="85425" y="94705"/>
                    </a:cubicBezTo>
                    <a:cubicBezTo>
                      <a:pt x="70688" y="65775"/>
                      <a:pt x="47216" y="36845"/>
                      <a:pt x="12282" y="1228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6" name="Freihandform: Form 183">
                <a:extLst>
                  <a:ext uri="{FF2B5EF4-FFF2-40B4-BE49-F238E27FC236}">
                    <a16:creationId xmlns:a16="http://schemas.microsoft.com/office/drawing/2014/main" id="{4FBFF65C-FB3C-EC76-F17C-E16B054A1B36}"/>
                  </a:ext>
                </a:extLst>
              </p:cNvPr>
              <p:cNvSpPr/>
              <p:nvPr/>
            </p:nvSpPr>
            <p:spPr bwMode="gray">
              <a:xfrm>
                <a:off x="8883582" y="8708575"/>
                <a:ext cx="109170" cy="223799"/>
              </a:xfrm>
              <a:custGeom>
                <a:avLst/>
                <a:gdLst>
                  <a:gd name="connsiteX0" fmla="*/ 97209 w 109170"/>
                  <a:gd name="connsiteY0" fmla="*/ 12282 h 223798"/>
                  <a:gd name="connsiteX1" fmla="*/ 24065 w 109170"/>
                  <a:gd name="connsiteY1" fmla="*/ 94705 h 223798"/>
                  <a:gd name="connsiteX2" fmla="*/ 39895 w 109170"/>
                  <a:gd name="connsiteY2" fmla="*/ 214792 h 223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170" h="223798">
                    <a:moveTo>
                      <a:pt x="97209" y="12282"/>
                    </a:moveTo>
                    <a:cubicBezTo>
                      <a:pt x="61729" y="36845"/>
                      <a:pt x="38803" y="65775"/>
                      <a:pt x="24065" y="94705"/>
                    </a:cubicBezTo>
                    <a:cubicBezTo>
                      <a:pt x="2231" y="136735"/>
                      <a:pt x="12602" y="187500"/>
                      <a:pt x="39895" y="21479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7" name="Freihandform: Form 184">
                <a:extLst>
                  <a:ext uri="{FF2B5EF4-FFF2-40B4-BE49-F238E27FC236}">
                    <a16:creationId xmlns:a16="http://schemas.microsoft.com/office/drawing/2014/main" id="{8C6E00CB-1ED1-241B-EACC-B33DE9B81184}"/>
                  </a:ext>
                </a:extLst>
              </p:cNvPr>
              <p:cNvSpPr/>
              <p:nvPr/>
            </p:nvSpPr>
            <p:spPr bwMode="gray">
              <a:xfrm>
                <a:off x="8920474" y="8619055"/>
                <a:ext cx="349344" cy="114629"/>
              </a:xfrm>
              <a:custGeom>
                <a:avLst/>
                <a:gdLst>
                  <a:gd name="connsiteX0" fmla="*/ 12282 w 349344"/>
                  <a:gd name="connsiteY0" fmla="*/ 107260 h 114628"/>
                  <a:gd name="connsiteX1" fmla="*/ 12282 w 349344"/>
                  <a:gd name="connsiteY1" fmla="*/ 68504 h 114628"/>
                  <a:gd name="connsiteX2" fmla="*/ 68504 w 349344"/>
                  <a:gd name="connsiteY2" fmla="*/ 12282 h 114628"/>
                  <a:gd name="connsiteX3" fmla="*/ 281932 w 349344"/>
                  <a:gd name="connsiteY3" fmla="*/ 12282 h 114628"/>
                  <a:gd name="connsiteX4" fmla="*/ 338155 w 349344"/>
                  <a:gd name="connsiteY4" fmla="*/ 68504 h 114628"/>
                  <a:gd name="connsiteX5" fmla="*/ 338155 w 349344"/>
                  <a:gd name="connsiteY5" fmla="*/ 107260 h 11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9344" h="114628">
                    <a:moveTo>
                      <a:pt x="12282" y="107260"/>
                    </a:moveTo>
                    <a:lnTo>
                      <a:pt x="12282" y="68504"/>
                    </a:lnTo>
                    <a:cubicBezTo>
                      <a:pt x="12282" y="37391"/>
                      <a:pt x="37391" y="12282"/>
                      <a:pt x="68504" y="12282"/>
                    </a:cubicBezTo>
                    <a:lnTo>
                      <a:pt x="281932" y="12282"/>
                    </a:lnTo>
                    <a:cubicBezTo>
                      <a:pt x="313045" y="12282"/>
                      <a:pt x="338155" y="37391"/>
                      <a:pt x="338155" y="68504"/>
                    </a:cubicBezTo>
                    <a:lnTo>
                      <a:pt x="338155" y="10726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8" name="Freihandform: Form 185">
                <a:extLst>
                  <a:ext uri="{FF2B5EF4-FFF2-40B4-BE49-F238E27FC236}">
                    <a16:creationId xmlns:a16="http://schemas.microsoft.com/office/drawing/2014/main" id="{C0FD4CFA-44AF-109A-F6A6-B5DD4EC6FB80}"/>
                  </a:ext>
                </a:extLst>
              </p:cNvPr>
              <p:cNvSpPr/>
              <p:nvPr/>
            </p:nvSpPr>
            <p:spPr bwMode="gray">
              <a:xfrm>
                <a:off x="9030736" y="8525169"/>
                <a:ext cx="81878" cy="81878"/>
              </a:xfrm>
              <a:custGeom>
                <a:avLst/>
                <a:gdLst>
                  <a:gd name="connsiteX0" fmla="*/ 71234 w 81877"/>
                  <a:gd name="connsiteY0" fmla="*/ 41757 h 81877"/>
                  <a:gd name="connsiteX1" fmla="*/ 41758 w 81877"/>
                  <a:gd name="connsiteY1" fmla="*/ 71234 h 81877"/>
                  <a:gd name="connsiteX2" fmla="*/ 12281 w 81877"/>
                  <a:gd name="connsiteY2" fmla="*/ 41757 h 81877"/>
                  <a:gd name="connsiteX3" fmla="*/ 41758 w 81877"/>
                  <a:gd name="connsiteY3" fmla="*/ 12281 h 81877"/>
                  <a:gd name="connsiteX4" fmla="*/ 71234 w 81877"/>
                  <a:gd name="connsiteY4" fmla="*/ 41757 h 81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877" h="81877">
                    <a:moveTo>
                      <a:pt x="71234" y="41757"/>
                    </a:moveTo>
                    <a:cubicBezTo>
                      <a:pt x="71234" y="58036"/>
                      <a:pt x="58037" y="71234"/>
                      <a:pt x="41758" y="71234"/>
                    </a:cubicBezTo>
                    <a:cubicBezTo>
                      <a:pt x="25478" y="71234"/>
                      <a:pt x="12281" y="58037"/>
                      <a:pt x="12281" y="41757"/>
                    </a:cubicBezTo>
                    <a:cubicBezTo>
                      <a:pt x="12281" y="25479"/>
                      <a:pt x="25478" y="12281"/>
                      <a:pt x="41758" y="12281"/>
                    </a:cubicBezTo>
                    <a:cubicBezTo>
                      <a:pt x="58037" y="12281"/>
                      <a:pt x="71234" y="25478"/>
                      <a:pt x="71234" y="41757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9" name="Freihandform: Form 186">
                <a:extLst>
                  <a:ext uri="{FF2B5EF4-FFF2-40B4-BE49-F238E27FC236}">
                    <a16:creationId xmlns:a16="http://schemas.microsoft.com/office/drawing/2014/main" id="{131B7C5F-B3F2-6AC7-752E-5D9FFF694C9F}"/>
                  </a:ext>
                </a:extLst>
              </p:cNvPr>
              <p:cNvSpPr/>
              <p:nvPr/>
            </p:nvSpPr>
            <p:spPr bwMode="gray">
              <a:xfrm>
                <a:off x="9107155" y="8525169"/>
                <a:ext cx="49127" cy="81878"/>
              </a:xfrm>
              <a:custGeom>
                <a:avLst/>
                <a:gdLst>
                  <a:gd name="connsiteX0" fmla="*/ 12282 w 49126"/>
                  <a:gd name="connsiteY0" fmla="*/ 12282 h 81877"/>
                  <a:gd name="connsiteX1" fmla="*/ 41757 w 49126"/>
                  <a:gd name="connsiteY1" fmla="*/ 41758 h 81877"/>
                  <a:gd name="connsiteX2" fmla="*/ 12282 w 49126"/>
                  <a:gd name="connsiteY2" fmla="*/ 71234 h 81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126" h="81877">
                    <a:moveTo>
                      <a:pt x="12282" y="12282"/>
                    </a:moveTo>
                    <a:cubicBezTo>
                      <a:pt x="28657" y="12282"/>
                      <a:pt x="41757" y="25382"/>
                      <a:pt x="41757" y="41758"/>
                    </a:cubicBezTo>
                    <a:cubicBezTo>
                      <a:pt x="41757" y="58133"/>
                      <a:pt x="28657" y="71234"/>
                      <a:pt x="12282" y="71234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0" name="Freihandform: Form 187">
                <a:extLst>
                  <a:ext uri="{FF2B5EF4-FFF2-40B4-BE49-F238E27FC236}">
                    <a16:creationId xmlns:a16="http://schemas.microsoft.com/office/drawing/2014/main" id="{27B08D01-A4E2-B7EE-C6BD-32BB2313D96A}"/>
                  </a:ext>
                </a:extLst>
              </p:cNvPr>
              <p:cNvSpPr/>
              <p:nvPr/>
            </p:nvSpPr>
            <p:spPr bwMode="gray">
              <a:xfrm>
                <a:off x="8971784" y="8668728"/>
                <a:ext cx="245633" cy="21834"/>
              </a:xfrm>
              <a:custGeom>
                <a:avLst/>
                <a:gdLst>
                  <a:gd name="connsiteX0" fmla="*/ 12282 w 245632"/>
                  <a:gd name="connsiteY0" fmla="*/ 12282 h 21834"/>
                  <a:gd name="connsiteX1" fmla="*/ 236080 w 245632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632" h="21834">
                    <a:moveTo>
                      <a:pt x="12282" y="12282"/>
                    </a:moveTo>
                    <a:lnTo>
                      <a:pt x="236080" y="12282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7" name="Gruppieren 188">
              <a:extLst>
                <a:ext uri="{FF2B5EF4-FFF2-40B4-BE49-F238E27FC236}">
                  <a16:creationId xmlns:a16="http://schemas.microsoft.com/office/drawing/2014/main" id="{E5004FEF-1CB9-75AE-521A-250C7EEA12F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5505450" y="4751731"/>
              <a:ext cx="429848" cy="500110"/>
              <a:chOff x="3034366" y="4089085"/>
              <a:chExt cx="619260" cy="720479"/>
            </a:xfrm>
          </p:grpSpPr>
          <p:sp>
            <p:nvSpPr>
              <p:cNvPr id="28" name="Freihandform: Form 189">
                <a:extLst>
                  <a:ext uri="{FF2B5EF4-FFF2-40B4-BE49-F238E27FC236}">
                    <a16:creationId xmlns:a16="http://schemas.microsoft.com/office/drawing/2014/main" id="{72F8F7BA-E28E-ABA6-B7EB-E63B84C6EAAE}"/>
                  </a:ext>
                </a:extLst>
              </p:cNvPr>
              <p:cNvSpPr/>
              <p:nvPr/>
            </p:nvSpPr>
            <p:spPr bwMode="gray">
              <a:xfrm>
                <a:off x="3136154" y="4089085"/>
                <a:ext cx="420801" cy="420801"/>
              </a:xfrm>
              <a:custGeom>
                <a:avLst/>
                <a:gdLst>
                  <a:gd name="connsiteX0" fmla="*/ 585211 w 602722"/>
                  <a:gd name="connsiteY0" fmla="*/ 301768 h 602722"/>
                  <a:gd name="connsiteX1" fmla="*/ 301768 w 602722"/>
                  <a:gd name="connsiteY1" fmla="*/ 585211 h 602722"/>
                  <a:gd name="connsiteX2" fmla="*/ 18326 w 602722"/>
                  <a:gd name="connsiteY2" fmla="*/ 301768 h 602722"/>
                  <a:gd name="connsiteX3" fmla="*/ 301768 w 602722"/>
                  <a:gd name="connsiteY3" fmla="*/ 18326 h 602722"/>
                  <a:gd name="connsiteX4" fmla="*/ 585211 w 602722"/>
                  <a:gd name="connsiteY4" fmla="*/ 301768 h 602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2722" h="602722">
                    <a:moveTo>
                      <a:pt x="585211" y="301768"/>
                    </a:moveTo>
                    <a:cubicBezTo>
                      <a:pt x="585211" y="458309"/>
                      <a:pt x="458309" y="585211"/>
                      <a:pt x="301768" y="585211"/>
                    </a:cubicBezTo>
                    <a:cubicBezTo>
                      <a:pt x="145228" y="585211"/>
                      <a:pt x="18326" y="458309"/>
                      <a:pt x="18326" y="301768"/>
                    </a:cubicBezTo>
                    <a:cubicBezTo>
                      <a:pt x="18326" y="145227"/>
                      <a:pt x="145228" y="18326"/>
                      <a:pt x="301768" y="18326"/>
                    </a:cubicBezTo>
                    <a:cubicBezTo>
                      <a:pt x="458309" y="18326"/>
                      <a:pt x="585211" y="145227"/>
                      <a:pt x="585211" y="301768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9" name="Freihandform: Form 190">
                <a:extLst>
                  <a:ext uri="{FF2B5EF4-FFF2-40B4-BE49-F238E27FC236}">
                    <a16:creationId xmlns:a16="http://schemas.microsoft.com/office/drawing/2014/main" id="{9CDF5512-B185-06AD-4E3D-8F384B0E58B2}"/>
                  </a:ext>
                </a:extLst>
              </p:cNvPr>
              <p:cNvSpPr/>
              <p:nvPr/>
            </p:nvSpPr>
            <p:spPr bwMode="gray">
              <a:xfrm>
                <a:off x="3334045" y="4130028"/>
                <a:ext cx="181968" cy="181968"/>
              </a:xfrm>
              <a:custGeom>
                <a:avLst/>
                <a:gdLst>
                  <a:gd name="connsiteX0" fmla="*/ 243125 w 260636"/>
                  <a:gd name="connsiteY0" fmla="*/ 243125 h 260636"/>
                  <a:gd name="connsiteX1" fmla="*/ 18326 w 260636"/>
                  <a:gd name="connsiteY1" fmla="*/ 18326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0636" h="260636">
                    <a:moveTo>
                      <a:pt x="243125" y="243125"/>
                    </a:moveTo>
                    <a:cubicBezTo>
                      <a:pt x="243125" y="118508"/>
                      <a:pt x="142128" y="18326"/>
                      <a:pt x="18326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0" name="Freihandform: Form 191">
                <a:extLst>
                  <a:ext uri="{FF2B5EF4-FFF2-40B4-BE49-F238E27FC236}">
                    <a16:creationId xmlns:a16="http://schemas.microsoft.com/office/drawing/2014/main" id="{2343172D-0C97-9A4B-1DED-674410A0B3EF}"/>
                  </a:ext>
                </a:extLst>
              </p:cNvPr>
              <p:cNvSpPr/>
              <p:nvPr/>
            </p:nvSpPr>
            <p:spPr bwMode="gray">
              <a:xfrm>
                <a:off x="3305043" y="4484297"/>
                <a:ext cx="79611" cy="96670"/>
              </a:xfrm>
              <a:custGeom>
                <a:avLst/>
                <a:gdLst>
                  <a:gd name="connsiteX0" fmla="*/ 18326 w 114028"/>
                  <a:gd name="connsiteY0" fmla="*/ 18326 h 138463"/>
                  <a:gd name="connsiteX1" fmla="*/ 18326 w 114028"/>
                  <a:gd name="connsiteY1" fmla="*/ 121766 h 138463"/>
                  <a:gd name="connsiteX2" fmla="*/ 100589 w 114028"/>
                  <a:gd name="connsiteY2" fmla="*/ 121766 h 138463"/>
                  <a:gd name="connsiteX3" fmla="*/ 100589 w 114028"/>
                  <a:gd name="connsiteY3" fmla="*/ 18326 h 13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028" h="138463">
                    <a:moveTo>
                      <a:pt x="18326" y="18326"/>
                    </a:moveTo>
                    <a:lnTo>
                      <a:pt x="18326" y="121766"/>
                    </a:lnTo>
                    <a:lnTo>
                      <a:pt x="100589" y="121766"/>
                    </a:lnTo>
                    <a:lnTo>
                      <a:pt x="100589" y="1832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1" name="Freihandform: Form 192">
                <a:extLst>
                  <a:ext uri="{FF2B5EF4-FFF2-40B4-BE49-F238E27FC236}">
                    <a16:creationId xmlns:a16="http://schemas.microsoft.com/office/drawing/2014/main" id="{11CAEDF4-8D33-677C-7EF5-CC7CE800DD32}"/>
                  </a:ext>
                </a:extLst>
              </p:cNvPr>
              <p:cNvSpPr/>
              <p:nvPr/>
            </p:nvSpPr>
            <p:spPr bwMode="gray">
              <a:xfrm>
                <a:off x="3228844" y="4263661"/>
                <a:ext cx="90984" cy="119417"/>
              </a:xfrm>
              <a:custGeom>
                <a:avLst/>
                <a:gdLst>
                  <a:gd name="connsiteX0" fmla="*/ 18326 w 130318"/>
                  <a:gd name="connsiteY0" fmla="*/ 18326 h 171042"/>
                  <a:gd name="connsiteX1" fmla="*/ 118508 w 130318"/>
                  <a:gd name="connsiteY1" fmla="*/ 18326 h 171042"/>
                  <a:gd name="connsiteX2" fmla="*/ 118508 w 130318"/>
                  <a:gd name="connsiteY2" fmla="*/ 153531 h 171042"/>
                  <a:gd name="connsiteX3" fmla="*/ 18326 w 130318"/>
                  <a:gd name="connsiteY3" fmla="*/ 153531 h 17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171042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153531"/>
                    </a:lnTo>
                    <a:lnTo>
                      <a:pt x="18326" y="153531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2" name="Freihandform: Form 193">
                <a:extLst>
                  <a:ext uri="{FF2B5EF4-FFF2-40B4-BE49-F238E27FC236}">
                    <a16:creationId xmlns:a16="http://schemas.microsoft.com/office/drawing/2014/main" id="{F2C9E232-02AA-2DA4-F8F2-6365ABC0F283}"/>
                  </a:ext>
                </a:extLst>
              </p:cNvPr>
              <p:cNvSpPr/>
              <p:nvPr/>
            </p:nvSpPr>
            <p:spPr bwMode="gray">
              <a:xfrm>
                <a:off x="3298788" y="4215325"/>
                <a:ext cx="90984" cy="164909"/>
              </a:xfrm>
              <a:custGeom>
                <a:avLst/>
                <a:gdLst>
                  <a:gd name="connsiteX0" fmla="*/ 18326 w 130318"/>
                  <a:gd name="connsiteY0" fmla="*/ 18326 h 236201"/>
                  <a:gd name="connsiteX1" fmla="*/ 118508 w 130318"/>
                  <a:gd name="connsiteY1" fmla="*/ 18326 h 236201"/>
                  <a:gd name="connsiteX2" fmla="*/ 118508 w 130318"/>
                  <a:gd name="connsiteY2" fmla="*/ 221948 h 236201"/>
                  <a:gd name="connsiteX3" fmla="*/ 18326 w 130318"/>
                  <a:gd name="connsiteY3" fmla="*/ 221948 h 236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236201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221948"/>
                    </a:lnTo>
                    <a:lnTo>
                      <a:pt x="18326" y="221948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3" name="Freihandform: Form 194">
                <a:extLst>
                  <a:ext uri="{FF2B5EF4-FFF2-40B4-BE49-F238E27FC236}">
                    <a16:creationId xmlns:a16="http://schemas.microsoft.com/office/drawing/2014/main" id="{B9FC8572-16EA-F290-574B-6FE2E863EB33}"/>
                  </a:ext>
                </a:extLst>
              </p:cNvPr>
              <p:cNvSpPr/>
              <p:nvPr/>
            </p:nvSpPr>
            <p:spPr bwMode="gray">
              <a:xfrm>
                <a:off x="3368732" y="4263661"/>
                <a:ext cx="90984" cy="119417"/>
              </a:xfrm>
              <a:custGeom>
                <a:avLst/>
                <a:gdLst>
                  <a:gd name="connsiteX0" fmla="*/ 18326 w 130318"/>
                  <a:gd name="connsiteY0" fmla="*/ 18326 h 171042"/>
                  <a:gd name="connsiteX1" fmla="*/ 118508 w 130318"/>
                  <a:gd name="connsiteY1" fmla="*/ 18326 h 171042"/>
                  <a:gd name="connsiteX2" fmla="*/ 118508 w 130318"/>
                  <a:gd name="connsiteY2" fmla="*/ 153531 h 171042"/>
                  <a:gd name="connsiteX3" fmla="*/ 18326 w 130318"/>
                  <a:gd name="connsiteY3" fmla="*/ 153531 h 17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171042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153531"/>
                    </a:lnTo>
                    <a:lnTo>
                      <a:pt x="18326" y="153531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4" name="Freihandform: Form 195">
                <a:extLst>
                  <a:ext uri="{FF2B5EF4-FFF2-40B4-BE49-F238E27FC236}">
                    <a16:creationId xmlns:a16="http://schemas.microsoft.com/office/drawing/2014/main" id="{0900DC53-3944-D6C4-2848-0E08AEBBC72C}"/>
                  </a:ext>
                </a:extLst>
              </p:cNvPr>
              <p:cNvSpPr/>
              <p:nvPr/>
            </p:nvSpPr>
            <p:spPr bwMode="gray">
              <a:xfrm>
                <a:off x="3074740" y="4629302"/>
                <a:ext cx="56865" cy="62552"/>
              </a:xfrm>
              <a:custGeom>
                <a:avLst/>
                <a:gdLst>
                  <a:gd name="connsiteX0" fmla="*/ 69639 w 81448"/>
                  <a:gd name="connsiteY0" fmla="*/ 18326 h 89593"/>
                  <a:gd name="connsiteX1" fmla="*/ 18326 w 81448"/>
                  <a:gd name="connsiteY1" fmla="*/ 72897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69639" y="18326"/>
                    </a:moveTo>
                    <a:lnTo>
                      <a:pt x="18326" y="72897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5" name="Freihandform: Form 196">
                <a:extLst>
                  <a:ext uri="{FF2B5EF4-FFF2-40B4-BE49-F238E27FC236}">
                    <a16:creationId xmlns:a16="http://schemas.microsoft.com/office/drawing/2014/main" id="{EEC04866-8488-C1EF-9757-2E57FF6C13EC}"/>
                  </a:ext>
                </a:extLst>
              </p:cNvPr>
              <p:cNvSpPr/>
              <p:nvPr/>
            </p:nvSpPr>
            <p:spPr bwMode="gray">
              <a:xfrm>
                <a:off x="3143547" y="4629302"/>
                <a:ext cx="56865" cy="62552"/>
              </a:xfrm>
              <a:custGeom>
                <a:avLst/>
                <a:gdLst>
                  <a:gd name="connsiteX0" fmla="*/ 69639 w 81448"/>
                  <a:gd name="connsiteY0" fmla="*/ 72897 h 89593"/>
                  <a:gd name="connsiteX1" fmla="*/ 18326 w 81448"/>
                  <a:gd name="connsiteY1" fmla="*/ 18326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69639" y="72897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6" name="Freihandform: Form 197">
                <a:extLst>
                  <a:ext uri="{FF2B5EF4-FFF2-40B4-BE49-F238E27FC236}">
                    <a16:creationId xmlns:a16="http://schemas.microsoft.com/office/drawing/2014/main" id="{EADB51F9-8B32-68BF-6426-D6D59E515B47}"/>
                  </a:ext>
                </a:extLst>
              </p:cNvPr>
              <p:cNvSpPr/>
              <p:nvPr/>
            </p:nvSpPr>
            <p:spPr bwMode="gray">
              <a:xfrm>
                <a:off x="3212353" y="4627027"/>
                <a:ext cx="62552" cy="62552"/>
              </a:xfrm>
              <a:custGeom>
                <a:avLst/>
                <a:gdLst>
                  <a:gd name="connsiteX0" fmla="*/ 73711 w 89593"/>
                  <a:gd name="connsiteY0" fmla="*/ 18326 h 89593"/>
                  <a:gd name="connsiteX1" fmla="*/ 18326 w 89593"/>
                  <a:gd name="connsiteY1" fmla="*/ 76155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89593">
                    <a:moveTo>
                      <a:pt x="73711" y="18326"/>
                    </a:moveTo>
                    <a:lnTo>
                      <a:pt x="18326" y="7615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7" name="Freihandform: Form 198">
                <a:extLst>
                  <a:ext uri="{FF2B5EF4-FFF2-40B4-BE49-F238E27FC236}">
                    <a16:creationId xmlns:a16="http://schemas.microsoft.com/office/drawing/2014/main" id="{1EF7EDC9-6770-6D0B-71B1-9E2BE7B5327A}"/>
                  </a:ext>
                </a:extLst>
              </p:cNvPr>
              <p:cNvSpPr/>
              <p:nvPr/>
            </p:nvSpPr>
            <p:spPr bwMode="gray">
              <a:xfrm>
                <a:off x="3034366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4 w 97738"/>
                  <a:gd name="connsiteY1" fmla="*/ 86743 h 97738"/>
                  <a:gd name="connsiteX2" fmla="*/ 18326 w 97738"/>
                  <a:gd name="connsiteY2" fmla="*/ 52535 h 97738"/>
                  <a:gd name="connsiteX3" fmla="*/ 52534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4" y="86743"/>
                    </a:cubicBezTo>
                    <a:cubicBezTo>
                      <a:pt x="33641" y="86743"/>
                      <a:pt x="18326" y="71427"/>
                      <a:pt x="18326" y="52535"/>
                    </a:cubicBezTo>
                    <a:cubicBezTo>
                      <a:pt x="18326" y="33642"/>
                      <a:pt x="33641" y="18326"/>
                      <a:pt x="52534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8" name="Freihandform: Form 199">
                <a:extLst>
                  <a:ext uri="{FF2B5EF4-FFF2-40B4-BE49-F238E27FC236}">
                    <a16:creationId xmlns:a16="http://schemas.microsoft.com/office/drawing/2014/main" id="{C3183271-AB83-07D4-C2E5-E928AE7F49FD}"/>
                  </a:ext>
                </a:extLst>
              </p:cNvPr>
              <p:cNvSpPr/>
              <p:nvPr/>
            </p:nvSpPr>
            <p:spPr bwMode="gray">
              <a:xfrm>
                <a:off x="3103172" y="4588359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9" name="Freihandform: Form 200">
                <a:extLst>
                  <a:ext uri="{FF2B5EF4-FFF2-40B4-BE49-F238E27FC236}">
                    <a16:creationId xmlns:a16="http://schemas.microsoft.com/office/drawing/2014/main" id="{2D9F1285-D86D-07CA-7A2C-6CF98AD820F5}"/>
                  </a:ext>
                </a:extLst>
              </p:cNvPr>
              <p:cNvSpPr/>
              <p:nvPr/>
            </p:nvSpPr>
            <p:spPr bwMode="gray">
              <a:xfrm>
                <a:off x="3172548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18326 h 97738"/>
                  <a:gd name="connsiteX2" fmla="*/ 18326 w 97738"/>
                  <a:gd name="connsiteY2" fmla="*/ 52535 h 97738"/>
                  <a:gd name="connsiteX3" fmla="*/ 52535 w 97738"/>
                  <a:gd name="connsiteY3" fmla="*/ 86743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33801"/>
                      <a:pt x="71268" y="18326"/>
                      <a:pt x="52535" y="18326"/>
                    </a:cubicBezTo>
                    <a:cubicBezTo>
                      <a:pt x="33801" y="18326"/>
                      <a:pt x="18326" y="33801"/>
                      <a:pt x="18326" y="52535"/>
                    </a:cubicBezTo>
                    <a:cubicBezTo>
                      <a:pt x="18326" y="71268"/>
                      <a:pt x="33801" y="86743"/>
                      <a:pt x="52535" y="86743"/>
                    </a:cubicBezTo>
                    <a:cubicBezTo>
                      <a:pt x="71268" y="87558"/>
                      <a:pt x="86743" y="7208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0" name="Freihandform: Form 201">
                <a:extLst>
                  <a:ext uri="{FF2B5EF4-FFF2-40B4-BE49-F238E27FC236}">
                    <a16:creationId xmlns:a16="http://schemas.microsoft.com/office/drawing/2014/main" id="{E646A08B-1033-EBC5-790E-43BA5FCD94EA}"/>
                  </a:ext>
                </a:extLst>
              </p:cNvPr>
              <p:cNvSpPr/>
              <p:nvPr/>
            </p:nvSpPr>
            <p:spPr bwMode="gray">
              <a:xfrm>
                <a:off x="3283434" y="4556515"/>
                <a:ext cx="125103" cy="181968"/>
              </a:xfrm>
              <a:custGeom>
                <a:avLst/>
                <a:gdLst>
                  <a:gd name="connsiteX0" fmla="*/ 162491 w 179187"/>
                  <a:gd name="connsiteY0" fmla="*/ 242311 h 260636"/>
                  <a:gd name="connsiteX1" fmla="*/ 162491 w 179187"/>
                  <a:gd name="connsiteY1" fmla="*/ 44390 h 260636"/>
                  <a:gd name="connsiteX2" fmla="*/ 136427 w 179187"/>
                  <a:gd name="connsiteY2" fmla="*/ 18326 h 260636"/>
                  <a:gd name="connsiteX3" fmla="*/ 44390 w 179187"/>
                  <a:gd name="connsiteY3" fmla="*/ 18326 h 260636"/>
                  <a:gd name="connsiteX4" fmla="*/ 18326 w 179187"/>
                  <a:gd name="connsiteY4" fmla="*/ 44390 h 260636"/>
                  <a:gd name="connsiteX5" fmla="*/ 18326 w 179187"/>
                  <a:gd name="connsiteY5" fmla="*/ 242311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187" h="260636">
                    <a:moveTo>
                      <a:pt x="162491" y="242311"/>
                    </a:moveTo>
                    <a:lnTo>
                      <a:pt x="162491" y="44390"/>
                    </a:lnTo>
                    <a:cubicBezTo>
                      <a:pt x="162491" y="29729"/>
                      <a:pt x="151088" y="18326"/>
                      <a:pt x="136427" y="18326"/>
                    </a:cubicBezTo>
                    <a:lnTo>
                      <a:pt x="44390" y="18326"/>
                    </a:lnTo>
                    <a:cubicBezTo>
                      <a:pt x="29729" y="18326"/>
                      <a:pt x="18326" y="29729"/>
                      <a:pt x="18326" y="44390"/>
                    </a:cubicBezTo>
                    <a:lnTo>
                      <a:pt x="18326" y="242311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1" name="Freihandform: Form 202">
                <a:extLst>
                  <a:ext uri="{FF2B5EF4-FFF2-40B4-BE49-F238E27FC236}">
                    <a16:creationId xmlns:a16="http://schemas.microsoft.com/office/drawing/2014/main" id="{C283D8C7-B5E0-1406-382D-50B18E01D644}"/>
                  </a:ext>
                </a:extLst>
              </p:cNvPr>
              <p:cNvSpPr/>
              <p:nvPr/>
            </p:nvSpPr>
            <p:spPr bwMode="gray">
              <a:xfrm>
                <a:off x="3283434" y="4712894"/>
                <a:ext cx="125103" cy="96670"/>
              </a:xfrm>
              <a:custGeom>
                <a:avLst/>
                <a:gdLst>
                  <a:gd name="connsiteX0" fmla="*/ 18326 w 179187"/>
                  <a:gd name="connsiteY0" fmla="*/ 18326 h 138463"/>
                  <a:gd name="connsiteX1" fmla="*/ 18326 w 179187"/>
                  <a:gd name="connsiteY1" fmla="*/ 99775 h 138463"/>
                  <a:gd name="connsiteX2" fmla="*/ 44390 w 179187"/>
                  <a:gd name="connsiteY2" fmla="*/ 125839 h 138463"/>
                  <a:gd name="connsiteX3" fmla="*/ 136427 w 179187"/>
                  <a:gd name="connsiteY3" fmla="*/ 125839 h 138463"/>
                  <a:gd name="connsiteX4" fmla="*/ 162491 w 179187"/>
                  <a:gd name="connsiteY4" fmla="*/ 99775 h 138463"/>
                  <a:gd name="connsiteX5" fmla="*/ 162491 w 179187"/>
                  <a:gd name="connsiteY5" fmla="*/ 18326 h 13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187" h="138463">
                    <a:moveTo>
                      <a:pt x="18326" y="18326"/>
                    </a:moveTo>
                    <a:lnTo>
                      <a:pt x="18326" y="99775"/>
                    </a:lnTo>
                    <a:cubicBezTo>
                      <a:pt x="18326" y="114436"/>
                      <a:pt x="29729" y="125839"/>
                      <a:pt x="44390" y="125839"/>
                    </a:cubicBezTo>
                    <a:lnTo>
                      <a:pt x="136427" y="125839"/>
                    </a:lnTo>
                    <a:cubicBezTo>
                      <a:pt x="151088" y="125839"/>
                      <a:pt x="162491" y="114436"/>
                      <a:pt x="162491" y="99775"/>
                    </a:cubicBezTo>
                    <a:lnTo>
                      <a:pt x="162491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2" name="Freihandform: Form 203">
                <a:extLst>
                  <a:ext uri="{FF2B5EF4-FFF2-40B4-BE49-F238E27FC236}">
                    <a16:creationId xmlns:a16="http://schemas.microsoft.com/office/drawing/2014/main" id="{FA69EA19-FDF8-0603-CDED-9932D7F2EC60}"/>
                  </a:ext>
                </a:extLst>
              </p:cNvPr>
              <p:cNvSpPr/>
              <p:nvPr/>
            </p:nvSpPr>
            <p:spPr bwMode="gray">
              <a:xfrm>
                <a:off x="3556955" y="4629302"/>
                <a:ext cx="56865" cy="62552"/>
              </a:xfrm>
              <a:custGeom>
                <a:avLst/>
                <a:gdLst>
                  <a:gd name="connsiteX0" fmla="*/ 18326 w 81448"/>
                  <a:gd name="connsiteY0" fmla="*/ 18326 h 89593"/>
                  <a:gd name="connsiteX1" fmla="*/ 69639 w 81448"/>
                  <a:gd name="connsiteY1" fmla="*/ 72897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18326" y="18326"/>
                    </a:moveTo>
                    <a:lnTo>
                      <a:pt x="69639" y="72897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3" name="Freihandform: Form 204">
                <a:extLst>
                  <a:ext uri="{FF2B5EF4-FFF2-40B4-BE49-F238E27FC236}">
                    <a16:creationId xmlns:a16="http://schemas.microsoft.com/office/drawing/2014/main" id="{BC03D6E7-D08D-B45C-D28C-7CF8BA03C999}"/>
                  </a:ext>
                </a:extLst>
              </p:cNvPr>
              <p:cNvSpPr/>
              <p:nvPr/>
            </p:nvSpPr>
            <p:spPr bwMode="gray">
              <a:xfrm>
                <a:off x="3488148" y="4629302"/>
                <a:ext cx="56865" cy="62552"/>
              </a:xfrm>
              <a:custGeom>
                <a:avLst/>
                <a:gdLst>
                  <a:gd name="connsiteX0" fmla="*/ 18326 w 81448"/>
                  <a:gd name="connsiteY0" fmla="*/ 72897 h 89593"/>
                  <a:gd name="connsiteX1" fmla="*/ 69639 w 81448"/>
                  <a:gd name="connsiteY1" fmla="*/ 18326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18326" y="72897"/>
                    </a:moveTo>
                    <a:lnTo>
                      <a:pt x="69639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4" name="Freihandform: Form 205">
                <a:extLst>
                  <a:ext uri="{FF2B5EF4-FFF2-40B4-BE49-F238E27FC236}">
                    <a16:creationId xmlns:a16="http://schemas.microsoft.com/office/drawing/2014/main" id="{4AFE3C38-E252-EC11-E2CB-6E0D2B373E55}"/>
                  </a:ext>
                </a:extLst>
              </p:cNvPr>
              <p:cNvSpPr/>
              <p:nvPr/>
            </p:nvSpPr>
            <p:spPr bwMode="gray">
              <a:xfrm>
                <a:off x="3417067" y="4627027"/>
                <a:ext cx="62552" cy="62552"/>
              </a:xfrm>
              <a:custGeom>
                <a:avLst/>
                <a:gdLst>
                  <a:gd name="connsiteX0" fmla="*/ 18326 w 89593"/>
                  <a:gd name="connsiteY0" fmla="*/ 18326 h 89593"/>
                  <a:gd name="connsiteX1" fmla="*/ 72897 w 89593"/>
                  <a:gd name="connsiteY1" fmla="*/ 76155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89593">
                    <a:moveTo>
                      <a:pt x="18326" y="18326"/>
                    </a:moveTo>
                    <a:lnTo>
                      <a:pt x="72897" y="7615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5" name="Freihandform: Form 206">
                <a:extLst>
                  <a:ext uri="{FF2B5EF4-FFF2-40B4-BE49-F238E27FC236}">
                    <a16:creationId xmlns:a16="http://schemas.microsoft.com/office/drawing/2014/main" id="{FCC2BEEE-CC1F-E8BC-1B4F-F4E9B5949F5E}"/>
                  </a:ext>
                </a:extLst>
              </p:cNvPr>
              <p:cNvSpPr/>
              <p:nvPr/>
            </p:nvSpPr>
            <p:spPr bwMode="gray">
              <a:xfrm>
                <a:off x="3585388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6" name="Freihandform: Form 207">
                <a:extLst>
                  <a:ext uri="{FF2B5EF4-FFF2-40B4-BE49-F238E27FC236}">
                    <a16:creationId xmlns:a16="http://schemas.microsoft.com/office/drawing/2014/main" id="{7A16A5F0-0CCF-3BB3-A0A1-F92A40FA9A73}"/>
                  </a:ext>
                </a:extLst>
              </p:cNvPr>
              <p:cNvSpPr/>
              <p:nvPr/>
            </p:nvSpPr>
            <p:spPr bwMode="gray">
              <a:xfrm>
                <a:off x="3516581" y="4588359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7" name="Freihandform: Form 208">
                <a:extLst>
                  <a:ext uri="{FF2B5EF4-FFF2-40B4-BE49-F238E27FC236}">
                    <a16:creationId xmlns:a16="http://schemas.microsoft.com/office/drawing/2014/main" id="{353352E0-0648-06D3-1FB2-D72B4219458B}"/>
                  </a:ext>
                </a:extLst>
              </p:cNvPr>
              <p:cNvSpPr/>
              <p:nvPr/>
            </p:nvSpPr>
            <p:spPr bwMode="gray">
              <a:xfrm>
                <a:off x="3447774" y="4660578"/>
                <a:ext cx="68238" cy="68238"/>
              </a:xfrm>
              <a:custGeom>
                <a:avLst/>
                <a:gdLst>
                  <a:gd name="connsiteX0" fmla="*/ 18326 w 97738"/>
                  <a:gd name="connsiteY0" fmla="*/ 52535 h 97738"/>
                  <a:gd name="connsiteX1" fmla="*/ 52535 w 97738"/>
                  <a:gd name="connsiteY1" fmla="*/ 18326 h 97738"/>
                  <a:gd name="connsiteX2" fmla="*/ 86743 w 97738"/>
                  <a:gd name="connsiteY2" fmla="*/ 52535 h 97738"/>
                  <a:gd name="connsiteX3" fmla="*/ 52535 w 97738"/>
                  <a:gd name="connsiteY3" fmla="*/ 86743 h 97738"/>
                  <a:gd name="connsiteX4" fmla="*/ 18326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18326" y="52535"/>
                    </a:moveTo>
                    <a:cubicBezTo>
                      <a:pt x="18326" y="33801"/>
                      <a:pt x="33801" y="18326"/>
                      <a:pt x="52535" y="18326"/>
                    </a:cubicBezTo>
                    <a:cubicBezTo>
                      <a:pt x="71268" y="18326"/>
                      <a:pt x="86743" y="33801"/>
                      <a:pt x="86743" y="52535"/>
                    </a:cubicBezTo>
                    <a:cubicBezTo>
                      <a:pt x="86743" y="71268"/>
                      <a:pt x="71268" y="86743"/>
                      <a:pt x="52535" y="86743"/>
                    </a:cubicBezTo>
                    <a:cubicBezTo>
                      <a:pt x="32987" y="87558"/>
                      <a:pt x="18326" y="72082"/>
                      <a:pt x="18326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</p:grpSp>
      <p:sp>
        <p:nvSpPr>
          <p:cNvPr id="254" name="Gefaltete Ecke 50">
            <a:extLst>
              <a:ext uri="{FF2B5EF4-FFF2-40B4-BE49-F238E27FC236}">
                <a16:creationId xmlns:a16="http://schemas.microsoft.com/office/drawing/2014/main" id="{CB42A211-8E9A-E190-0313-140DE1F5E18E}"/>
              </a:ext>
            </a:extLst>
          </p:cNvPr>
          <p:cNvSpPr/>
          <p:nvPr/>
        </p:nvSpPr>
        <p:spPr bwMode="gray">
          <a:xfrm rot="21420000">
            <a:off x="7350127" y="1868979"/>
            <a:ext cx="958324" cy="665014"/>
          </a:xfrm>
          <a:prstGeom prst="foldedCorner">
            <a:avLst/>
          </a:prstGeom>
          <a:solidFill>
            <a:srgbClr val="37AADC">
              <a:alpha val="50196"/>
            </a:srgbClr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o is paying? Who is using?</a:t>
            </a:r>
          </a:p>
        </p:txBody>
      </p:sp>
      <p:sp>
        <p:nvSpPr>
          <p:cNvPr id="255" name="Gefaltete Ecke 52">
            <a:extLst>
              <a:ext uri="{FF2B5EF4-FFF2-40B4-BE49-F238E27FC236}">
                <a16:creationId xmlns:a16="http://schemas.microsoft.com/office/drawing/2014/main" id="{6CC2F115-F322-EF8D-9603-0DAEA4B64358}"/>
              </a:ext>
            </a:extLst>
          </p:cNvPr>
          <p:cNvSpPr/>
          <p:nvPr/>
        </p:nvSpPr>
        <p:spPr bwMode="gray">
          <a:xfrm rot="21420000">
            <a:off x="3925681" y="1866306"/>
            <a:ext cx="958324" cy="665014"/>
          </a:xfrm>
          <a:prstGeom prst="foldedCorner">
            <a:avLst/>
          </a:prstGeom>
          <a:solidFill>
            <a:srgbClr val="37AADC">
              <a:alpha val="50196"/>
            </a:srgbClr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at you 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offer to users and paying customers</a:t>
            </a:r>
          </a:p>
        </p:txBody>
      </p:sp>
      <p:sp>
        <p:nvSpPr>
          <p:cNvPr id="6" name="Gefaltete Ecke 46">
            <a:extLst>
              <a:ext uri="{FF2B5EF4-FFF2-40B4-BE49-F238E27FC236}">
                <a16:creationId xmlns:a16="http://schemas.microsoft.com/office/drawing/2014/main" id="{D94F3E3D-7DC7-177E-0A5D-FF211680B9AE}"/>
              </a:ext>
            </a:extLst>
          </p:cNvPr>
          <p:cNvSpPr/>
          <p:nvPr/>
        </p:nvSpPr>
        <p:spPr bwMode="gray">
          <a:xfrm rot="21420000">
            <a:off x="5735753" y="2712494"/>
            <a:ext cx="958323" cy="416334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How you deliver</a:t>
            </a:r>
          </a:p>
        </p:txBody>
      </p:sp>
      <p:sp>
        <p:nvSpPr>
          <p:cNvPr id="122" name="Gefaltete Ecke 46">
            <a:extLst>
              <a:ext uri="{FF2B5EF4-FFF2-40B4-BE49-F238E27FC236}">
                <a16:creationId xmlns:a16="http://schemas.microsoft.com/office/drawing/2014/main" id="{C65F0DFC-6CA8-536F-7251-FF6AEF580FA9}"/>
              </a:ext>
            </a:extLst>
          </p:cNvPr>
          <p:cNvSpPr/>
          <p:nvPr/>
        </p:nvSpPr>
        <p:spPr bwMode="gray">
          <a:xfrm rot="21420000">
            <a:off x="5683730" y="1363496"/>
            <a:ext cx="958323" cy="657529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How you handle relationships</a:t>
            </a:r>
          </a:p>
        </p:txBody>
      </p:sp>
      <p:sp>
        <p:nvSpPr>
          <p:cNvPr id="123" name="Stern: 5 Zacken 11">
            <a:extLst>
              <a:ext uri="{FF2B5EF4-FFF2-40B4-BE49-F238E27FC236}">
                <a16:creationId xmlns:a16="http://schemas.microsoft.com/office/drawing/2014/main" id="{F54FFE2B-433A-699A-81FE-2CBB64CAB459}"/>
              </a:ext>
            </a:extLst>
          </p:cNvPr>
          <p:cNvSpPr/>
          <p:nvPr/>
        </p:nvSpPr>
        <p:spPr>
          <a:xfrm>
            <a:off x="6685804" y="2312368"/>
            <a:ext cx="2026395" cy="1471112"/>
          </a:xfrm>
          <a:prstGeom prst="star5">
            <a:avLst/>
          </a:prstGeom>
          <a:solidFill>
            <a:srgbClr val="FC684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42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3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Deliver</a:t>
            </a:r>
          </a:p>
        </p:txBody>
      </p:sp>
      <p:sp>
        <p:nvSpPr>
          <p:cNvPr id="148" name="Freeform 8">
            <a:extLst>
              <a:ext uri="{FF2B5EF4-FFF2-40B4-BE49-F238E27FC236}">
                <a16:creationId xmlns:a16="http://schemas.microsoft.com/office/drawing/2014/main" id="{716A0EF4-128A-4DB5-902C-D0B3DD31DBAE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cxnSp>
        <p:nvCxnSpPr>
          <p:cNvPr id="150" name="Straight Arrow Connector 80">
            <a:extLst>
              <a:ext uri="{FF2B5EF4-FFF2-40B4-BE49-F238E27FC236}">
                <a16:creationId xmlns:a16="http://schemas.microsoft.com/office/drawing/2014/main" id="{21881705-F397-4AAD-8AEF-59B2ED2944E1}"/>
              </a:ext>
            </a:extLst>
          </p:cNvPr>
          <p:cNvCxnSpPr>
            <a:cxnSpLocks/>
          </p:cNvCxnSpPr>
          <p:nvPr/>
        </p:nvCxnSpPr>
        <p:spPr>
          <a:xfrm>
            <a:off x="4248169" y="4139176"/>
            <a:ext cx="215844" cy="0"/>
          </a:xfrm>
          <a:prstGeom prst="straightConnector1">
            <a:avLst/>
          </a:prstGeom>
          <a:ln w="25400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reeform 7">
            <a:extLst>
              <a:ext uri="{FF2B5EF4-FFF2-40B4-BE49-F238E27FC236}">
                <a16:creationId xmlns:a16="http://schemas.microsoft.com/office/drawing/2014/main" id="{0A8E0F8E-0655-32BA-EBDF-206A63A4462F}"/>
              </a:ext>
            </a:extLst>
          </p:cNvPr>
          <p:cNvSpPr/>
          <p:nvPr/>
        </p:nvSpPr>
        <p:spPr>
          <a:xfrm>
            <a:off x="6110909" y="460258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17691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6807835"/>
              </p:ext>
            </p:extLst>
          </p:nvPr>
        </p:nvGraphicFramePr>
        <p:xfrm>
          <a:off x="2844" y="119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1" imgH="298" progId="TCLayout.ActiveDocument.1">
                  <p:embed/>
                </p:oleObj>
              </mc:Choice>
              <mc:Fallback>
                <p:oleObj name="think-cell Folie" r:id="rId4" imgW="301" imgH="29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44" y="119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 vert="horz" lIns="81619" tIns="40809" rIns="81619" bIns="40809" rtlCol="0" anchor="ctr" anchorCtr="0">
            <a:noAutofit/>
          </a:bodyPr>
          <a:lstStyle/>
          <a:p>
            <a:r>
              <a:rPr lang="en-GB" dirty="0">
                <a:latin typeface="Titillium Web" panose="00000500000000000000" pitchFamily="2" charset="0"/>
              </a:rPr>
              <a:t>Business modelling (III) – production and delivery</a:t>
            </a:r>
          </a:p>
        </p:txBody>
      </p:sp>
      <p:grpSp>
        <p:nvGrpSpPr>
          <p:cNvPr id="7" name="Gruppieren 3">
            <a:extLst>
              <a:ext uri="{FF2B5EF4-FFF2-40B4-BE49-F238E27FC236}">
                <a16:creationId xmlns:a16="http://schemas.microsoft.com/office/drawing/2014/main" id="{2998ECC9-6620-0DF6-9458-F552575E687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52520" y="951945"/>
            <a:ext cx="8457909" cy="3642387"/>
            <a:chOff x="540001" y="1520825"/>
            <a:chExt cx="11109600" cy="4291189"/>
          </a:xfrm>
        </p:grpSpPr>
        <p:grpSp>
          <p:nvGrpSpPr>
            <p:cNvPr id="8" name="Gruppieren 42">
              <a:extLst>
                <a:ext uri="{FF2B5EF4-FFF2-40B4-BE49-F238E27FC236}">
                  <a16:creationId xmlns:a16="http://schemas.microsoft.com/office/drawing/2014/main" id="{BB61760B-2FE6-E903-AC4F-3F35416B8C7B}"/>
                </a:ext>
              </a:extLst>
            </p:cNvPr>
            <p:cNvGrpSpPr/>
            <p:nvPr/>
          </p:nvGrpSpPr>
          <p:grpSpPr bwMode="gray">
            <a:xfrm>
              <a:off x="540001" y="1520825"/>
              <a:ext cx="11109600" cy="4291189"/>
              <a:chOff x="540001" y="1520825"/>
              <a:chExt cx="11109600" cy="4291189"/>
            </a:xfrm>
          </p:grpSpPr>
          <p:sp>
            <p:nvSpPr>
              <p:cNvPr id="245" name="Rechteck 5">
                <a:extLst>
                  <a:ext uri="{FF2B5EF4-FFF2-40B4-BE49-F238E27FC236}">
                    <a16:creationId xmlns:a16="http://schemas.microsoft.com/office/drawing/2014/main" id="{29B99679-6A38-D2C8-6F13-A59B8E004371}"/>
                  </a:ext>
                </a:extLst>
              </p:cNvPr>
              <p:cNvSpPr/>
              <p:nvPr/>
            </p:nvSpPr>
            <p:spPr bwMode="gray">
              <a:xfrm>
                <a:off x="540001" y="1520827"/>
                <a:ext cx="2221920" cy="311584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6" name="Rechteck 6">
                <a:extLst>
                  <a:ext uri="{FF2B5EF4-FFF2-40B4-BE49-F238E27FC236}">
                    <a16:creationId xmlns:a16="http://schemas.microsoft.com/office/drawing/2014/main" id="{4543FDA3-43A9-4963-1214-E1AF0BB60BAC}"/>
                  </a:ext>
                </a:extLst>
              </p:cNvPr>
              <p:cNvSpPr/>
              <p:nvPr/>
            </p:nvSpPr>
            <p:spPr bwMode="gray">
              <a:xfrm>
                <a:off x="2761921" y="1520825"/>
                <a:ext cx="2221920" cy="1561497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7" name="Rechteck 7">
                <a:extLst>
                  <a:ext uri="{FF2B5EF4-FFF2-40B4-BE49-F238E27FC236}">
                    <a16:creationId xmlns:a16="http://schemas.microsoft.com/office/drawing/2014/main" id="{A4D87EF9-57A9-A2CF-205A-687EAEB1FA6A}"/>
                  </a:ext>
                </a:extLst>
              </p:cNvPr>
              <p:cNvSpPr/>
              <p:nvPr/>
            </p:nvSpPr>
            <p:spPr bwMode="gray">
              <a:xfrm>
                <a:off x="4983841" y="1520827"/>
                <a:ext cx="2221920" cy="3122991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8" name="Rechteck 8">
                <a:extLst>
                  <a:ext uri="{FF2B5EF4-FFF2-40B4-BE49-F238E27FC236}">
                    <a16:creationId xmlns:a16="http://schemas.microsoft.com/office/drawing/2014/main" id="{334A4B3B-E0C1-04DD-A956-1444910D32F5}"/>
                  </a:ext>
                </a:extLst>
              </p:cNvPr>
              <p:cNvSpPr/>
              <p:nvPr/>
            </p:nvSpPr>
            <p:spPr bwMode="gray">
              <a:xfrm>
                <a:off x="7205761" y="1520826"/>
                <a:ext cx="2221920" cy="156149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9" name="Rechteck 9">
                <a:extLst>
                  <a:ext uri="{FF2B5EF4-FFF2-40B4-BE49-F238E27FC236}">
                    <a16:creationId xmlns:a16="http://schemas.microsoft.com/office/drawing/2014/main" id="{3D3F8EA2-E5FE-4937-9CCB-55F416702B35}"/>
                  </a:ext>
                </a:extLst>
              </p:cNvPr>
              <p:cNvSpPr/>
              <p:nvPr/>
            </p:nvSpPr>
            <p:spPr bwMode="gray">
              <a:xfrm>
                <a:off x="2761918" y="3075176"/>
                <a:ext cx="2221920" cy="15686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0" name="Rechteck 10">
                <a:extLst>
                  <a:ext uri="{FF2B5EF4-FFF2-40B4-BE49-F238E27FC236}">
                    <a16:creationId xmlns:a16="http://schemas.microsoft.com/office/drawing/2014/main" id="{D5A5CD0C-5BDC-8846-EFD0-303083E4BEBD}"/>
                  </a:ext>
                </a:extLst>
              </p:cNvPr>
              <p:cNvSpPr/>
              <p:nvPr/>
            </p:nvSpPr>
            <p:spPr bwMode="gray">
              <a:xfrm>
                <a:off x="7205758" y="3075177"/>
                <a:ext cx="2221920" cy="1568641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b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7D7D7D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rPr>
                </a:b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1" name="Rechteck 11">
                <a:extLst>
                  <a:ext uri="{FF2B5EF4-FFF2-40B4-BE49-F238E27FC236}">
                    <a16:creationId xmlns:a16="http://schemas.microsoft.com/office/drawing/2014/main" id="{B89F1EBA-0A30-A68B-30F0-B588955E310F}"/>
                  </a:ext>
                </a:extLst>
              </p:cNvPr>
              <p:cNvSpPr/>
              <p:nvPr/>
            </p:nvSpPr>
            <p:spPr bwMode="gray">
              <a:xfrm>
                <a:off x="540001" y="4636672"/>
                <a:ext cx="5554796" cy="11753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2" name="Rechteck 12">
                <a:extLst>
                  <a:ext uri="{FF2B5EF4-FFF2-40B4-BE49-F238E27FC236}">
                    <a16:creationId xmlns:a16="http://schemas.microsoft.com/office/drawing/2014/main" id="{75FF3B54-D1D2-F839-F9BD-73BADFC07F04}"/>
                  </a:ext>
                </a:extLst>
              </p:cNvPr>
              <p:cNvSpPr/>
              <p:nvPr/>
            </p:nvSpPr>
            <p:spPr bwMode="gray">
              <a:xfrm>
                <a:off x="6094797" y="4636672"/>
                <a:ext cx="5554801" cy="11753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3" name="Rechteck 13">
                <a:extLst>
                  <a:ext uri="{FF2B5EF4-FFF2-40B4-BE49-F238E27FC236}">
                    <a16:creationId xmlns:a16="http://schemas.microsoft.com/office/drawing/2014/main" id="{2194A16D-8AE3-E215-1ADA-0B10D563845B}"/>
                  </a:ext>
                </a:extLst>
              </p:cNvPr>
              <p:cNvSpPr/>
              <p:nvPr/>
            </p:nvSpPr>
            <p:spPr bwMode="gray">
              <a:xfrm>
                <a:off x="9427681" y="1520825"/>
                <a:ext cx="2221920" cy="311584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sp>
          <p:nvSpPr>
            <p:cNvPr id="9" name="Rechteck 14">
              <a:extLst>
                <a:ext uri="{FF2B5EF4-FFF2-40B4-BE49-F238E27FC236}">
                  <a16:creationId xmlns:a16="http://schemas.microsoft.com/office/drawing/2014/main" id="{BD079CB0-E2A2-DA0B-5EB1-B95D100BAA82}"/>
                </a:ext>
              </a:extLst>
            </p:cNvPr>
            <p:cNvSpPr/>
            <p:nvPr/>
          </p:nvSpPr>
          <p:spPr bwMode="gray">
            <a:xfrm>
              <a:off x="2761918" y="3145019"/>
              <a:ext cx="14490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sources</a:t>
              </a:r>
            </a:p>
          </p:txBody>
        </p:sp>
        <p:sp>
          <p:nvSpPr>
            <p:cNvPr id="10" name="Rechteck 15">
              <a:extLst>
                <a:ext uri="{FF2B5EF4-FFF2-40B4-BE49-F238E27FC236}">
                  <a16:creationId xmlns:a16="http://schemas.microsoft.com/office/drawing/2014/main" id="{7BA8856D-5420-C368-7DD9-C47ADEAA5B1D}"/>
                </a:ext>
              </a:extLst>
            </p:cNvPr>
            <p:cNvSpPr/>
            <p:nvPr/>
          </p:nvSpPr>
          <p:spPr bwMode="gray">
            <a:xfrm>
              <a:off x="7205761" y="3145019"/>
              <a:ext cx="22219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hannels</a:t>
              </a:r>
            </a:p>
          </p:txBody>
        </p:sp>
        <p:sp>
          <p:nvSpPr>
            <p:cNvPr id="11" name="Rechteck 16">
              <a:extLst>
                <a:ext uri="{FF2B5EF4-FFF2-40B4-BE49-F238E27FC236}">
                  <a16:creationId xmlns:a16="http://schemas.microsoft.com/office/drawing/2014/main" id="{86F38D2B-FEF3-2625-8B0C-03A629D8C28F}"/>
                </a:ext>
              </a:extLst>
            </p:cNvPr>
            <p:cNvSpPr/>
            <p:nvPr/>
          </p:nvSpPr>
          <p:spPr bwMode="gray">
            <a:xfrm>
              <a:off x="540001" y="4699369"/>
              <a:ext cx="3940021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ost Structure</a:t>
              </a:r>
            </a:p>
          </p:txBody>
        </p:sp>
        <p:sp>
          <p:nvSpPr>
            <p:cNvPr id="12" name="Rechteck 17">
              <a:extLst>
                <a:ext uri="{FF2B5EF4-FFF2-40B4-BE49-F238E27FC236}">
                  <a16:creationId xmlns:a16="http://schemas.microsoft.com/office/drawing/2014/main" id="{8ED892FD-4591-51FB-E3F1-417C2404E242}"/>
                </a:ext>
              </a:extLst>
            </p:cNvPr>
            <p:cNvSpPr/>
            <p:nvPr/>
          </p:nvSpPr>
          <p:spPr bwMode="gray">
            <a:xfrm>
              <a:off x="540002" y="1681114"/>
              <a:ext cx="2221916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Partners</a:t>
              </a:r>
            </a:p>
          </p:txBody>
        </p:sp>
        <p:sp>
          <p:nvSpPr>
            <p:cNvPr id="13" name="Rechteck 18">
              <a:extLst>
                <a:ext uri="{FF2B5EF4-FFF2-40B4-BE49-F238E27FC236}">
                  <a16:creationId xmlns:a16="http://schemas.microsoft.com/office/drawing/2014/main" id="{AF3E3F5C-930B-B240-F48A-D0CA0A93C48A}"/>
                </a:ext>
              </a:extLst>
            </p:cNvPr>
            <p:cNvSpPr/>
            <p:nvPr/>
          </p:nvSpPr>
          <p:spPr bwMode="gray">
            <a:xfrm>
              <a:off x="2761922" y="1583524"/>
              <a:ext cx="171810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Activities</a:t>
              </a:r>
            </a:p>
          </p:txBody>
        </p:sp>
        <p:sp>
          <p:nvSpPr>
            <p:cNvPr id="14" name="Rechteck 36">
              <a:extLst>
                <a:ext uri="{FF2B5EF4-FFF2-40B4-BE49-F238E27FC236}">
                  <a16:creationId xmlns:a16="http://schemas.microsoft.com/office/drawing/2014/main" id="{3CDFEA71-8802-F28D-E415-258278335315}"/>
                </a:ext>
              </a:extLst>
            </p:cNvPr>
            <p:cNvSpPr/>
            <p:nvPr/>
          </p:nvSpPr>
          <p:spPr bwMode="gray">
            <a:xfrm>
              <a:off x="4983841" y="1583524"/>
              <a:ext cx="22219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Value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Proposition</a:t>
              </a:r>
            </a:p>
          </p:txBody>
        </p:sp>
        <p:sp>
          <p:nvSpPr>
            <p:cNvPr id="15" name="Rechteck 37">
              <a:extLst>
                <a:ext uri="{FF2B5EF4-FFF2-40B4-BE49-F238E27FC236}">
                  <a16:creationId xmlns:a16="http://schemas.microsoft.com/office/drawing/2014/main" id="{CB0FA039-C2BC-0F6A-B730-E151A08EB6C0}"/>
                </a:ext>
              </a:extLst>
            </p:cNvPr>
            <p:cNvSpPr/>
            <p:nvPr/>
          </p:nvSpPr>
          <p:spPr bwMode="gray">
            <a:xfrm>
              <a:off x="7205756" y="1593050"/>
              <a:ext cx="1870749" cy="425427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ustomer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lationships</a:t>
              </a:r>
            </a:p>
          </p:txBody>
        </p:sp>
        <p:sp>
          <p:nvSpPr>
            <p:cNvPr id="17" name="Rechteck 38">
              <a:extLst>
                <a:ext uri="{FF2B5EF4-FFF2-40B4-BE49-F238E27FC236}">
                  <a16:creationId xmlns:a16="http://schemas.microsoft.com/office/drawing/2014/main" id="{4C0631B0-48F3-EA53-7C65-99A10796C55A}"/>
                </a:ext>
              </a:extLst>
            </p:cNvPr>
            <p:cNvSpPr/>
            <p:nvPr/>
          </p:nvSpPr>
          <p:spPr bwMode="gray">
            <a:xfrm>
              <a:off x="9427677" y="1583525"/>
              <a:ext cx="1726278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ustomer Segments</a:t>
              </a:r>
            </a:p>
          </p:txBody>
        </p:sp>
        <p:sp>
          <p:nvSpPr>
            <p:cNvPr id="18" name="Rechteck 40">
              <a:extLst>
                <a:ext uri="{FF2B5EF4-FFF2-40B4-BE49-F238E27FC236}">
                  <a16:creationId xmlns:a16="http://schemas.microsoft.com/office/drawing/2014/main" id="{2979763C-6329-FFCA-A848-DCF7EDA66F10}"/>
                </a:ext>
              </a:extLst>
            </p:cNvPr>
            <p:cNvSpPr/>
            <p:nvPr/>
          </p:nvSpPr>
          <p:spPr bwMode="gray">
            <a:xfrm>
              <a:off x="6094761" y="4707509"/>
              <a:ext cx="3726112" cy="242770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venue Streams</a:t>
              </a:r>
            </a:p>
          </p:txBody>
        </p:sp>
        <p:grpSp>
          <p:nvGrpSpPr>
            <p:cNvPr id="19" name="Gruppieren 54">
              <a:extLst>
                <a:ext uri="{FF2B5EF4-FFF2-40B4-BE49-F238E27FC236}">
                  <a16:creationId xmlns:a16="http://schemas.microsoft.com/office/drawing/2014/main" id="{EA356240-292C-A36F-6DE3-38C405B92F5D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192510" y="1676645"/>
              <a:ext cx="364143" cy="363374"/>
              <a:chOff x="14842424" y="9461856"/>
              <a:chExt cx="783304" cy="781651"/>
            </a:xfrm>
          </p:grpSpPr>
          <p:sp>
            <p:nvSpPr>
              <p:cNvPr id="235" name="Freihandform: Form 55">
                <a:extLst>
                  <a:ext uri="{FF2B5EF4-FFF2-40B4-BE49-F238E27FC236}">
                    <a16:creationId xmlns:a16="http://schemas.microsoft.com/office/drawing/2014/main" id="{2E432B0A-F204-4999-11B6-D2AFEA6529A9}"/>
                  </a:ext>
                </a:extLst>
              </p:cNvPr>
              <p:cNvSpPr/>
              <p:nvPr/>
            </p:nvSpPr>
            <p:spPr bwMode="gray">
              <a:xfrm>
                <a:off x="15308630" y="9879019"/>
                <a:ext cx="260348" cy="363277"/>
              </a:xfrm>
              <a:custGeom>
                <a:avLst/>
                <a:gdLst>
                  <a:gd name="connsiteX0" fmla="*/ 338420 w 350230"/>
                  <a:gd name="connsiteY0" fmla="*/ 476883 h 488693"/>
                  <a:gd name="connsiteX1" fmla="*/ 314800 w 350230"/>
                  <a:gd name="connsiteY1" fmla="*/ 278963 h 488693"/>
                  <a:gd name="connsiteX2" fmla="*/ 255342 w 350230"/>
                  <a:gd name="connsiteY2" fmla="*/ 179595 h 488693"/>
                  <a:gd name="connsiteX3" fmla="*/ 197514 w 350230"/>
                  <a:gd name="connsiteY3" fmla="*/ 149459 h 488693"/>
                  <a:gd name="connsiteX4" fmla="*/ 47648 w 350230"/>
                  <a:gd name="connsiteY4" fmla="*/ 105476 h 488693"/>
                  <a:gd name="connsiteX5" fmla="*/ 38688 w 350230"/>
                  <a:gd name="connsiteY5" fmla="*/ 101404 h 488693"/>
                  <a:gd name="connsiteX6" fmla="*/ 24842 w 350230"/>
                  <a:gd name="connsiteY6" fmla="*/ 77784 h 488693"/>
                  <a:gd name="connsiteX7" fmla="*/ 18326 w 350230"/>
                  <a:gd name="connsiteY7" fmla="*/ 18326 h 488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0230" h="488693">
                    <a:moveTo>
                      <a:pt x="338420" y="476883"/>
                    </a:moveTo>
                    <a:lnTo>
                      <a:pt x="314800" y="278963"/>
                    </a:lnTo>
                    <a:cubicBezTo>
                      <a:pt x="306655" y="240681"/>
                      <a:pt x="286293" y="204844"/>
                      <a:pt x="255342" y="179595"/>
                    </a:cubicBezTo>
                    <a:cubicBezTo>
                      <a:pt x="235795" y="163305"/>
                      <a:pt x="216247" y="153532"/>
                      <a:pt x="197514" y="149459"/>
                    </a:cubicBezTo>
                    <a:lnTo>
                      <a:pt x="47648" y="105476"/>
                    </a:lnTo>
                    <a:cubicBezTo>
                      <a:pt x="44390" y="104662"/>
                      <a:pt x="41132" y="103033"/>
                      <a:pt x="38688" y="101404"/>
                    </a:cubicBezTo>
                    <a:cubicBezTo>
                      <a:pt x="30543" y="95702"/>
                      <a:pt x="25656" y="87558"/>
                      <a:pt x="24842" y="77784"/>
                    </a:cubicBez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6" name="Freihandform: Form 56">
                <a:extLst>
                  <a:ext uri="{FF2B5EF4-FFF2-40B4-BE49-F238E27FC236}">
                    <a16:creationId xmlns:a16="http://schemas.microsoft.com/office/drawing/2014/main" id="{9200E83E-A854-6B72-A5C6-5915E44D6FCE}"/>
                  </a:ext>
                </a:extLst>
              </p:cNvPr>
              <p:cNvSpPr/>
              <p:nvPr/>
            </p:nvSpPr>
            <p:spPr bwMode="gray">
              <a:xfrm>
                <a:off x="14896311" y="9674373"/>
                <a:ext cx="260348" cy="569134"/>
              </a:xfrm>
              <a:custGeom>
                <a:avLst/>
                <a:gdLst>
                  <a:gd name="connsiteX0" fmla="*/ 243125 w 350230"/>
                  <a:gd name="connsiteY0" fmla="*/ 18326 h 765619"/>
                  <a:gd name="connsiteX1" fmla="*/ 203215 w 350230"/>
                  <a:gd name="connsiteY1" fmla="*/ 86743 h 765619"/>
                  <a:gd name="connsiteX2" fmla="*/ 250455 w 350230"/>
                  <a:gd name="connsiteY2" fmla="*/ 156789 h 765619"/>
                  <a:gd name="connsiteX3" fmla="*/ 338420 w 350230"/>
                  <a:gd name="connsiteY3" fmla="*/ 295252 h 765619"/>
                  <a:gd name="connsiteX4" fmla="*/ 331904 w 350230"/>
                  <a:gd name="connsiteY4" fmla="*/ 354710 h 765619"/>
                  <a:gd name="connsiteX5" fmla="*/ 318058 w 350230"/>
                  <a:gd name="connsiteY5" fmla="*/ 378330 h 765619"/>
                  <a:gd name="connsiteX6" fmla="*/ 309099 w 350230"/>
                  <a:gd name="connsiteY6" fmla="*/ 382403 h 765619"/>
                  <a:gd name="connsiteX7" fmla="*/ 160047 w 350230"/>
                  <a:gd name="connsiteY7" fmla="*/ 425571 h 765619"/>
                  <a:gd name="connsiteX8" fmla="*/ 101404 w 350230"/>
                  <a:gd name="connsiteY8" fmla="*/ 456521 h 765619"/>
                  <a:gd name="connsiteX9" fmla="*/ 41946 w 350230"/>
                  <a:gd name="connsiteY9" fmla="*/ 555889 h 765619"/>
                  <a:gd name="connsiteX10" fmla="*/ 18326 w 350230"/>
                  <a:gd name="connsiteY10" fmla="*/ 753810 h 76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0230" h="765619">
                    <a:moveTo>
                      <a:pt x="243125" y="18326"/>
                    </a:moveTo>
                    <a:cubicBezTo>
                      <a:pt x="220319" y="24842"/>
                      <a:pt x="203215" y="52535"/>
                      <a:pt x="203215" y="86743"/>
                    </a:cubicBezTo>
                    <a:cubicBezTo>
                      <a:pt x="203215" y="124210"/>
                      <a:pt x="223577" y="154346"/>
                      <a:pt x="250455" y="156789"/>
                    </a:cubicBezTo>
                    <a:cubicBezTo>
                      <a:pt x="265116" y="213803"/>
                      <a:pt x="296067" y="262673"/>
                      <a:pt x="338420" y="295252"/>
                    </a:cubicBezTo>
                    <a:lnTo>
                      <a:pt x="331904" y="354710"/>
                    </a:lnTo>
                    <a:cubicBezTo>
                      <a:pt x="331090" y="364484"/>
                      <a:pt x="325389" y="372629"/>
                      <a:pt x="318058" y="378330"/>
                    </a:cubicBezTo>
                    <a:cubicBezTo>
                      <a:pt x="315615" y="379959"/>
                      <a:pt x="312357" y="381588"/>
                      <a:pt x="309099" y="382403"/>
                    </a:cubicBezTo>
                    <a:lnTo>
                      <a:pt x="160047" y="425571"/>
                    </a:lnTo>
                    <a:cubicBezTo>
                      <a:pt x="140499" y="429643"/>
                      <a:pt x="120952" y="440231"/>
                      <a:pt x="101404" y="456521"/>
                    </a:cubicBezTo>
                    <a:cubicBezTo>
                      <a:pt x="70454" y="481771"/>
                      <a:pt x="50091" y="516794"/>
                      <a:pt x="41946" y="555889"/>
                    </a:cubicBezTo>
                    <a:lnTo>
                      <a:pt x="18326" y="75381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7" name="Freihandform: Form 57">
                <a:extLst>
                  <a:ext uri="{FF2B5EF4-FFF2-40B4-BE49-F238E27FC236}">
                    <a16:creationId xmlns:a16="http://schemas.microsoft.com/office/drawing/2014/main" id="{8CD13A9C-D35C-4AAA-8DAF-99DBD9CE0862}"/>
                  </a:ext>
                </a:extLst>
              </p:cNvPr>
              <p:cNvSpPr/>
              <p:nvPr/>
            </p:nvSpPr>
            <p:spPr bwMode="gray">
              <a:xfrm>
                <a:off x="15308024" y="9674373"/>
                <a:ext cx="260348" cy="569134"/>
              </a:xfrm>
              <a:custGeom>
                <a:avLst/>
                <a:gdLst>
                  <a:gd name="connsiteX0" fmla="*/ 113621 w 350230"/>
                  <a:gd name="connsiteY0" fmla="*/ 18326 h 765619"/>
                  <a:gd name="connsiteX1" fmla="*/ 153531 w 350230"/>
                  <a:gd name="connsiteY1" fmla="*/ 86743 h 765619"/>
                  <a:gd name="connsiteX2" fmla="*/ 106291 w 350230"/>
                  <a:gd name="connsiteY2" fmla="*/ 156789 h 765619"/>
                  <a:gd name="connsiteX3" fmla="*/ 18326 w 350230"/>
                  <a:gd name="connsiteY3" fmla="*/ 295252 h 765619"/>
                  <a:gd name="connsiteX4" fmla="*/ 24842 w 350230"/>
                  <a:gd name="connsiteY4" fmla="*/ 354710 h 765619"/>
                  <a:gd name="connsiteX5" fmla="*/ 38688 w 350230"/>
                  <a:gd name="connsiteY5" fmla="*/ 378330 h 765619"/>
                  <a:gd name="connsiteX6" fmla="*/ 47648 w 350230"/>
                  <a:gd name="connsiteY6" fmla="*/ 382403 h 765619"/>
                  <a:gd name="connsiteX7" fmla="*/ 196699 w 350230"/>
                  <a:gd name="connsiteY7" fmla="*/ 425571 h 765619"/>
                  <a:gd name="connsiteX8" fmla="*/ 255342 w 350230"/>
                  <a:gd name="connsiteY8" fmla="*/ 456521 h 765619"/>
                  <a:gd name="connsiteX9" fmla="*/ 314800 w 350230"/>
                  <a:gd name="connsiteY9" fmla="*/ 555889 h 765619"/>
                  <a:gd name="connsiteX10" fmla="*/ 338420 w 350230"/>
                  <a:gd name="connsiteY10" fmla="*/ 753810 h 76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0230" h="765619">
                    <a:moveTo>
                      <a:pt x="113621" y="18326"/>
                    </a:moveTo>
                    <a:cubicBezTo>
                      <a:pt x="136427" y="24842"/>
                      <a:pt x="153531" y="52535"/>
                      <a:pt x="153531" y="86743"/>
                    </a:cubicBezTo>
                    <a:cubicBezTo>
                      <a:pt x="153531" y="124210"/>
                      <a:pt x="133169" y="154346"/>
                      <a:pt x="106291" y="156789"/>
                    </a:cubicBezTo>
                    <a:cubicBezTo>
                      <a:pt x="91630" y="213803"/>
                      <a:pt x="60680" y="262673"/>
                      <a:pt x="18326" y="295252"/>
                    </a:cubicBezTo>
                    <a:lnTo>
                      <a:pt x="24842" y="354710"/>
                    </a:lnTo>
                    <a:cubicBezTo>
                      <a:pt x="25657" y="364484"/>
                      <a:pt x="31358" y="372629"/>
                      <a:pt x="38688" y="378330"/>
                    </a:cubicBezTo>
                    <a:cubicBezTo>
                      <a:pt x="41132" y="379959"/>
                      <a:pt x="44390" y="381588"/>
                      <a:pt x="47648" y="382403"/>
                    </a:cubicBezTo>
                    <a:lnTo>
                      <a:pt x="196699" y="425571"/>
                    </a:lnTo>
                    <a:cubicBezTo>
                      <a:pt x="216247" y="429643"/>
                      <a:pt x="235795" y="440231"/>
                      <a:pt x="255342" y="456521"/>
                    </a:cubicBezTo>
                    <a:cubicBezTo>
                      <a:pt x="286293" y="481771"/>
                      <a:pt x="306655" y="516794"/>
                      <a:pt x="314800" y="555889"/>
                    </a:cubicBezTo>
                    <a:lnTo>
                      <a:pt x="338420" y="75381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8" name="Freihandform: Form 58">
                <a:extLst>
                  <a:ext uri="{FF2B5EF4-FFF2-40B4-BE49-F238E27FC236}">
                    <a16:creationId xmlns:a16="http://schemas.microsoft.com/office/drawing/2014/main" id="{3EB75069-3DF4-7F81-1426-B40FF4F96889}"/>
                  </a:ext>
                </a:extLst>
              </p:cNvPr>
              <p:cNvSpPr/>
              <p:nvPr/>
            </p:nvSpPr>
            <p:spPr bwMode="gray">
              <a:xfrm>
                <a:off x="15110644" y="9948042"/>
                <a:ext cx="248239" cy="90819"/>
              </a:xfrm>
              <a:custGeom>
                <a:avLst/>
                <a:gdLst>
                  <a:gd name="connsiteX0" fmla="*/ 316429 w 333940"/>
                  <a:gd name="connsiteY0" fmla="*/ 18326 h 122173"/>
                  <a:gd name="connsiteX1" fmla="*/ 258600 w 333940"/>
                  <a:gd name="connsiteY1" fmla="*/ 70453 h 122173"/>
                  <a:gd name="connsiteX2" fmla="*/ 76155 w 333940"/>
                  <a:gd name="connsiteY2" fmla="*/ 70453 h 122173"/>
                  <a:gd name="connsiteX3" fmla="*/ 18326 w 333940"/>
                  <a:gd name="connsiteY3" fmla="*/ 18326 h 122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3940" h="122173">
                    <a:moveTo>
                      <a:pt x="316429" y="18326"/>
                    </a:moveTo>
                    <a:lnTo>
                      <a:pt x="258600" y="70453"/>
                    </a:lnTo>
                    <a:cubicBezTo>
                      <a:pt x="206473" y="116879"/>
                      <a:pt x="128282" y="116879"/>
                      <a:pt x="76155" y="70453"/>
                    </a:cubicBez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9" name="Freihandform: Form 59">
                <a:extLst>
                  <a:ext uri="{FF2B5EF4-FFF2-40B4-BE49-F238E27FC236}">
                    <a16:creationId xmlns:a16="http://schemas.microsoft.com/office/drawing/2014/main" id="{EC1ADFB6-427F-7932-BBED-2347C79E7F89}"/>
                  </a:ext>
                </a:extLst>
              </p:cNvPr>
              <p:cNvSpPr/>
              <p:nvPr/>
            </p:nvSpPr>
            <p:spPr bwMode="gray">
              <a:xfrm>
                <a:off x="15062965" y="9461856"/>
                <a:ext cx="339058" cy="236130"/>
              </a:xfrm>
              <a:custGeom>
                <a:avLst/>
                <a:gdLst>
                  <a:gd name="connsiteX0" fmla="*/ 18935 w 456113"/>
                  <a:gd name="connsiteY0" fmla="*/ 304212 h 317650"/>
                  <a:gd name="connsiteX1" fmla="*/ 31967 w 456113"/>
                  <a:gd name="connsiteY1" fmla="*/ 179595 h 317650"/>
                  <a:gd name="connsiteX2" fmla="*/ 230702 w 456113"/>
                  <a:gd name="connsiteY2" fmla="*/ 18326 h 317650"/>
                  <a:gd name="connsiteX3" fmla="*/ 429437 w 456113"/>
                  <a:gd name="connsiteY3" fmla="*/ 179595 h 317650"/>
                  <a:gd name="connsiteX4" fmla="*/ 442469 w 456113"/>
                  <a:gd name="connsiteY4" fmla="*/ 304212 h 31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6113" h="317650">
                    <a:moveTo>
                      <a:pt x="18935" y="304212"/>
                    </a:moveTo>
                    <a:cubicBezTo>
                      <a:pt x="18935" y="304212"/>
                      <a:pt x="14048" y="236609"/>
                      <a:pt x="31967" y="179595"/>
                    </a:cubicBezTo>
                    <a:cubicBezTo>
                      <a:pt x="31967" y="179595"/>
                      <a:pt x="73506" y="18326"/>
                      <a:pt x="230702" y="18326"/>
                    </a:cubicBezTo>
                    <a:cubicBezTo>
                      <a:pt x="387899" y="18326"/>
                      <a:pt x="429437" y="179595"/>
                      <a:pt x="429437" y="179595"/>
                    </a:cubicBezTo>
                    <a:cubicBezTo>
                      <a:pt x="447356" y="235794"/>
                      <a:pt x="442469" y="304212"/>
                      <a:pt x="442469" y="30421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0" name="Freihandform: Form 60">
                <a:extLst>
                  <a:ext uri="{FF2B5EF4-FFF2-40B4-BE49-F238E27FC236}">
                    <a16:creationId xmlns:a16="http://schemas.microsoft.com/office/drawing/2014/main" id="{ECBC1AA2-6DDC-13ED-E042-C416E749651C}"/>
                  </a:ext>
                </a:extLst>
              </p:cNvPr>
              <p:cNvSpPr/>
              <p:nvPr/>
            </p:nvSpPr>
            <p:spPr bwMode="gray">
              <a:xfrm>
                <a:off x="15068867" y="9553854"/>
                <a:ext cx="314840" cy="84765"/>
              </a:xfrm>
              <a:custGeom>
                <a:avLst/>
                <a:gdLst>
                  <a:gd name="connsiteX0" fmla="*/ 18326 w 423534"/>
                  <a:gd name="connsiteY0" fmla="*/ 90045 h 114028"/>
                  <a:gd name="connsiteX1" fmla="*/ 228464 w 423534"/>
                  <a:gd name="connsiteY1" fmla="*/ 52578 h 114028"/>
                  <a:gd name="connsiteX2" fmla="*/ 407652 w 423534"/>
                  <a:gd name="connsiteY2" fmla="*/ 21628 h 11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23534" h="114028">
                    <a:moveTo>
                      <a:pt x="18326" y="90045"/>
                    </a:moveTo>
                    <a:cubicBezTo>
                      <a:pt x="62309" y="106335"/>
                      <a:pt x="129097" y="107149"/>
                      <a:pt x="228464" y="52578"/>
                    </a:cubicBezTo>
                    <a:cubicBezTo>
                      <a:pt x="288737" y="19184"/>
                      <a:pt x="352267" y="13483"/>
                      <a:pt x="407652" y="21628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1" name="Freihandform: Form 61">
                <a:extLst>
                  <a:ext uri="{FF2B5EF4-FFF2-40B4-BE49-F238E27FC236}">
                    <a16:creationId xmlns:a16="http://schemas.microsoft.com/office/drawing/2014/main" id="{8170D1CE-B681-9087-AA30-D4D4E1B36B89}"/>
                  </a:ext>
                </a:extLst>
              </p:cNvPr>
              <p:cNvSpPr/>
              <p:nvPr/>
            </p:nvSpPr>
            <p:spPr bwMode="gray">
              <a:xfrm>
                <a:off x="15407762" y="9713728"/>
                <a:ext cx="217966" cy="405659"/>
              </a:xfrm>
              <a:custGeom>
                <a:avLst/>
                <a:gdLst>
                  <a:gd name="connsiteX0" fmla="*/ 114656 w 293216"/>
                  <a:gd name="connsiteY0" fmla="*/ 18326 h 545707"/>
                  <a:gd name="connsiteX1" fmla="*/ 139905 w 293216"/>
                  <a:gd name="connsiteY1" fmla="*/ 90816 h 545707"/>
                  <a:gd name="connsiteX2" fmla="*/ 82076 w 293216"/>
                  <a:gd name="connsiteY2" fmla="*/ 148644 h 545707"/>
                  <a:gd name="connsiteX3" fmla="*/ 29949 w 293216"/>
                  <a:gd name="connsiteY3" fmla="*/ 222763 h 545707"/>
                  <a:gd name="connsiteX4" fmla="*/ 44610 w 293216"/>
                  <a:gd name="connsiteY4" fmla="*/ 270818 h 545707"/>
                  <a:gd name="connsiteX5" fmla="*/ 76375 w 293216"/>
                  <a:gd name="connsiteY5" fmla="*/ 281406 h 545707"/>
                  <a:gd name="connsiteX6" fmla="*/ 275925 w 293216"/>
                  <a:gd name="connsiteY6" fmla="*/ 515979 h 545707"/>
                  <a:gd name="connsiteX7" fmla="*/ 276739 w 293216"/>
                  <a:gd name="connsiteY7" fmla="*/ 528196 h 545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3216" h="545707">
                    <a:moveTo>
                      <a:pt x="114656" y="18326"/>
                    </a:moveTo>
                    <a:cubicBezTo>
                      <a:pt x="135833" y="28914"/>
                      <a:pt x="146421" y="58236"/>
                      <a:pt x="139905" y="90816"/>
                    </a:cubicBezTo>
                    <a:cubicBezTo>
                      <a:pt x="133389" y="126653"/>
                      <a:pt x="108140" y="151088"/>
                      <a:pt x="82076" y="148644"/>
                    </a:cubicBezTo>
                    <a:cubicBezTo>
                      <a:pt x="68230" y="177151"/>
                      <a:pt x="51126" y="201586"/>
                      <a:pt x="29949" y="222763"/>
                    </a:cubicBezTo>
                    <a:cubicBezTo>
                      <a:pt x="9587" y="243125"/>
                      <a:pt x="16917" y="261044"/>
                      <a:pt x="44610" y="270818"/>
                    </a:cubicBezTo>
                    <a:lnTo>
                      <a:pt x="76375" y="281406"/>
                    </a:lnTo>
                    <a:cubicBezTo>
                      <a:pt x="174928" y="313986"/>
                      <a:pt x="271038" y="366113"/>
                      <a:pt x="275925" y="515979"/>
                    </a:cubicBezTo>
                    <a:cubicBezTo>
                      <a:pt x="275925" y="520051"/>
                      <a:pt x="276739" y="524124"/>
                      <a:pt x="276739" y="52819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2" name="Freihandform: Form 62">
                <a:extLst>
                  <a:ext uri="{FF2B5EF4-FFF2-40B4-BE49-F238E27FC236}">
                    <a16:creationId xmlns:a16="http://schemas.microsoft.com/office/drawing/2014/main" id="{359D6000-0C72-02BC-A38F-1E0B4126CF2E}"/>
                  </a:ext>
                </a:extLst>
              </p:cNvPr>
              <p:cNvSpPr/>
              <p:nvPr/>
            </p:nvSpPr>
            <p:spPr bwMode="gray">
              <a:xfrm>
                <a:off x="15369176" y="9483047"/>
                <a:ext cx="145310" cy="254294"/>
              </a:xfrm>
              <a:custGeom>
                <a:avLst/>
                <a:gdLst>
                  <a:gd name="connsiteX0" fmla="*/ 166563 w 195477"/>
                  <a:gd name="connsiteY0" fmla="*/ 328646 h 342085"/>
                  <a:gd name="connsiteX1" fmla="*/ 177151 w 195477"/>
                  <a:gd name="connsiteY1" fmla="*/ 208102 h 342085"/>
                  <a:gd name="connsiteX2" fmla="*/ 18326 w 195477"/>
                  <a:gd name="connsiteY2" fmla="*/ 18326 h 342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5477" h="342085">
                    <a:moveTo>
                      <a:pt x="166563" y="328646"/>
                    </a:moveTo>
                    <a:cubicBezTo>
                      <a:pt x="166563" y="328646"/>
                      <a:pt x="183667" y="265116"/>
                      <a:pt x="177151" y="208102"/>
                    </a:cubicBezTo>
                    <a:cubicBezTo>
                      <a:pt x="177151" y="208102"/>
                      <a:pt x="167378" y="47647"/>
                      <a:pt x="18326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3" name="Freihandform: Form 63">
                <a:extLst>
                  <a:ext uri="{FF2B5EF4-FFF2-40B4-BE49-F238E27FC236}">
                    <a16:creationId xmlns:a16="http://schemas.microsoft.com/office/drawing/2014/main" id="{C7A9EB44-714D-665F-E32E-1CBB001A765F}"/>
                  </a:ext>
                </a:extLst>
              </p:cNvPr>
              <p:cNvSpPr/>
              <p:nvPr/>
            </p:nvSpPr>
            <p:spPr bwMode="gray">
              <a:xfrm>
                <a:off x="14842424" y="9713728"/>
                <a:ext cx="217966" cy="405659"/>
              </a:xfrm>
              <a:custGeom>
                <a:avLst/>
                <a:gdLst>
                  <a:gd name="connsiteX0" fmla="*/ 180409 w 293216"/>
                  <a:gd name="connsiteY0" fmla="*/ 18326 h 545707"/>
                  <a:gd name="connsiteX1" fmla="*/ 155160 w 293216"/>
                  <a:gd name="connsiteY1" fmla="*/ 90816 h 545707"/>
                  <a:gd name="connsiteX2" fmla="*/ 212989 w 293216"/>
                  <a:gd name="connsiteY2" fmla="*/ 148644 h 545707"/>
                  <a:gd name="connsiteX3" fmla="*/ 265116 w 293216"/>
                  <a:gd name="connsiteY3" fmla="*/ 222763 h 545707"/>
                  <a:gd name="connsiteX4" fmla="*/ 250455 w 293216"/>
                  <a:gd name="connsiteY4" fmla="*/ 270818 h 545707"/>
                  <a:gd name="connsiteX5" fmla="*/ 218690 w 293216"/>
                  <a:gd name="connsiteY5" fmla="*/ 281406 h 545707"/>
                  <a:gd name="connsiteX6" fmla="*/ 19141 w 293216"/>
                  <a:gd name="connsiteY6" fmla="*/ 515979 h 545707"/>
                  <a:gd name="connsiteX7" fmla="*/ 18326 w 293216"/>
                  <a:gd name="connsiteY7" fmla="*/ 528196 h 545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3216" h="545707">
                    <a:moveTo>
                      <a:pt x="180409" y="18326"/>
                    </a:moveTo>
                    <a:cubicBezTo>
                      <a:pt x="159233" y="28914"/>
                      <a:pt x="148644" y="58236"/>
                      <a:pt x="155160" y="90816"/>
                    </a:cubicBezTo>
                    <a:cubicBezTo>
                      <a:pt x="161676" y="126653"/>
                      <a:pt x="186925" y="151088"/>
                      <a:pt x="212989" y="148644"/>
                    </a:cubicBezTo>
                    <a:cubicBezTo>
                      <a:pt x="226835" y="177151"/>
                      <a:pt x="243940" y="201586"/>
                      <a:pt x="265116" y="222763"/>
                    </a:cubicBezTo>
                    <a:cubicBezTo>
                      <a:pt x="285479" y="243125"/>
                      <a:pt x="278148" y="261044"/>
                      <a:pt x="250455" y="270818"/>
                    </a:cubicBezTo>
                    <a:lnTo>
                      <a:pt x="218690" y="281406"/>
                    </a:lnTo>
                    <a:cubicBezTo>
                      <a:pt x="120137" y="313986"/>
                      <a:pt x="24028" y="366113"/>
                      <a:pt x="19141" y="515979"/>
                    </a:cubicBezTo>
                    <a:cubicBezTo>
                      <a:pt x="19141" y="520051"/>
                      <a:pt x="18326" y="524124"/>
                      <a:pt x="18326" y="52819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4" name="Freihandform: Form 64">
                <a:extLst>
                  <a:ext uri="{FF2B5EF4-FFF2-40B4-BE49-F238E27FC236}">
                    <a16:creationId xmlns:a16="http://schemas.microsoft.com/office/drawing/2014/main" id="{D7A659FD-5157-B195-1EA6-9E388E822EB2}"/>
                  </a:ext>
                </a:extLst>
              </p:cNvPr>
              <p:cNvSpPr/>
              <p:nvPr/>
            </p:nvSpPr>
            <p:spPr bwMode="gray">
              <a:xfrm>
                <a:off x="14953940" y="9483047"/>
                <a:ext cx="145310" cy="254294"/>
              </a:xfrm>
              <a:custGeom>
                <a:avLst/>
                <a:gdLst>
                  <a:gd name="connsiteX0" fmla="*/ 30395 w 195477"/>
                  <a:gd name="connsiteY0" fmla="*/ 328646 h 342085"/>
                  <a:gd name="connsiteX1" fmla="*/ 19806 w 195477"/>
                  <a:gd name="connsiteY1" fmla="*/ 208102 h 342085"/>
                  <a:gd name="connsiteX2" fmla="*/ 178632 w 195477"/>
                  <a:gd name="connsiteY2" fmla="*/ 18326 h 342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5477" h="342085">
                    <a:moveTo>
                      <a:pt x="30395" y="328646"/>
                    </a:moveTo>
                    <a:cubicBezTo>
                      <a:pt x="30395" y="328646"/>
                      <a:pt x="13291" y="265116"/>
                      <a:pt x="19806" y="208102"/>
                    </a:cubicBezTo>
                    <a:cubicBezTo>
                      <a:pt x="19806" y="208102"/>
                      <a:pt x="29580" y="47647"/>
                      <a:pt x="178632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0" name="Gruppieren 65">
              <a:extLst>
                <a:ext uri="{FF2B5EF4-FFF2-40B4-BE49-F238E27FC236}">
                  <a16:creationId xmlns:a16="http://schemas.microsoft.com/office/drawing/2014/main" id="{356953EF-CD1B-ABB7-D211-C189B0BD1A7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4483106" y="3209638"/>
              <a:ext cx="358756" cy="430343"/>
              <a:chOff x="9950269" y="7309727"/>
              <a:chExt cx="593871" cy="712373"/>
            </a:xfrm>
          </p:grpSpPr>
          <p:sp>
            <p:nvSpPr>
              <p:cNvPr id="120" name="Freihandform: Form 66">
                <a:extLst>
                  <a:ext uri="{FF2B5EF4-FFF2-40B4-BE49-F238E27FC236}">
                    <a16:creationId xmlns:a16="http://schemas.microsoft.com/office/drawing/2014/main" id="{8EE9B7E4-6E87-8BAE-256A-C441E3E84EBE}"/>
                  </a:ext>
                </a:extLst>
              </p:cNvPr>
              <p:cNvSpPr/>
              <p:nvPr/>
            </p:nvSpPr>
            <p:spPr bwMode="gray">
              <a:xfrm>
                <a:off x="10401133" y="7598991"/>
                <a:ext cx="43668" cy="136463"/>
              </a:xfrm>
              <a:custGeom>
                <a:avLst/>
                <a:gdLst>
                  <a:gd name="connsiteX0" fmla="*/ 12282 w 43668"/>
                  <a:gd name="connsiteY0" fmla="*/ 127456 h 136462"/>
                  <a:gd name="connsiteX1" fmla="*/ 12282 w 43668"/>
                  <a:gd name="connsiteY1" fmla="*/ 12282 h 136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668" h="136462">
                    <a:moveTo>
                      <a:pt x="12282" y="127456"/>
                    </a:moveTo>
                    <a:cubicBezTo>
                      <a:pt x="43941" y="95797"/>
                      <a:pt x="43941" y="43941"/>
                      <a:pt x="12282" y="1228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21" name="Freihandform: Form 67">
                <a:extLst>
                  <a:ext uri="{FF2B5EF4-FFF2-40B4-BE49-F238E27FC236}">
                    <a16:creationId xmlns:a16="http://schemas.microsoft.com/office/drawing/2014/main" id="{133ED818-C44E-ADF4-1C5C-B53A26330CE5}"/>
                  </a:ext>
                </a:extLst>
              </p:cNvPr>
              <p:cNvSpPr/>
              <p:nvPr/>
            </p:nvSpPr>
            <p:spPr bwMode="gray">
              <a:xfrm>
                <a:off x="9950269" y="7749175"/>
                <a:ext cx="294760" cy="272925"/>
              </a:xfrm>
              <a:custGeom>
                <a:avLst/>
                <a:gdLst>
                  <a:gd name="connsiteX0" fmla="*/ 175491 w 294759"/>
                  <a:gd name="connsiteY0" fmla="*/ 238729 h 272925"/>
                  <a:gd name="connsiteX1" fmla="*/ 186408 w 294759"/>
                  <a:gd name="connsiteY1" fmla="*/ 257834 h 272925"/>
                  <a:gd name="connsiteX2" fmla="*/ 207151 w 294759"/>
                  <a:gd name="connsiteY2" fmla="*/ 263293 h 272925"/>
                  <a:gd name="connsiteX3" fmla="*/ 227893 w 294759"/>
                  <a:gd name="connsiteY3" fmla="*/ 251284 h 272925"/>
                  <a:gd name="connsiteX4" fmla="*/ 233351 w 294759"/>
                  <a:gd name="connsiteY4" fmla="*/ 230542 h 272925"/>
                  <a:gd name="connsiteX5" fmla="*/ 222434 w 294759"/>
                  <a:gd name="connsiteY5" fmla="*/ 211983 h 272925"/>
                  <a:gd name="connsiteX6" fmla="*/ 248635 w 294759"/>
                  <a:gd name="connsiteY6" fmla="*/ 166131 h 272925"/>
                  <a:gd name="connsiteX7" fmla="*/ 270469 w 294759"/>
                  <a:gd name="connsiteY7" fmla="*/ 166131 h 272925"/>
                  <a:gd name="connsiteX8" fmla="*/ 285753 w 294759"/>
                  <a:gd name="connsiteY8" fmla="*/ 150847 h 272925"/>
                  <a:gd name="connsiteX9" fmla="*/ 285753 w 294759"/>
                  <a:gd name="connsiteY9" fmla="*/ 126830 h 272925"/>
                  <a:gd name="connsiteX10" fmla="*/ 270469 w 294759"/>
                  <a:gd name="connsiteY10" fmla="*/ 111546 h 272925"/>
                  <a:gd name="connsiteX11" fmla="*/ 248635 w 294759"/>
                  <a:gd name="connsiteY11" fmla="*/ 111546 h 272925"/>
                  <a:gd name="connsiteX12" fmla="*/ 222434 w 294759"/>
                  <a:gd name="connsiteY12" fmla="*/ 65695 h 272925"/>
                  <a:gd name="connsiteX13" fmla="*/ 233351 w 294759"/>
                  <a:gd name="connsiteY13" fmla="*/ 47136 h 272925"/>
                  <a:gd name="connsiteX14" fmla="*/ 227893 w 294759"/>
                  <a:gd name="connsiteY14" fmla="*/ 26393 h 272925"/>
                  <a:gd name="connsiteX15" fmla="*/ 207151 w 294759"/>
                  <a:gd name="connsiteY15" fmla="*/ 14385 h 272925"/>
                  <a:gd name="connsiteX16" fmla="*/ 186408 w 294759"/>
                  <a:gd name="connsiteY16" fmla="*/ 19843 h 272925"/>
                  <a:gd name="connsiteX17" fmla="*/ 175491 w 294759"/>
                  <a:gd name="connsiteY17" fmla="*/ 38948 h 272925"/>
                  <a:gd name="connsiteX18" fmla="*/ 122544 w 294759"/>
                  <a:gd name="connsiteY18" fmla="*/ 38948 h 272925"/>
                  <a:gd name="connsiteX19" fmla="*/ 111627 w 294759"/>
                  <a:gd name="connsiteY19" fmla="*/ 19843 h 272925"/>
                  <a:gd name="connsiteX20" fmla="*/ 90884 w 294759"/>
                  <a:gd name="connsiteY20" fmla="*/ 14385 h 272925"/>
                  <a:gd name="connsiteX21" fmla="*/ 70142 w 294759"/>
                  <a:gd name="connsiteY21" fmla="*/ 26393 h 272925"/>
                  <a:gd name="connsiteX22" fmla="*/ 64683 w 294759"/>
                  <a:gd name="connsiteY22" fmla="*/ 47136 h 272925"/>
                  <a:gd name="connsiteX23" fmla="*/ 75601 w 294759"/>
                  <a:gd name="connsiteY23" fmla="*/ 65695 h 272925"/>
                  <a:gd name="connsiteX24" fmla="*/ 49400 w 294759"/>
                  <a:gd name="connsiteY24" fmla="*/ 111546 h 272925"/>
                  <a:gd name="connsiteX25" fmla="*/ 27566 w 294759"/>
                  <a:gd name="connsiteY25" fmla="*/ 111546 h 272925"/>
                  <a:gd name="connsiteX26" fmla="*/ 12282 w 294759"/>
                  <a:gd name="connsiteY26" fmla="*/ 126830 h 272925"/>
                  <a:gd name="connsiteX27" fmla="*/ 12282 w 294759"/>
                  <a:gd name="connsiteY27" fmla="*/ 150847 h 272925"/>
                  <a:gd name="connsiteX28" fmla="*/ 27566 w 294759"/>
                  <a:gd name="connsiteY28" fmla="*/ 166131 h 272925"/>
                  <a:gd name="connsiteX29" fmla="*/ 49400 w 294759"/>
                  <a:gd name="connsiteY29" fmla="*/ 166131 h 272925"/>
                  <a:gd name="connsiteX30" fmla="*/ 75601 w 294759"/>
                  <a:gd name="connsiteY30" fmla="*/ 211983 h 272925"/>
                  <a:gd name="connsiteX31" fmla="*/ 64683 w 294759"/>
                  <a:gd name="connsiteY31" fmla="*/ 230542 h 272925"/>
                  <a:gd name="connsiteX32" fmla="*/ 70142 w 294759"/>
                  <a:gd name="connsiteY32" fmla="*/ 251284 h 272925"/>
                  <a:gd name="connsiteX33" fmla="*/ 90884 w 294759"/>
                  <a:gd name="connsiteY33" fmla="*/ 263293 h 272925"/>
                  <a:gd name="connsiteX34" fmla="*/ 111627 w 294759"/>
                  <a:gd name="connsiteY34" fmla="*/ 257834 h 272925"/>
                  <a:gd name="connsiteX35" fmla="*/ 122544 w 294759"/>
                  <a:gd name="connsiteY35" fmla="*/ 238729 h 272925"/>
                  <a:gd name="connsiteX36" fmla="*/ 175491 w 294759"/>
                  <a:gd name="connsiteY36" fmla="*/ 238729 h 27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94759" h="272925">
                    <a:moveTo>
                      <a:pt x="175491" y="238729"/>
                    </a:moveTo>
                    <a:lnTo>
                      <a:pt x="186408" y="257834"/>
                    </a:lnTo>
                    <a:cubicBezTo>
                      <a:pt x="190775" y="264930"/>
                      <a:pt x="200054" y="267659"/>
                      <a:pt x="207151" y="263293"/>
                    </a:cubicBezTo>
                    <a:lnTo>
                      <a:pt x="227893" y="251284"/>
                    </a:lnTo>
                    <a:cubicBezTo>
                      <a:pt x="234989" y="246917"/>
                      <a:pt x="237718" y="237638"/>
                      <a:pt x="233351" y="230542"/>
                    </a:cubicBezTo>
                    <a:lnTo>
                      <a:pt x="222434" y="211983"/>
                    </a:lnTo>
                    <a:cubicBezTo>
                      <a:pt x="235535" y="198882"/>
                      <a:pt x="244268" y="183053"/>
                      <a:pt x="248635" y="166131"/>
                    </a:cubicBezTo>
                    <a:lnTo>
                      <a:pt x="270469" y="166131"/>
                    </a:lnTo>
                    <a:cubicBezTo>
                      <a:pt x="278657" y="166131"/>
                      <a:pt x="285753" y="159581"/>
                      <a:pt x="285753" y="150847"/>
                    </a:cubicBezTo>
                    <a:lnTo>
                      <a:pt x="285753" y="126830"/>
                    </a:lnTo>
                    <a:cubicBezTo>
                      <a:pt x="285753" y="118642"/>
                      <a:pt x="279203" y="111546"/>
                      <a:pt x="270469" y="111546"/>
                    </a:cubicBezTo>
                    <a:lnTo>
                      <a:pt x="248635" y="111546"/>
                    </a:lnTo>
                    <a:cubicBezTo>
                      <a:pt x="244268" y="94625"/>
                      <a:pt x="235535" y="78795"/>
                      <a:pt x="222434" y="65695"/>
                    </a:cubicBezTo>
                    <a:lnTo>
                      <a:pt x="233351" y="47136"/>
                    </a:lnTo>
                    <a:cubicBezTo>
                      <a:pt x="237718" y="40040"/>
                      <a:pt x="234989" y="30760"/>
                      <a:pt x="227893" y="26393"/>
                    </a:cubicBezTo>
                    <a:lnTo>
                      <a:pt x="207151" y="14385"/>
                    </a:lnTo>
                    <a:cubicBezTo>
                      <a:pt x="200054" y="10018"/>
                      <a:pt x="190775" y="12747"/>
                      <a:pt x="186408" y="19843"/>
                    </a:cubicBezTo>
                    <a:lnTo>
                      <a:pt x="175491" y="38948"/>
                    </a:lnTo>
                    <a:cubicBezTo>
                      <a:pt x="158024" y="34581"/>
                      <a:pt x="140011" y="34581"/>
                      <a:pt x="122544" y="38948"/>
                    </a:cubicBezTo>
                    <a:lnTo>
                      <a:pt x="111627" y="19843"/>
                    </a:lnTo>
                    <a:cubicBezTo>
                      <a:pt x="107260" y="12747"/>
                      <a:pt x="97980" y="10018"/>
                      <a:pt x="90884" y="14385"/>
                    </a:cubicBezTo>
                    <a:lnTo>
                      <a:pt x="70142" y="26393"/>
                    </a:lnTo>
                    <a:cubicBezTo>
                      <a:pt x="63046" y="30760"/>
                      <a:pt x="60317" y="40040"/>
                      <a:pt x="64683" y="47136"/>
                    </a:cubicBezTo>
                    <a:lnTo>
                      <a:pt x="75601" y="65695"/>
                    </a:lnTo>
                    <a:cubicBezTo>
                      <a:pt x="62500" y="78795"/>
                      <a:pt x="53766" y="94625"/>
                      <a:pt x="49400" y="111546"/>
                    </a:cubicBezTo>
                    <a:lnTo>
                      <a:pt x="27566" y="111546"/>
                    </a:lnTo>
                    <a:cubicBezTo>
                      <a:pt x="19378" y="111546"/>
                      <a:pt x="12282" y="118096"/>
                      <a:pt x="12282" y="126830"/>
                    </a:cubicBezTo>
                    <a:lnTo>
                      <a:pt x="12282" y="150847"/>
                    </a:lnTo>
                    <a:cubicBezTo>
                      <a:pt x="12282" y="159035"/>
                      <a:pt x="18832" y="166131"/>
                      <a:pt x="27566" y="166131"/>
                    </a:cubicBezTo>
                    <a:lnTo>
                      <a:pt x="49400" y="166131"/>
                    </a:lnTo>
                    <a:cubicBezTo>
                      <a:pt x="53766" y="183053"/>
                      <a:pt x="62500" y="198882"/>
                      <a:pt x="75601" y="211983"/>
                    </a:cubicBezTo>
                    <a:lnTo>
                      <a:pt x="64683" y="230542"/>
                    </a:lnTo>
                    <a:cubicBezTo>
                      <a:pt x="60317" y="237638"/>
                      <a:pt x="63046" y="246917"/>
                      <a:pt x="70142" y="251284"/>
                    </a:cubicBezTo>
                    <a:lnTo>
                      <a:pt x="90884" y="263293"/>
                    </a:lnTo>
                    <a:cubicBezTo>
                      <a:pt x="97980" y="267659"/>
                      <a:pt x="107260" y="264930"/>
                      <a:pt x="111627" y="257834"/>
                    </a:cubicBezTo>
                    <a:lnTo>
                      <a:pt x="122544" y="238729"/>
                    </a:lnTo>
                    <a:cubicBezTo>
                      <a:pt x="140011" y="243096"/>
                      <a:pt x="158024" y="243096"/>
                      <a:pt x="175491" y="238729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0" name="Freihandform: Form 68">
                <a:extLst>
                  <a:ext uri="{FF2B5EF4-FFF2-40B4-BE49-F238E27FC236}">
                    <a16:creationId xmlns:a16="http://schemas.microsoft.com/office/drawing/2014/main" id="{81380F0C-1798-15F3-DACC-7AC3EFFABE04}"/>
                  </a:ext>
                </a:extLst>
              </p:cNvPr>
              <p:cNvSpPr/>
              <p:nvPr/>
            </p:nvSpPr>
            <p:spPr bwMode="gray">
              <a:xfrm>
                <a:off x="10156587" y="7488828"/>
                <a:ext cx="387553" cy="360261"/>
              </a:xfrm>
              <a:custGeom>
                <a:avLst/>
                <a:gdLst>
                  <a:gd name="connsiteX0" fmla="*/ 230622 w 387553"/>
                  <a:gd name="connsiteY0" fmla="*/ 313492 h 360261"/>
                  <a:gd name="connsiteX1" fmla="*/ 245360 w 387553"/>
                  <a:gd name="connsiteY1" fmla="*/ 338601 h 360261"/>
                  <a:gd name="connsiteX2" fmla="*/ 273198 w 387553"/>
                  <a:gd name="connsiteY2" fmla="*/ 346243 h 360261"/>
                  <a:gd name="connsiteX3" fmla="*/ 301037 w 387553"/>
                  <a:gd name="connsiteY3" fmla="*/ 330413 h 360261"/>
                  <a:gd name="connsiteX4" fmla="*/ 308678 w 387553"/>
                  <a:gd name="connsiteY4" fmla="*/ 302575 h 360261"/>
                  <a:gd name="connsiteX5" fmla="*/ 294486 w 387553"/>
                  <a:gd name="connsiteY5" fmla="*/ 277465 h 360261"/>
                  <a:gd name="connsiteX6" fmla="*/ 329421 w 387553"/>
                  <a:gd name="connsiteY6" fmla="*/ 216876 h 360261"/>
                  <a:gd name="connsiteX7" fmla="*/ 358351 w 387553"/>
                  <a:gd name="connsiteY7" fmla="*/ 216876 h 360261"/>
                  <a:gd name="connsiteX8" fmla="*/ 378547 w 387553"/>
                  <a:gd name="connsiteY8" fmla="*/ 196679 h 360261"/>
                  <a:gd name="connsiteX9" fmla="*/ 378547 w 387553"/>
                  <a:gd name="connsiteY9" fmla="*/ 164474 h 360261"/>
                  <a:gd name="connsiteX10" fmla="*/ 358351 w 387553"/>
                  <a:gd name="connsiteY10" fmla="*/ 144278 h 360261"/>
                  <a:gd name="connsiteX11" fmla="*/ 329421 w 387553"/>
                  <a:gd name="connsiteY11" fmla="*/ 144278 h 360261"/>
                  <a:gd name="connsiteX12" fmla="*/ 294486 w 387553"/>
                  <a:gd name="connsiteY12" fmla="*/ 83688 h 360261"/>
                  <a:gd name="connsiteX13" fmla="*/ 308678 w 387553"/>
                  <a:gd name="connsiteY13" fmla="*/ 58579 h 360261"/>
                  <a:gd name="connsiteX14" fmla="*/ 301037 w 387553"/>
                  <a:gd name="connsiteY14" fmla="*/ 30741 h 360261"/>
                  <a:gd name="connsiteX15" fmla="*/ 273198 w 387553"/>
                  <a:gd name="connsiteY15" fmla="*/ 14911 h 360261"/>
                  <a:gd name="connsiteX16" fmla="*/ 245360 w 387553"/>
                  <a:gd name="connsiteY16" fmla="*/ 22553 h 360261"/>
                  <a:gd name="connsiteX17" fmla="*/ 230622 w 387553"/>
                  <a:gd name="connsiteY17" fmla="*/ 47662 h 360261"/>
                  <a:gd name="connsiteX18" fmla="*/ 160207 w 387553"/>
                  <a:gd name="connsiteY18" fmla="*/ 47662 h 360261"/>
                  <a:gd name="connsiteX19" fmla="*/ 145469 w 387553"/>
                  <a:gd name="connsiteY19" fmla="*/ 22553 h 360261"/>
                  <a:gd name="connsiteX20" fmla="*/ 117630 w 387553"/>
                  <a:gd name="connsiteY20" fmla="*/ 14911 h 360261"/>
                  <a:gd name="connsiteX21" fmla="*/ 89792 w 387553"/>
                  <a:gd name="connsiteY21" fmla="*/ 30741 h 360261"/>
                  <a:gd name="connsiteX22" fmla="*/ 82150 w 387553"/>
                  <a:gd name="connsiteY22" fmla="*/ 58579 h 360261"/>
                  <a:gd name="connsiteX23" fmla="*/ 96343 w 387553"/>
                  <a:gd name="connsiteY23" fmla="*/ 83688 h 360261"/>
                  <a:gd name="connsiteX24" fmla="*/ 61408 w 387553"/>
                  <a:gd name="connsiteY24" fmla="*/ 144278 h 360261"/>
                  <a:gd name="connsiteX25" fmla="*/ 32478 w 387553"/>
                  <a:gd name="connsiteY25" fmla="*/ 144278 h 360261"/>
                  <a:gd name="connsiteX26" fmla="*/ 12282 w 387553"/>
                  <a:gd name="connsiteY26" fmla="*/ 164474 h 360261"/>
                  <a:gd name="connsiteX27" fmla="*/ 12282 w 387553"/>
                  <a:gd name="connsiteY27" fmla="*/ 196679 h 360261"/>
                  <a:gd name="connsiteX28" fmla="*/ 32478 w 387553"/>
                  <a:gd name="connsiteY28" fmla="*/ 216876 h 360261"/>
                  <a:gd name="connsiteX29" fmla="*/ 61408 w 387553"/>
                  <a:gd name="connsiteY29" fmla="*/ 216876 h 360261"/>
                  <a:gd name="connsiteX30" fmla="*/ 96343 w 387553"/>
                  <a:gd name="connsiteY30" fmla="*/ 277465 h 360261"/>
                  <a:gd name="connsiteX31" fmla="*/ 82150 w 387553"/>
                  <a:gd name="connsiteY31" fmla="*/ 302575 h 360261"/>
                  <a:gd name="connsiteX32" fmla="*/ 89792 w 387553"/>
                  <a:gd name="connsiteY32" fmla="*/ 330413 h 360261"/>
                  <a:gd name="connsiteX33" fmla="*/ 117630 w 387553"/>
                  <a:gd name="connsiteY33" fmla="*/ 346243 h 360261"/>
                  <a:gd name="connsiteX34" fmla="*/ 145469 w 387553"/>
                  <a:gd name="connsiteY34" fmla="*/ 338601 h 360261"/>
                  <a:gd name="connsiteX35" fmla="*/ 160207 w 387553"/>
                  <a:gd name="connsiteY35" fmla="*/ 313492 h 360261"/>
                  <a:gd name="connsiteX36" fmla="*/ 230622 w 387553"/>
                  <a:gd name="connsiteY36" fmla="*/ 313492 h 360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387553" h="360261">
                    <a:moveTo>
                      <a:pt x="230622" y="313492"/>
                    </a:moveTo>
                    <a:lnTo>
                      <a:pt x="245360" y="338601"/>
                    </a:lnTo>
                    <a:cubicBezTo>
                      <a:pt x="250818" y="348426"/>
                      <a:pt x="263373" y="351701"/>
                      <a:pt x="273198" y="346243"/>
                    </a:cubicBezTo>
                    <a:lnTo>
                      <a:pt x="301037" y="330413"/>
                    </a:lnTo>
                    <a:cubicBezTo>
                      <a:pt x="310862" y="324954"/>
                      <a:pt x="314137" y="312400"/>
                      <a:pt x="308678" y="302575"/>
                    </a:cubicBezTo>
                    <a:lnTo>
                      <a:pt x="294486" y="277465"/>
                    </a:lnTo>
                    <a:cubicBezTo>
                      <a:pt x="311954" y="259998"/>
                      <a:pt x="323416" y="238710"/>
                      <a:pt x="329421" y="216876"/>
                    </a:cubicBezTo>
                    <a:lnTo>
                      <a:pt x="358351" y="216876"/>
                    </a:lnTo>
                    <a:cubicBezTo>
                      <a:pt x="369268" y="216876"/>
                      <a:pt x="378547" y="207596"/>
                      <a:pt x="378547" y="196679"/>
                    </a:cubicBezTo>
                    <a:lnTo>
                      <a:pt x="378547" y="164474"/>
                    </a:lnTo>
                    <a:cubicBezTo>
                      <a:pt x="378547" y="153557"/>
                      <a:pt x="369268" y="144278"/>
                      <a:pt x="358351" y="144278"/>
                    </a:cubicBezTo>
                    <a:lnTo>
                      <a:pt x="329421" y="144278"/>
                    </a:lnTo>
                    <a:cubicBezTo>
                      <a:pt x="323416" y="121898"/>
                      <a:pt x="311954" y="101156"/>
                      <a:pt x="294486" y="83688"/>
                    </a:cubicBezTo>
                    <a:lnTo>
                      <a:pt x="308678" y="58579"/>
                    </a:lnTo>
                    <a:cubicBezTo>
                      <a:pt x="314137" y="48754"/>
                      <a:pt x="310862" y="36745"/>
                      <a:pt x="301037" y="30741"/>
                    </a:cubicBezTo>
                    <a:lnTo>
                      <a:pt x="273198" y="14911"/>
                    </a:lnTo>
                    <a:cubicBezTo>
                      <a:pt x="263373" y="9453"/>
                      <a:pt x="251364" y="12728"/>
                      <a:pt x="245360" y="22553"/>
                    </a:cubicBezTo>
                    <a:lnTo>
                      <a:pt x="230622" y="47662"/>
                    </a:lnTo>
                    <a:cubicBezTo>
                      <a:pt x="207696" y="41658"/>
                      <a:pt x="183679" y="41658"/>
                      <a:pt x="160207" y="47662"/>
                    </a:cubicBezTo>
                    <a:lnTo>
                      <a:pt x="145469" y="22553"/>
                    </a:lnTo>
                    <a:cubicBezTo>
                      <a:pt x="140011" y="12728"/>
                      <a:pt x="127456" y="9453"/>
                      <a:pt x="117630" y="14911"/>
                    </a:cubicBezTo>
                    <a:lnTo>
                      <a:pt x="89792" y="30741"/>
                    </a:lnTo>
                    <a:cubicBezTo>
                      <a:pt x="79967" y="36199"/>
                      <a:pt x="76692" y="48754"/>
                      <a:pt x="82150" y="58579"/>
                    </a:cubicBezTo>
                    <a:lnTo>
                      <a:pt x="96343" y="83688"/>
                    </a:lnTo>
                    <a:cubicBezTo>
                      <a:pt x="78875" y="101156"/>
                      <a:pt x="67412" y="122444"/>
                      <a:pt x="61408" y="144278"/>
                    </a:cubicBezTo>
                    <a:lnTo>
                      <a:pt x="32478" y="144278"/>
                    </a:lnTo>
                    <a:cubicBezTo>
                      <a:pt x="21561" y="144278"/>
                      <a:pt x="12282" y="153557"/>
                      <a:pt x="12282" y="164474"/>
                    </a:cubicBezTo>
                    <a:lnTo>
                      <a:pt x="12282" y="196679"/>
                    </a:lnTo>
                    <a:cubicBezTo>
                      <a:pt x="12282" y="207596"/>
                      <a:pt x="21561" y="216876"/>
                      <a:pt x="32478" y="216876"/>
                    </a:cubicBezTo>
                    <a:lnTo>
                      <a:pt x="61408" y="216876"/>
                    </a:lnTo>
                    <a:cubicBezTo>
                      <a:pt x="67412" y="239256"/>
                      <a:pt x="78875" y="259998"/>
                      <a:pt x="96343" y="277465"/>
                    </a:cubicBezTo>
                    <a:lnTo>
                      <a:pt x="82150" y="302575"/>
                    </a:lnTo>
                    <a:cubicBezTo>
                      <a:pt x="76692" y="312400"/>
                      <a:pt x="79967" y="324409"/>
                      <a:pt x="89792" y="330413"/>
                    </a:cubicBezTo>
                    <a:lnTo>
                      <a:pt x="117630" y="346243"/>
                    </a:lnTo>
                    <a:cubicBezTo>
                      <a:pt x="127456" y="351701"/>
                      <a:pt x="139464" y="348426"/>
                      <a:pt x="145469" y="338601"/>
                    </a:cubicBezTo>
                    <a:lnTo>
                      <a:pt x="160207" y="313492"/>
                    </a:lnTo>
                    <a:cubicBezTo>
                      <a:pt x="183132" y="319496"/>
                      <a:pt x="207696" y="319496"/>
                      <a:pt x="230622" y="313492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1" name="Freihandform: Form 69">
                <a:extLst>
                  <a:ext uri="{FF2B5EF4-FFF2-40B4-BE49-F238E27FC236}">
                    <a16:creationId xmlns:a16="http://schemas.microsoft.com/office/drawing/2014/main" id="{E6955055-7556-2D8E-864C-726CF1186A29}"/>
                  </a:ext>
                </a:extLst>
              </p:cNvPr>
              <p:cNvSpPr/>
              <p:nvPr/>
            </p:nvSpPr>
            <p:spPr bwMode="gray">
              <a:xfrm>
                <a:off x="9950775" y="7309727"/>
                <a:ext cx="294759" cy="283842"/>
              </a:xfrm>
              <a:custGeom>
                <a:avLst/>
                <a:gdLst>
                  <a:gd name="connsiteX0" fmla="*/ 251396 w 294759"/>
                  <a:gd name="connsiteY0" fmla="*/ 162354 h 283842"/>
                  <a:gd name="connsiteX1" fmla="*/ 273230 w 294759"/>
                  <a:gd name="connsiteY1" fmla="*/ 160716 h 283842"/>
                  <a:gd name="connsiteX2" fmla="*/ 287422 w 294759"/>
                  <a:gd name="connsiteY2" fmla="*/ 144341 h 283842"/>
                  <a:gd name="connsiteX3" fmla="*/ 285785 w 294759"/>
                  <a:gd name="connsiteY3" fmla="*/ 120324 h 283842"/>
                  <a:gd name="connsiteX4" fmla="*/ 269409 w 294759"/>
                  <a:gd name="connsiteY4" fmla="*/ 106131 h 283842"/>
                  <a:gd name="connsiteX5" fmla="*/ 247575 w 294759"/>
                  <a:gd name="connsiteY5" fmla="*/ 107769 h 283842"/>
                  <a:gd name="connsiteX6" fmla="*/ 217553 w 294759"/>
                  <a:gd name="connsiteY6" fmla="*/ 64101 h 283842"/>
                  <a:gd name="connsiteX7" fmla="*/ 226833 w 294759"/>
                  <a:gd name="connsiteY7" fmla="*/ 44450 h 283842"/>
                  <a:gd name="connsiteX8" fmla="*/ 219736 w 294759"/>
                  <a:gd name="connsiteY8" fmla="*/ 24254 h 283842"/>
                  <a:gd name="connsiteX9" fmla="*/ 197902 w 294759"/>
                  <a:gd name="connsiteY9" fmla="*/ 13883 h 283842"/>
                  <a:gd name="connsiteX10" fmla="*/ 177706 w 294759"/>
                  <a:gd name="connsiteY10" fmla="*/ 20979 h 283842"/>
                  <a:gd name="connsiteX11" fmla="*/ 168427 w 294759"/>
                  <a:gd name="connsiteY11" fmla="*/ 40629 h 283842"/>
                  <a:gd name="connsiteX12" fmla="*/ 116025 w 294759"/>
                  <a:gd name="connsiteY12" fmla="*/ 44450 h 283842"/>
                  <a:gd name="connsiteX13" fmla="*/ 103471 w 294759"/>
                  <a:gd name="connsiteY13" fmla="*/ 26437 h 283842"/>
                  <a:gd name="connsiteX14" fmla="*/ 82182 w 294759"/>
                  <a:gd name="connsiteY14" fmla="*/ 22616 h 283842"/>
                  <a:gd name="connsiteX15" fmla="*/ 62532 w 294759"/>
                  <a:gd name="connsiteY15" fmla="*/ 36262 h 283842"/>
                  <a:gd name="connsiteX16" fmla="*/ 58711 w 294759"/>
                  <a:gd name="connsiteY16" fmla="*/ 57551 h 283842"/>
                  <a:gd name="connsiteX17" fmla="*/ 71265 w 294759"/>
                  <a:gd name="connsiteY17" fmla="*/ 75564 h 283842"/>
                  <a:gd name="connsiteX18" fmla="*/ 48339 w 294759"/>
                  <a:gd name="connsiteY18" fmla="*/ 123053 h 283842"/>
                  <a:gd name="connsiteX19" fmla="*/ 26505 w 294759"/>
                  <a:gd name="connsiteY19" fmla="*/ 124690 h 283842"/>
                  <a:gd name="connsiteX20" fmla="*/ 12313 w 294759"/>
                  <a:gd name="connsiteY20" fmla="*/ 141066 h 283842"/>
                  <a:gd name="connsiteX21" fmla="*/ 13951 w 294759"/>
                  <a:gd name="connsiteY21" fmla="*/ 165083 h 283842"/>
                  <a:gd name="connsiteX22" fmla="*/ 30326 w 294759"/>
                  <a:gd name="connsiteY22" fmla="*/ 179275 h 283842"/>
                  <a:gd name="connsiteX23" fmla="*/ 52160 w 294759"/>
                  <a:gd name="connsiteY23" fmla="*/ 177638 h 283842"/>
                  <a:gd name="connsiteX24" fmla="*/ 82182 w 294759"/>
                  <a:gd name="connsiteY24" fmla="*/ 221306 h 283842"/>
                  <a:gd name="connsiteX25" fmla="*/ 72903 w 294759"/>
                  <a:gd name="connsiteY25" fmla="*/ 240956 h 283842"/>
                  <a:gd name="connsiteX26" fmla="*/ 79999 w 294759"/>
                  <a:gd name="connsiteY26" fmla="*/ 261153 h 283842"/>
                  <a:gd name="connsiteX27" fmla="*/ 101833 w 294759"/>
                  <a:gd name="connsiteY27" fmla="*/ 271524 h 283842"/>
                  <a:gd name="connsiteX28" fmla="*/ 122029 w 294759"/>
                  <a:gd name="connsiteY28" fmla="*/ 264428 h 283842"/>
                  <a:gd name="connsiteX29" fmla="*/ 131309 w 294759"/>
                  <a:gd name="connsiteY29" fmla="*/ 244777 h 283842"/>
                  <a:gd name="connsiteX30" fmla="*/ 183710 w 294759"/>
                  <a:gd name="connsiteY30" fmla="*/ 240956 h 283842"/>
                  <a:gd name="connsiteX31" fmla="*/ 196265 w 294759"/>
                  <a:gd name="connsiteY31" fmla="*/ 258970 h 283842"/>
                  <a:gd name="connsiteX32" fmla="*/ 217553 w 294759"/>
                  <a:gd name="connsiteY32" fmla="*/ 262790 h 283842"/>
                  <a:gd name="connsiteX33" fmla="*/ 237204 w 294759"/>
                  <a:gd name="connsiteY33" fmla="*/ 249144 h 283842"/>
                  <a:gd name="connsiteX34" fmla="*/ 241025 w 294759"/>
                  <a:gd name="connsiteY34" fmla="*/ 227856 h 283842"/>
                  <a:gd name="connsiteX35" fmla="*/ 228471 w 294759"/>
                  <a:gd name="connsiteY35" fmla="*/ 209843 h 283842"/>
                  <a:gd name="connsiteX36" fmla="*/ 251396 w 294759"/>
                  <a:gd name="connsiteY36" fmla="*/ 162354 h 283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94759" h="283842">
                    <a:moveTo>
                      <a:pt x="251396" y="162354"/>
                    </a:moveTo>
                    <a:lnTo>
                      <a:pt x="273230" y="160716"/>
                    </a:lnTo>
                    <a:cubicBezTo>
                      <a:pt x="281418" y="160171"/>
                      <a:pt x="287968" y="152529"/>
                      <a:pt x="287422" y="144341"/>
                    </a:cubicBezTo>
                    <a:lnTo>
                      <a:pt x="285785" y="120324"/>
                    </a:lnTo>
                    <a:cubicBezTo>
                      <a:pt x="285238" y="112136"/>
                      <a:pt x="277597" y="105585"/>
                      <a:pt x="269409" y="106131"/>
                    </a:cubicBezTo>
                    <a:lnTo>
                      <a:pt x="247575" y="107769"/>
                    </a:lnTo>
                    <a:cubicBezTo>
                      <a:pt x="241570" y="90302"/>
                      <a:pt x="230653" y="75564"/>
                      <a:pt x="217553" y="64101"/>
                    </a:cubicBezTo>
                    <a:lnTo>
                      <a:pt x="226833" y="44450"/>
                    </a:lnTo>
                    <a:cubicBezTo>
                      <a:pt x="230653" y="36808"/>
                      <a:pt x="227378" y="28075"/>
                      <a:pt x="219736" y="24254"/>
                    </a:cubicBezTo>
                    <a:lnTo>
                      <a:pt x="197902" y="13883"/>
                    </a:lnTo>
                    <a:cubicBezTo>
                      <a:pt x="190261" y="10062"/>
                      <a:pt x="181527" y="13337"/>
                      <a:pt x="177706" y="20979"/>
                    </a:cubicBezTo>
                    <a:lnTo>
                      <a:pt x="168427" y="40629"/>
                    </a:lnTo>
                    <a:cubicBezTo>
                      <a:pt x="151505" y="37354"/>
                      <a:pt x="133492" y="38446"/>
                      <a:pt x="116025" y="44450"/>
                    </a:cubicBezTo>
                    <a:lnTo>
                      <a:pt x="103471" y="26437"/>
                    </a:lnTo>
                    <a:cubicBezTo>
                      <a:pt x="98558" y="19341"/>
                      <a:pt x="89278" y="17703"/>
                      <a:pt x="82182" y="22616"/>
                    </a:cubicBezTo>
                    <a:lnTo>
                      <a:pt x="62532" y="36262"/>
                    </a:lnTo>
                    <a:cubicBezTo>
                      <a:pt x="55435" y="41175"/>
                      <a:pt x="53798" y="50455"/>
                      <a:pt x="58711" y="57551"/>
                    </a:cubicBezTo>
                    <a:lnTo>
                      <a:pt x="71265" y="75564"/>
                    </a:lnTo>
                    <a:cubicBezTo>
                      <a:pt x="59803" y="89210"/>
                      <a:pt x="52160" y="105585"/>
                      <a:pt x="48339" y="123053"/>
                    </a:cubicBezTo>
                    <a:lnTo>
                      <a:pt x="26505" y="124690"/>
                    </a:lnTo>
                    <a:cubicBezTo>
                      <a:pt x="18318" y="125236"/>
                      <a:pt x="11767" y="132878"/>
                      <a:pt x="12313" y="141066"/>
                    </a:cubicBezTo>
                    <a:lnTo>
                      <a:pt x="13951" y="165083"/>
                    </a:lnTo>
                    <a:cubicBezTo>
                      <a:pt x="14497" y="173271"/>
                      <a:pt x="22139" y="179821"/>
                      <a:pt x="30326" y="179275"/>
                    </a:cubicBezTo>
                    <a:lnTo>
                      <a:pt x="52160" y="177638"/>
                    </a:lnTo>
                    <a:cubicBezTo>
                      <a:pt x="58165" y="195105"/>
                      <a:pt x="69082" y="209843"/>
                      <a:pt x="82182" y="221306"/>
                    </a:cubicBezTo>
                    <a:lnTo>
                      <a:pt x="72903" y="240956"/>
                    </a:lnTo>
                    <a:cubicBezTo>
                      <a:pt x="69082" y="248598"/>
                      <a:pt x="72357" y="257332"/>
                      <a:pt x="79999" y="261153"/>
                    </a:cubicBezTo>
                    <a:lnTo>
                      <a:pt x="101833" y="271524"/>
                    </a:lnTo>
                    <a:cubicBezTo>
                      <a:pt x="109475" y="275345"/>
                      <a:pt x="118208" y="272070"/>
                      <a:pt x="122029" y="264428"/>
                    </a:cubicBezTo>
                    <a:lnTo>
                      <a:pt x="131309" y="244777"/>
                    </a:lnTo>
                    <a:cubicBezTo>
                      <a:pt x="148230" y="248053"/>
                      <a:pt x="166243" y="246961"/>
                      <a:pt x="183710" y="240956"/>
                    </a:cubicBezTo>
                    <a:lnTo>
                      <a:pt x="196265" y="258970"/>
                    </a:lnTo>
                    <a:cubicBezTo>
                      <a:pt x="201178" y="266066"/>
                      <a:pt x="210457" y="267703"/>
                      <a:pt x="217553" y="262790"/>
                    </a:cubicBezTo>
                    <a:lnTo>
                      <a:pt x="237204" y="249144"/>
                    </a:lnTo>
                    <a:cubicBezTo>
                      <a:pt x="244300" y="244232"/>
                      <a:pt x="245937" y="234952"/>
                      <a:pt x="241025" y="227856"/>
                    </a:cubicBezTo>
                    <a:lnTo>
                      <a:pt x="228471" y="209843"/>
                    </a:lnTo>
                    <a:cubicBezTo>
                      <a:pt x="239933" y="196197"/>
                      <a:pt x="248121" y="179821"/>
                      <a:pt x="251396" y="162354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2" name="Freihandform: Form 70">
                <a:extLst>
                  <a:ext uri="{FF2B5EF4-FFF2-40B4-BE49-F238E27FC236}">
                    <a16:creationId xmlns:a16="http://schemas.microsoft.com/office/drawing/2014/main" id="{771509DF-D629-194E-B879-AA91EB43448D}"/>
                  </a:ext>
                </a:extLst>
              </p:cNvPr>
              <p:cNvSpPr/>
              <p:nvPr/>
            </p:nvSpPr>
            <p:spPr bwMode="gray">
              <a:xfrm>
                <a:off x="10048514" y="7400847"/>
                <a:ext cx="98253" cy="98253"/>
              </a:xfrm>
              <a:custGeom>
                <a:avLst/>
                <a:gdLst>
                  <a:gd name="connsiteX0" fmla="*/ 90884 w 98253"/>
                  <a:gd name="connsiteY0" fmla="*/ 51583 h 98253"/>
                  <a:gd name="connsiteX1" fmla="*/ 51583 w 98253"/>
                  <a:gd name="connsiteY1" fmla="*/ 12282 h 98253"/>
                  <a:gd name="connsiteX2" fmla="*/ 12282 w 98253"/>
                  <a:gd name="connsiteY2" fmla="*/ 51583 h 98253"/>
                  <a:gd name="connsiteX3" fmla="*/ 51583 w 98253"/>
                  <a:gd name="connsiteY3" fmla="*/ 90884 h 98253"/>
                  <a:gd name="connsiteX4" fmla="*/ 90884 w 98253"/>
                  <a:gd name="connsiteY4" fmla="*/ 51583 h 9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253" h="98253">
                    <a:moveTo>
                      <a:pt x="90884" y="51583"/>
                    </a:moveTo>
                    <a:cubicBezTo>
                      <a:pt x="90884" y="29749"/>
                      <a:pt x="73417" y="12282"/>
                      <a:pt x="51583" y="12282"/>
                    </a:cubicBezTo>
                    <a:cubicBezTo>
                      <a:pt x="29749" y="12282"/>
                      <a:pt x="12282" y="29749"/>
                      <a:pt x="12282" y="51583"/>
                    </a:cubicBezTo>
                    <a:cubicBezTo>
                      <a:pt x="12282" y="73417"/>
                      <a:pt x="29749" y="90884"/>
                      <a:pt x="51583" y="90884"/>
                    </a:cubicBezTo>
                    <a:cubicBezTo>
                      <a:pt x="73417" y="90884"/>
                      <a:pt x="90884" y="73417"/>
                      <a:pt x="90884" y="5158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3" name="Freihandform: Form 71">
                <a:extLst>
                  <a:ext uri="{FF2B5EF4-FFF2-40B4-BE49-F238E27FC236}">
                    <a16:creationId xmlns:a16="http://schemas.microsoft.com/office/drawing/2014/main" id="{6C435044-BB94-7DEC-6EBE-82A8F50D05D4}"/>
                  </a:ext>
                </a:extLst>
              </p:cNvPr>
              <p:cNvSpPr/>
              <p:nvPr/>
            </p:nvSpPr>
            <p:spPr bwMode="gray">
              <a:xfrm>
                <a:off x="10047416" y="7835880"/>
                <a:ext cx="98253" cy="98252"/>
              </a:xfrm>
              <a:custGeom>
                <a:avLst/>
                <a:gdLst>
                  <a:gd name="connsiteX0" fmla="*/ 90884 w 98253"/>
                  <a:gd name="connsiteY0" fmla="*/ 51583 h 98253"/>
                  <a:gd name="connsiteX1" fmla="*/ 51583 w 98253"/>
                  <a:gd name="connsiteY1" fmla="*/ 90884 h 98253"/>
                  <a:gd name="connsiteX2" fmla="*/ 12282 w 98253"/>
                  <a:gd name="connsiteY2" fmla="*/ 51583 h 98253"/>
                  <a:gd name="connsiteX3" fmla="*/ 51583 w 98253"/>
                  <a:gd name="connsiteY3" fmla="*/ 12282 h 98253"/>
                  <a:gd name="connsiteX4" fmla="*/ 90884 w 98253"/>
                  <a:gd name="connsiteY4" fmla="*/ 51583 h 9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253" h="98253">
                    <a:moveTo>
                      <a:pt x="90884" y="51583"/>
                    </a:moveTo>
                    <a:cubicBezTo>
                      <a:pt x="90884" y="73288"/>
                      <a:pt x="73289" y="90884"/>
                      <a:pt x="51583" y="90884"/>
                    </a:cubicBezTo>
                    <a:cubicBezTo>
                      <a:pt x="29878" y="90884"/>
                      <a:pt x="12282" y="73288"/>
                      <a:pt x="12282" y="51583"/>
                    </a:cubicBezTo>
                    <a:cubicBezTo>
                      <a:pt x="12282" y="29877"/>
                      <a:pt x="29878" y="12282"/>
                      <a:pt x="51583" y="12282"/>
                    </a:cubicBezTo>
                    <a:cubicBezTo>
                      <a:pt x="73289" y="12282"/>
                      <a:pt x="90884" y="29877"/>
                      <a:pt x="90884" y="5158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4" name="Freihandform: Form 72">
                <a:extLst>
                  <a:ext uri="{FF2B5EF4-FFF2-40B4-BE49-F238E27FC236}">
                    <a16:creationId xmlns:a16="http://schemas.microsoft.com/office/drawing/2014/main" id="{F35CB20C-8105-5ABF-2A0A-2C6AEDB573DC}"/>
                  </a:ext>
                </a:extLst>
              </p:cNvPr>
              <p:cNvSpPr/>
              <p:nvPr/>
            </p:nvSpPr>
            <p:spPr bwMode="gray">
              <a:xfrm>
                <a:off x="10304648" y="7621507"/>
                <a:ext cx="92795" cy="92795"/>
              </a:xfrm>
              <a:custGeom>
                <a:avLst/>
                <a:gdLst>
                  <a:gd name="connsiteX0" fmla="*/ 72189 w 92794"/>
                  <a:gd name="connsiteY0" fmla="*/ 22516 h 92794"/>
                  <a:gd name="connsiteX1" fmla="*/ 22516 w 92794"/>
                  <a:gd name="connsiteY1" fmla="*/ 22516 h 92794"/>
                  <a:gd name="connsiteX2" fmla="*/ 22516 w 92794"/>
                  <a:gd name="connsiteY2" fmla="*/ 72189 h 92794"/>
                  <a:gd name="connsiteX3" fmla="*/ 72189 w 92794"/>
                  <a:gd name="connsiteY3" fmla="*/ 72189 h 92794"/>
                  <a:gd name="connsiteX4" fmla="*/ 72189 w 92794"/>
                  <a:gd name="connsiteY4" fmla="*/ 22516 h 92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794" h="92794">
                    <a:moveTo>
                      <a:pt x="72189" y="22516"/>
                    </a:moveTo>
                    <a:cubicBezTo>
                      <a:pt x="58542" y="8870"/>
                      <a:pt x="36163" y="8870"/>
                      <a:pt x="22516" y="22516"/>
                    </a:cubicBezTo>
                    <a:cubicBezTo>
                      <a:pt x="8870" y="36163"/>
                      <a:pt x="8870" y="58543"/>
                      <a:pt x="22516" y="72189"/>
                    </a:cubicBezTo>
                    <a:cubicBezTo>
                      <a:pt x="36163" y="85835"/>
                      <a:pt x="58542" y="85835"/>
                      <a:pt x="72189" y="72189"/>
                    </a:cubicBezTo>
                    <a:cubicBezTo>
                      <a:pt x="85835" y="58543"/>
                      <a:pt x="85835" y="36163"/>
                      <a:pt x="72189" y="22516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1" name="Gruppieren 73">
              <a:extLst>
                <a:ext uri="{FF2B5EF4-FFF2-40B4-BE49-F238E27FC236}">
                  <a16:creationId xmlns:a16="http://schemas.microsoft.com/office/drawing/2014/main" id="{ABB9B36C-3783-A318-6B73-FAA9D6335EDF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1089361" y="1658945"/>
              <a:ext cx="409880" cy="419491"/>
              <a:chOff x="9963221" y="4066766"/>
              <a:chExt cx="630632" cy="645417"/>
            </a:xfrm>
          </p:grpSpPr>
          <p:sp>
            <p:nvSpPr>
              <p:cNvPr id="116" name="Freihandform: Form 74">
                <a:extLst>
                  <a:ext uri="{FF2B5EF4-FFF2-40B4-BE49-F238E27FC236}">
                    <a16:creationId xmlns:a16="http://schemas.microsoft.com/office/drawing/2014/main" id="{54D0EA2A-2430-277B-440F-CA1A7A33ABAC}"/>
                  </a:ext>
                </a:extLst>
              </p:cNvPr>
              <p:cNvSpPr/>
              <p:nvPr/>
            </p:nvSpPr>
            <p:spPr bwMode="gray">
              <a:xfrm>
                <a:off x="10292469" y="4184476"/>
                <a:ext cx="301384" cy="420801"/>
              </a:xfrm>
              <a:custGeom>
                <a:avLst/>
                <a:gdLst>
                  <a:gd name="connsiteX0" fmla="*/ 303601 w 431679"/>
                  <a:gd name="connsiteY0" fmla="*/ 15272 h 602722"/>
                  <a:gd name="connsiteX1" fmla="*/ 240885 w 431679"/>
                  <a:gd name="connsiteY1" fmla="*/ 77987 h 602722"/>
                  <a:gd name="connsiteX2" fmla="*/ 15272 w 431679"/>
                  <a:gd name="connsiteY2" fmla="*/ 303601 h 602722"/>
                  <a:gd name="connsiteX3" fmla="*/ 240885 w 431679"/>
                  <a:gd name="connsiteY3" fmla="*/ 529214 h 602722"/>
                  <a:gd name="connsiteX4" fmla="*/ 303601 w 431679"/>
                  <a:gd name="connsiteY4" fmla="*/ 591930 h 602722"/>
                  <a:gd name="connsiteX5" fmla="*/ 423331 w 431679"/>
                  <a:gd name="connsiteY5" fmla="*/ 303601 h 602722"/>
                  <a:gd name="connsiteX6" fmla="*/ 303601 w 431679"/>
                  <a:gd name="connsiteY6" fmla="*/ 15272 h 602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1679" h="602722">
                    <a:moveTo>
                      <a:pt x="303601" y="15272"/>
                    </a:moveTo>
                    <a:lnTo>
                      <a:pt x="240885" y="77987"/>
                    </a:lnTo>
                    <a:lnTo>
                      <a:pt x="15272" y="303601"/>
                    </a:lnTo>
                    <a:lnTo>
                      <a:pt x="240885" y="529214"/>
                    </a:lnTo>
                    <a:lnTo>
                      <a:pt x="303601" y="591930"/>
                    </a:lnTo>
                    <a:cubicBezTo>
                      <a:pt x="377719" y="517812"/>
                      <a:pt x="423331" y="416000"/>
                      <a:pt x="423331" y="303601"/>
                    </a:cubicBezTo>
                    <a:cubicBezTo>
                      <a:pt x="423331" y="190387"/>
                      <a:pt x="377719" y="88576"/>
                      <a:pt x="303601" y="15272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7" name="Freihandform: Form 75">
                <a:extLst>
                  <a:ext uri="{FF2B5EF4-FFF2-40B4-BE49-F238E27FC236}">
                    <a16:creationId xmlns:a16="http://schemas.microsoft.com/office/drawing/2014/main" id="{D662DE44-7957-F1BE-EDA5-0523BBB32430}"/>
                  </a:ext>
                </a:extLst>
              </p:cNvPr>
              <p:cNvSpPr/>
              <p:nvPr/>
            </p:nvSpPr>
            <p:spPr bwMode="gray">
              <a:xfrm>
                <a:off x="10258918" y="4066766"/>
                <a:ext cx="221774" cy="301384"/>
              </a:xfrm>
              <a:custGeom>
                <a:avLst/>
                <a:gdLst>
                  <a:gd name="connsiteX0" fmla="*/ 303601 w 317650"/>
                  <a:gd name="connsiteY0" fmla="*/ 135002 h 431679"/>
                  <a:gd name="connsiteX1" fmla="*/ 15272 w 317650"/>
                  <a:gd name="connsiteY1" fmla="*/ 15272 h 431679"/>
                  <a:gd name="connsiteX2" fmla="*/ 15272 w 317650"/>
                  <a:gd name="connsiteY2" fmla="*/ 422516 h 431679"/>
                  <a:gd name="connsiteX3" fmla="*/ 303601 w 317650"/>
                  <a:gd name="connsiteY3" fmla="*/ 135002 h 431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7650" h="431679">
                    <a:moveTo>
                      <a:pt x="303601" y="135002"/>
                    </a:moveTo>
                    <a:cubicBezTo>
                      <a:pt x="229482" y="60883"/>
                      <a:pt x="127671" y="15272"/>
                      <a:pt x="15272" y="15272"/>
                    </a:cubicBezTo>
                    <a:lnTo>
                      <a:pt x="15272" y="422516"/>
                    </a:lnTo>
                    <a:lnTo>
                      <a:pt x="303601" y="13500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8" name="Freihandform: Form 76">
                <a:extLst>
                  <a:ext uri="{FF2B5EF4-FFF2-40B4-BE49-F238E27FC236}">
                    <a16:creationId xmlns:a16="http://schemas.microsoft.com/office/drawing/2014/main" id="{8F7A7D56-F659-F905-65F8-7F950691FD32}"/>
                  </a:ext>
                </a:extLst>
              </p:cNvPr>
              <p:cNvSpPr/>
              <p:nvPr/>
            </p:nvSpPr>
            <p:spPr bwMode="gray">
              <a:xfrm>
                <a:off x="10057617" y="4067334"/>
                <a:ext cx="221774" cy="301384"/>
              </a:xfrm>
              <a:custGeom>
                <a:avLst/>
                <a:gdLst>
                  <a:gd name="connsiteX0" fmla="*/ 303601 w 317650"/>
                  <a:gd name="connsiteY0" fmla="*/ 15272 h 431679"/>
                  <a:gd name="connsiteX1" fmla="*/ 15272 w 317650"/>
                  <a:gd name="connsiteY1" fmla="*/ 135002 h 431679"/>
                  <a:gd name="connsiteX2" fmla="*/ 303601 w 317650"/>
                  <a:gd name="connsiteY2" fmla="*/ 422516 h 431679"/>
                  <a:gd name="connsiteX3" fmla="*/ 303601 w 317650"/>
                  <a:gd name="connsiteY3" fmla="*/ 15272 h 431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7650" h="431679">
                    <a:moveTo>
                      <a:pt x="303601" y="15272"/>
                    </a:moveTo>
                    <a:cubicBezTo>
                      <a:pt x="191202" y="15272"/>
                      <a:pt x="89390" y="60883"/>
                      <a:pt x="15272" y="135002"/>
                    </a:cubicBezTo>
                    <a:lnTo>
                      <a:pt x="303601" y="422516"/>
                    </a:lnTo>
                    <a:lnTo>
                      <a:pt x="303601" y="152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9" name="Freihandform: Form 77">
                <a:extLst>
                  <a:ext uri="{FF2B5EF4-FFF2-40B4-BE49-F238E27FC236}">
                    <a16:creationId xmlns:a16="http://schemas.microsoft.com/office/drawing/2014/main" id="{64987D8D-2DAE-6CBA-F404-A2C960CF20A5}"/>
                  </a:ext>
                </a:extLst>
              </p:cNvPr>
              <p:cNvSpPr/>
              <p:nvPr/>
            </p:nvSpPr>
            <p:spPr bwMode="gray">
              <a:xfrm>
                <a:off x="9963221" y="4206085"/>
                <a:ext cx="506098" cy="506098"/>
              </a:xfrm>
              <a:custGeom>
                <a:avLst/>
                <a:gdLst>
                  <a:gd name="connsiteX0" fmla="*/ 135002 w 724895"/>
                  <a:gd name="connsiteY0" fmla="*/ 15272 h 724895"/>
                  <a:gd name="connsiteX1" fmla="*/ 15272 w 724895"/>
                  <a:gd name="connsiteY1" fmla="*/ 303601 h 724895"/>
                  <a:gd name="connsiteX2" fmla="*/ 422516 w 724895"/>
                  <a:gd name="connsiteY2" fmla="*/ 710846 h 724895"/>
                  <a:gd name="connsiteX3" fmla="*/ 710845 w 724895"/>
                  <a:gd name="connsiteY3" fmla="*/ 591116 h 724895"/>
                  <a:gd name="connsiteX4" fmla="*/ 422516 w 724895"/>
                  <a:gd name="connsiteY4" fmla="*/ 302786 h 724895"/>
                  <a:gd name="connsiteX5" fmla="*/ 135002 w 724895"/>
                  <a:gd name="connsiteY5" fmla="*/ 15272 h 72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24895" h="724895">
                    <a:moveTo>
                      <a:pt x="135002" y="15272"/>
                    </a:moveTo>
                    <a:cubicBezTo>
                      <a:pt x="60883" y="89390"/>
                      <a:pt x="15272" y="191201"/>
                      <a:pt x="15272" y="303601"/>
                    </a:cubicBezTo>
                    <a:cubicBezTo>
                      <a:pt x="15272" y="528400"/>
                      <a:pt x="197717" y="710846"/>
                      <a:pt x="422516" y="710846"/>
                    </a:cubicBezTo>
                    <a:cubicBezTo>
                      <a:pt x="534916" y="710846"/>
                      <a:pt x="636727" y="665234"/>
                      <a:pt x="710845" y="591116"/>
                    </a:cubicBezTo>
                    <a:lnTo>
                      <a:pt x="422516" y="302786"/>
                    </a:lnTo>
                    <a:lnTo>
                      <a:pt x="135002" y="152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2" name="Gruppieren 113">
              <a:extLst>
                <a:ext uri="{FF2B5EF4-FFF2-40B4-BE49-F238E27FC236}">
                  <a16:creationId xmlns:a16="http://schemas.microsoft.com/office/drawing/2014/main" id="{D9242F86-0DB3-5217-BC8F-CBA94D8F08D3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804295" y="1648614"/>
              <a:ext cx="459493" cy="260893"/>
              <a:chOff x="1806086" y="4262696"/>
              <a:chExt cx="785404" cy="445939"/>
            </a:xfrm>
          </p:grpSpPr>
          <p:sp>
            <p:nvSpPr>
              <p:cNvPr id="101" name="Freihandform: Form 114">
                <a:extLst>
                  <a:ext uri="{FF2B5EF4-FFF2-40B4-BE49-F238E27FC236}">
                    <a16:creationId xmlns:a16="http://schemas.microsoft.com/office/drawing/2014/main" id="{06B9728C-DCDE-F931-F36B-43869ACD66AE}"/>
                  </a:ext>
                </a:extLst>
              </p:cNvPr>
              <p:cNvSpPr/>
              <p:nvPr/>
            </p:nvSpPr>
            <p:spPr bwMode="gray">
              <a:xfrm>
                <a:off x="2101573" y="4373664"/>
                <a:ext cx="292270" cy="163671"/>
              </a:xfrm>
              <a:custGeom>
                <a:avLst/>
                <a:gdLst>
                  <a:gd name="connsiteX0" fmla="*/ 282330 w 293320"/>
                  <a:gd name="connsiteY0" fmla="*/ 132794 h 164259"/>
                  <a:gd name="connsiteX1" fmla="*/ 129017 w 293320"/>
                  <a:gd name="connsiteY1" fmla="*/ 94633 h 164259"/>
                  <a:gd name="connsiteX2" fmla="*/ 75768 w 293320"/>
                  <a:gd name="connsiteY2" fmla="*/ 96059 h 164259"/>
                  <a:gd name="connsiteX3" fmla="*/ 22014 w 293320"/>
                  <a:gd name="connsiteY3" fmla="*/ 125320 h 164259"/>
                  <a:gd name="connsiteX4" fmla="*/ 13894 w 293320"/>
                  <a:gd name="connsiteY4" fmla="*/ 106213 h 164259"/>
                  <a:gd name="connsiteX5" fmla="*/ 24372 w 293320"/>
                  <a:gd name="connsiteY5" fmla="*/ 70246 h 164259"/>
                  <a:gd name="connsiteX6" fmla="*/ 55347 w 293320"/>
                  <a:gd name="connsiteY6" fmla="*/ 34931 h 164259"/>
                  <a:gd name="connsiteX7" fmla="*/ 94957 w 293320"/>
                  <a:gd name="connsiteY7" fmla="*/ 17495 h 164259"/>
                  <a:gd name="connsiteX8" fmla="*/ 139670 w 293320"/>
                  <a:gd name="connsiteY8" fmla="*/ 16252 h 164259"/>
                  <a:gd name="connsiteX9" fmla="*/ 242931 w 293320"/>
                  <a:gd name="connsiteY9" fmla="*/ 40703 h 164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3320" h="164259">
                    <a:moveTo>
                      <a:pt x="282330" y="132794"/>
                    </a:moveTo>
                    <a:cubicBezTo>
                      <a:pt x="194522" y="191746"/>
                      <a:pt x="129017" y="94633"/>
                      <a:pt x="129017" y="94633"/>
                    </a:cubicBezTo>
                    <a:cubicBezTo>
                      <a:pt x="97978" y="52201"/>
                      <a:pt x="75768" y="96059"/>
                      <a:pt x="75768" y="96059"/>
                    </a:cubicBezTo>
                    <a:cubicBezTo>
                      <a:pt x="59435" y="135733"/>
                      <a:pt x="35894" y="132131"/>
                      <a:pt x="22014" y="125320"/>
                    </a:cubicBezTo>
                    <a:cubicBezTo>
                      <a:pt x="15044" y="121747"/>
                      <a:pt x="11630" y="113705"/>
                      <a:pt x="13894" y="106213"/>
                    </a:cubicBezTo>
                    <a:lnTo>
                      <a:pt x="24372" y="70246"/>
                    </a:lnTo>
                    <a:cubicBezTo>
                      <a:pt x="28965" y="54477"/>
                      <a:pt x="40305" y="41542"/>
                      <a:pt x="55347" y="34931"/>
                    </a:cubicBezTo>
                    <a:lnTo>
                      <a:pt x="94957" y="17495"/>
                    </a:lnTo>
                    <a:cubicBezTo>
                      <a:pt x="109124" y="11265"/>
                      <a:pt x="122183" y="12685"/>
                      <a:pt x="139670" y="16252"/>
                    </a:cubicBezTo>
                    <a:lnTo>
                      <a:pt x="242931" y="40703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2" name="Freihandform: Form 115">
                <a:extLst>
                  <a:ext uri="{FF2B5EF4-FFF2-40B4-BE49-F238E27FC236}">
                    <a16:creationId xmlns:a16="http://schemas.microsoft.com/office/drawing/2014/main" id="{78AF550E-8476-375B-CD17-4B44F7184322}"/>
                  </a:ext>
                </a:extLst>
              </p:cNvPr>
              <p:cNvSpPr/>
              <p:nvPr/>
            </p:nvSpPr>
            <p:spPr bwMode="gray">
              <a:xfrm>
                <a:off x="2281258" y="4492830"/>
                <a:ext cx="134444" cy="93527"/>
              </a:xfrm>
              <a:custGeom>
                <a:avLst/>
                <a:gdLst>
                  <a:gd name="connsiteX0" fmla="*/ 123805 w 134927"/>
                  <a:gd name="connsiteY0" fmla="*/ 64179 h 93862"/>
                  <a:gd name="connsiteX1" fmla="*/ 55801 w 134927"/>
                  <a:gd name="connsiteY1" fmla="*/ 85791 h 93862"/>
                  <a:gd name="connsiteX2" fmla="*/ 13199 w 134927"/>
                  <a:gd name="connsiteY2" fmla="*/ 26423 h 93862"/>
                  <a:gd name="connsiteX3" fmla="*/ 101999 w 134927"/>
                  <a:gd name="connsiteY3" fmla="*/ 13199 h 93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927" h="93862">
                    <a:moveTo>
                      <a:pt x="123805" y="64179"/>
                    </a:moveTo>
                    <a:lnTo>
                      <a:pt x="55801" y="85791"/>
                    </a:lnTo>
                    <a:lnTo>
                      <a:pt x="13199" y="26423"/>
                    </a:lnTo>
                    <a:cubicBezTo>
                      <a:pt x="13199" y="26423"/>
                      <a:pt x="62935" y="47019"/>
                      <a:pt x="101999" y="13199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3" name="Freihandform: Form 116">
                <a:extLst>
                  <a:ext uri="{FF2B5EF4-FFF2-40B4-BE49-F238E27FC236}">
                    <a16:creationId xmlns:a16="http://schemas.microsoft.com/office/drawing/2014/main" id="{5569A2BB-C379-D6F8-A6C7-050C48D329F1}"/>
                  </a:ext>
                </a:extLst>
              </p:cNvPr>
              <p:cNvSpPr/>
              <p:nvPr/>
            </p:nvSpPr>
            <p:spPr bwMode="gray">
              <a:xfrm>
                <a:off x="1806086" y="4262696"/>
                <a:ext cx="192898" cy="356569"/>
              </a:xfrm>
              <a:custGeom>
                <a:avLst/>
                <a:gdLst>
                  <a:gd name="connsiteX0" fmla="*/ 13199 w 193591"/>
                  <a:gd name="connsiteY0" fmla="*/ 13199 h 357851"/>
                  <a:gd name="connsiteX1" fmla="*/ 13199 w 193591"/>
                  <a:gd name="connsiteY1" fmla="*/ 321908 h 357851"/>
                  <a:gd name="connsiteX2" fmla="*/ 73577 w 193591"/>
                  <a:gd name="connsiteY2" fmla="*/ 345825 h 357851"/>
                  <a:gd name="connsiteX3" fmla="*/ 181794 w 193591"/>
                  <a:gd name="connsiteY3" fmla="*/ 81549 h 357851"/>
                  <a:gd name="connsiteX4" fmla="*/ 13199 w 193591"/>
                  <a:gd name="connsiteY4" fmla="*/ 13199 h 357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591" h="357851">
                    <a:moveTo>
                      <a:pt x="13199" y="13199"/>
                    </a:moveTo>
                    <a:lnTo>
                      <a:pt x="13199" y="321908"/>
                    </a:lnTo>
                    <a:lnTo>
                      <a:pt x="73577" y="345825"/>
                    </a:lnTo>
                    <a:lnTo>
                      <a:pt x="181794" y="81549"/>
                    </a:lnTo>
                    <a:lnTo>
                      <a:pt x="13199" y="13199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4" name="Freihandform: Form 117">
                <a:extLst>
                  <a:ext uri="{FF2B5EF4-FFF2-40B4-BE49-F238E27FC236}">
                    <a16:creationId xmlns:a16="http://schemas.microsoft.com/office/drawing/2014/main" id="{A3F5AB5A-43E9-E393-3160-DE7CF48BB2CC}"/>
                  </a:ext>
                </a:extLst>
              </p:cNvPr>
              <p:cNvSpPr/>
              <p:nvPr/>
            </p:nvSpPr>
            <p:spPr bwMode="gray">
              <a:xfrm>
                <a:off x="1898905" y="4352078"/>
                <a:ext cx="169516" cy="216279"/>
              </a:xfrm>
              <a:custGeom>
                <a:avLst/>
                <a:gdLst>
                  <a:gd name="connsiteX0" fmla="*/ 79895 w 170126"/>
                  <a:gd name="connsiteY0" fmla="*/ 13199 h 217057"/>
                  <a:gd name="connsiteX1" fmla="*/ 156991 w 170126"/>
                  <a:gd name="connsiteY1" fmla="*/ 45664 h 217057"/>
                  <a:gd name="connsiteX2" fmla="*/ 88642 w 170126"/>
                  <a:gd name="connsiteY2" fmla="*/ 205436 h 217057"/>
                  <a:gd name="connsiteX3" fmla="*/ 13199 w 170126"/>
                  <a:gd name="connsiteY3" fmla="*/ 176086 h 21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0126" h="217057">
                    <a:moveTo>
                      <a:pt x="79895" y="13199"/>
                    </a:moveTo>
                    <a:lnTo>
                      <a:pt x="156991" y="45664"/>
                    </a:lnTo>
                    <a:lnTo>
                      <a:pt x="88642" y="205436"/>
                    </a:lnTo>
                    <a:lnTo>
                      <a:pt x="13199" y="17608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5" name="Freihandform: Form 118">
                <a:extLst>
                  <a:ext uri="{FF2B5EF4-FFF2-40B4-BE49-F238E27FC236}">
                    <a16:creationId xmlns:a16="http://schemas.microsoft.com/office/drawing/2014/main" id="{9EA39D7F-F7D7-CCCF-50F3-F09C06ADAFBC}"/>
                  </a:ext>
                </a:extLst>
              </p:cNvPr>
              <p:cNvSpPr/>
              <p:nvPr/>
            </p:nvSpPr>
            <p:spPr bwMode="gray">
              <a:xfrm>
                <a:off x="2398592" y="4279337"/>
                <a:ext cx="192898" cy="356569"/>
              </a:xfrm>
              <a:custGeom>
                <a:avLst/>
                <a:gdLst>
                  <a:gd name="connsiteX0" fmla="*/ 181788 w 193591"/>
                  <a:gd name="connsiteY0" fmla="*/ 13199 h 357851"/>
                  <a:gd name="connsiteX1" fmla="*/ 181788 w 193591"/>
                  <a:gd name="connsiteY1" fmla="*/ 321908 h 357851"/>
                  <a:gd name="connsiteX2" fmla="*/ 121417 w 193591"/>
                  <a:gd name="connsiteY2" fmla="*/ 345825 h 357851"/>
                  <a:gd name="connsiteX3" fmla="*/ 13199 w 193591"/>
                  <a:gd name="connsiteY3" fmla="*/ 81543 h 357851"/>
                  <a:gd name="connsiteX4" fmla="*/ 181788 w 193591"/>
                  <a:gd name="connsiteY4" fmla="*/ 13199 h 357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591" h="357851">
                    <a:moveTo>
                      <a:pt x="181788" y="13199"/>
                    </a:moveTo>
                    <a:lnTo>
                      <a:pt x="181788" y="321908"/>
                    </a:lnTo>
                    <a:lnTo>
                      <a:pt x="121417" y="345825"/>
                    </a:lnTo>
                    <a:lnTo>
                      <a:pt x="13199" y="81543"/>
                    </a:lnTo>
                    <a:lnTo>
                      <a:pt x="181788" y="13199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6" name="Freihandform: Form 119">
                <a:extLst>
                  <a:ext uri="{FF2B5EF4-FFF2-40B4-BE49-F238E27FC236}">
                    <a16:creationId xmlns:a16="http://schemas.microsoft.com/office/drawing/2014/main" id="{96263BEA-84A6-4BCF-291B-7C05935D0CC6}"/>
                  </a:ext>
                </a:extLst>
              </p:cNvPr>
              <p:cNvSpPr/>
              <p:nvPr/>
            </p:nvSpPr>
            <p:spPr bwMode="gray">
              <a:xfrm>
                <a:off x="2330488" y="4368720"/>
                <a:ext cx="169516" cy="216279"/>
              </a:xfrm>
              <a:custGeom>
                <a:avLst/>
                <a:gdLst>
                  <a:gd name="connsiteX0" fmla="*/ 90290 w 170126"/>
                  <a:gd name="connsiteY0" fmla="*/ 13199 h 217057"/>
                  <a:gd name="connsiteX1" fmla="*/ 13199 w 170126"/>
                  <a:gd name="connsiteY1" fmla="*/ 45664 h 217057"/>
                  <a:gd name="connsiteX2" fmla="*/ 81549 w 170126"/>
                  <a:gd name="connsiteY2" fmla="*/ 205430 h 217057"/>
                  <a:gd name="connsiteX3" fmla="*/ 156991 w 170126"/>
                  <a:gd name="connsiteY3" fmla="*/ 176086 h 21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0126" h="217057">
                    <a:moveTo>
                      <a:pt x="90290" y="13199"/>
                    </a:moveTo>
                    <a:lnTo>
                      <a:pt x="13199" y="45664"/>
                    </a:lnTo>
                    <a:lnTo>
                      <a:pt x="81549" y="205430"/>
                    </a:lnTo>
                    <a:lnTo>
                      <a:pt x="156991" y="17608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7" name="Freihandform: Form 120">
                <a:extLst>
                  <a:ext uri="{FF2B5EF4-FFF2-40B4-BE49-F238E27FC236}">
                    <a16:creationId xmlns:a16="http://schemas.microsoft.com/office/drawing/2014/main" id="{AC88278D-9FDD-A6DF-E0BD-83990EAB7E49}"/>
                  </a:ext>
                </a:extLst>
              </p:cNvPr>
              <p:cNvSpPr/>
              <p:nvPr/>
            </p:nvSpPr>
            <p:spPr bwMode="gray">
              <a:xfrm>
                <a:off x="2218110" y="4505614"/>
                <a:ext cx="146134" cy="134444"/>
              </a:xfrm>
              <a:custGeom>
                <a:avLst/>
                <a:gdLst>
                  <a:gd name="connsiteX0" fmla="*/ 71523 w 146660"/>
                  <a:gd name="connsiteY0" fmla="*/ 13199 h 134927"/>
                  <a:gd name="connsiteX1" fmla="*/ 130158 w 146660"/>
                  <a:gd name="connsiteY1" fmla="*/ 86729 h 134927"/>
                  <a:gd name="connsiteX2" fmla="*/ 133531 w 146660"/>
                  <a:gd name="connsiteY2" fmla="*/ 106681 h 134927"/>
                  <a:gd name="connsiteX3" fmla="*/ 133531 w 146660"/>
                  <a:gd name="connsiteY3" fmla="*/ 106681 h 134927"/>
                  <a:gd name="connsiteX4" fmla="*/ 103143 w 146660"/>
                  <a:gd name="connsiteY4" fmla="*/ 121265 h 134927"/>
                  <a:gd name="connsiteX5" fmla="*/ 93698 w 146660"/>
                  <a:gd name="connsiteY5" fmla="*/ 115123 h 134927"/>
                  <a:gd name="connsiteX6" fmla="*/ 13199 w 146660"/>
                  <a:gd name="connsiteY6" fmla="*/ 29702 h 134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6660" h="134927">
                    <a:moveTo>
                      <a:pt x="71523" y="13199"/>
                    </a:moveTo>
                    <a:lnTo>
                      <a:pt x="130158" y="86729"/>
                    </a:lnTo>
                    <a:cubicBezTo>
                      <a:pt x="134646" y="92355"/>
                      <a:pt x="135919" y="99893"/>
                      <a:pt x="133531" y="106681"/>
                    </a:cubicBezTo>
                    <a:lnTo>
                      <a:pt x="133531" y="106681"/>
                    </a:lnTo>
                    <a:cubicBezTo>
                      <a:pt x="129167" y="119100"/>
                      <a:pt x="115563" y="125630"/>
                      <a:pt x="103143" y="121265"/>
                    </a:cubicBezTo>
                    <a:cubicBezTo>
                      <a:pt x="99547" y="119998"/>
                      <a:pt x="96309" y="117892"/>
                      <a:pt x="93698" y="115123"/>
                    </a:cubicBezTo>
                    <a:lnTo>
                      <a:pt x="13199" y="29702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8" name="Freihandform: Form 121">
                <a:extLst>
                  <a:ext uri="{FF2B5EF4-FFF2-40B4-BE49-F238E27FC236}">
                    <a16:creationId xmlns:a16="http://schemas.microsoft.com/office/drawing/2014/main" id="{D657D4CD-7877-2332-C90C-C9122C298631}"/>
                  </a:ext>
                </a:extLst>
              </p:cNvPr>
              <p:cNvSpPr/>
              <p:nvPr/>
            </p:nvSpPr>
            <p:spPr bwMode="gray">
              <a:xfrm>
                <a:off x="2182640" y="4562075"/>
                <a:ext cx="151980" cy="105217"/>
              </a:xfrm>
              <a:custGeom>
                <a:avLst/>
                <a:gdLst>
                  <a:gd name="connsiteX0" fmla="*/ 13199 w 152526"/>
                  <a:gd name="connsiteY0" fmla="*/ 13199 h 105595"/>
                  <a:gd name="connsiteX1" fmla="*/ 80945 w 152526"/>
                  <a:gd name="connsiteY1" fmla="*/ 84066 h 105595"/>
                  <a:gd name="connsiteX2" fmla="*/ 130539 w 152526"/>
                  <a:gd name="connsiteY2" fmla="*/ 85386 h 105595"/>
                  <a:gd name="connsiteX3" fmla="*/ 139679 w 152526"/>
                  <a:gd name="connsiteY3" fmla="*/ 71043 h 105595"/>
                  <a:gd name="connsiteX4" fmla="*/ 140043 w 152526"/>
                  <a:gd name="connsiteY4" fmla="*/ 69863 h 105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526" h="105595">
                    <a:moveTo>
                      <a:pt x="13199" y="13199"/>
                    </a:moveTo>
                    <a:lnTo>
                      <a:pt x="80945" y="84066"/>
                    </a:lnTo>
                    <a:cubicBezTo>
                      <a:pt x="94279" y="98127"/>
                      <a:pt x="116483" y="98714"/>
                      <a:pt x="130539" y="85386"/>
                    </a:cubicBezTo>
                    <a:cubicBezTo>
                      <a:pt x="134716" y="81426"/>
                      <a:pt x="137855" y="76504"/>
                      <a:pt x="139679" y="71043"/>
                    </a:cubicBezTo>
                    <a:cubicBezTo>
                      <a:pt x="139803" y="70655"/>
                      <a:pt x="139926" y="70256"/>
                      <a:pt x="140043" y="69863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9" name="Freihandform: Form 122">
                <a:extLst>
                  <a:ext uri="{FF2B5EF4-FFF2-40B4-BE49-F238E27FC236}">
                    <a16:creationId xmlns:a16="http://schemas.microsoft.com/office/drawing/2014/main" id="{B87B9760-6481-A6FC-10DD-EEB61568EE1F}"/>
                  </a:ext>
                </a:extLst>
              </p:cNvPr>
              <p:cNvSpPr/>
              <p:nvPr/>
            </p:nvSpPr>
            <p:spPr bwMode="gray">
              <a:xfrm>
                <a:off x="2150292" y="4595270"/>
                <a:ext cx="140289" cy="99372"/>
              </a:xfrm>
              <a:custGeom>
                <a:avLst/>
                <a:gdLst>
                  <a:gd name="connsiteX0" fmla="*/ 13199 w 140793"/>
                  <a:gd name="connsiteY0" fmla="*/ 13199 h 99729"/>
                  <a:gd name="connsiteX1" fmla="*/ 69230 w 140793"/>
                  <a:gd name="connsiteY1" fmla="*/ 75419 h 99729"/>
                  <a:gd name="connsiteX2" fmla="*/ 93335 w 140793"/>
                  <a:gd name="connsiteY2" fmla="*/ 87592 h 99729"/>
                  <a:gd name="connsiteX3" fmla="*/ 128539 w 140793"/>
                  <a:gd name="connsiteY3" fmla="*/ 65721 h 99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793" h="99729">
                    <a:moveTo>
                      <a:pt x="13199" y="13199"/>
                    </a:moveTo>
                    <a:lnTo>
                      <a:pt x="69230" y="75419"/>
                    </a:lnTo>
                    <a:cubicBezTo>
                      <a:pt x="75342" y="82494"/>
                      <a:pt x="84007" y="86870"/>
                      <a:pt x="93335" y="87592"/>
                    </a:cubicBezTo>
                    <a:cubicBezTo>
                      <a:pt x="103906" y="88172"/>
                      <a:pt x="117293" y="84142"/>
                      <a:pt x="128539" y="6572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0" name="Freihandform: Form 123">
                <a:extLst>
                  <a:ext uri="{FF2B5EF4-FFF2-40B4-BE49-F238E27FC236}">
                    <a16:creationId xmlns:a16="http://schemas.microsoft.com/office/drawing/2014/main" id="{BAF837DB-5A4D-D8DE-B12F-A0F65B95A86A}"/>
                  </a:ext>
                </a:extLst>
              </p:cNvPr>
              <p:cNvSpPr/>
              <p:nvPr/>
            </p:nvSpPr>
            <p:spPr bwMode="gray">
              <a:xfrm>
                <a:off x="2042175" y="4383298"/>
                <a:ext cx="134444" cy="29227"/>
              </a:xfrm>
              <a:custGeom>
                <a:avLst/>
                <a:gdLst>
                  <a:gd name="connsiteX0" fmla="*/ 125213 w 134927"/>
                  <a:gd name="connsiteY0" fmla="*/ 20745 h 29332"/>
                  <a:gd name="connsiteX1" fmla="*/ 13199 w 134927"/>
                  <a:gd name="connsiteY1" fmla="*/ 14332 h 29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927" h="29332">
                    <a:moveTo>
                      <a:pt x="125213" y="20745"/>
                    </a:moveTo>
                    <a:cubicBezTo>
                      <a:pt x="74885" y="9211"/>
                      <a:pt x="13199" y="14332"/>
                      <a:pt x="13199" y="14332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1" name="Freihandform: Form 124">
                <a:extLst>
                  <a:ext uri="{FF2B5EF4-FFF2-40B4-BE49-F238E27FC236}">
                    <a16:creationId xmlns:a16="http://schemas.microsoft.com/office/drawing/2014/main" id="{B4140052-4CE8-2856-0AAB-81788C6A60A4}"/>
                  </a:ext>
                </a:extLst>
              </p:cNvPr>
              <p:cNvSpPr/>
              <p:nvPr/>
            </p:nvSpPr>
            <p:spPr bwMode="gray">
              <a:xfrm>
                <a:off x="1986001" y="4515737"/>
                <a:ext cx="251352" cy="192898"/>
              </a:xfrm>
              <a:custGeom>
                <a:avLst/>
                <a:gdLst>
                  <a:gd name="connsiteX0" fmla="*/ 13199 w 252255"/>
                  <a:gd name="connsiteY0" fmla="*/ 13199 h 193591"/>
                  <a:gd name="connsiteX1" fmla="*/ 174948 w 252255"/>
                  <a:gd name="connsiteY1" fmla="*/ 149406 h 193591"/>
                  <a:gd name="connsiteX2" fmla="*/ 201206 w 252255"/>
                  <a:gd name="connsiteY2" fmla="*/ 174614 h 193591"/>
                  <a:gd name="connsiteX3" fmla="*/ 233642 w 252255"/>
                  <a:gd name="connsiteY3" fmla="*/ 174203 h 193591"/>
                  <a:gd name="connsiteX4" fmla="*/ 239772 w 252255"/>
                  <a:gd name="connsiteY4" fmla="*/ 162388 h 193591"/>
                  <a:gd name="connsiteX5" fmla="*/ 239878 w 252255"/>
                  <a:gd name="connsiteY5" fmla="*/ 161655 h 193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2255" h="193591">
                    <a:moveTo>
                      <a:pt x="13199" y="13199"/>
                    </a:moveTo>
                    <a:cubicBezTo>
                      <a:pt x="70503" y="54429"/>
                      <a:pt x="124573" y="99964"/>
                      <a:pt x="174948" y="149406"/>
                    </a:cubicBezTo>
                    <a:lnTo>
                      <a:pt x="201206" y="174614"/>
                    </a:lnTo>
                    <a:cubicBezTo>
                      <a:pt x="210276" y="183461"/>
                      <a:pt x="224801" y="183273"/>
                      <a:pt x="233642" y="174203"/>
                    </a:cubicBezTo>
                    <a:cubicBezTo>
                      <a:pt x="236810" y="170959"/>
                      <a:pt x="238945" y="166847"/>
                      <a:pt x="239772" y="162388"/>
                    </a:cubicBezTo>
                    <a:cubicBezTo>
                      <a:pt x="239807" y="162148"/>
                      <a:pt x="239848" y="161902"/>
                      <a:pt x="239878" y="161655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2" name="Freihandform: Form 125">
                <a:extLst>
                  <a:ext uri="{FF2B5EF4-FFF2-40B4-BE49-F238E27FC236}">
                    <a16:creationId xmlns:a16="http://schemas.microsoft.com/office/drawing/2014/main" id="{D0670E56-801C-3491-3204-87E87B679F5F}"/>
                  </a:ext>
                </a:extLst>
              </p:cNvPr>
              <p:cNvSpPr/>
              <p:nvPr/>
            </p:nvSpPr>
            <p:spPr bwMode="gray">
              <a:xfrm>
                <a:off x="2018928" y="4548969"/>
                <a:ext cx="64300" cy="58454"/>
              </a:xfrm>
              <a:custGeom>
                <a:avLst/>
                <a:gdLst>
                  <a:gd name="connsiteX0" fmla="*/ 24628 w 64530"/>
                  <a:gd name="connsiteY0" fmla="*/ 13199 h 58664"/>
                  <a:gd name="connsiteX1" fmla="*/ 17723 w 64530"/>
                  <a:gd name="connsiteY1" fmla="*/ 20914 h 58664"/>
                  <a:gd name="connsiteX2" fmla="*/ 19119 w 64530"/>
                  <a:gd name="connsiteY2" fmla="*/ 45993 h 58664"/>
                  <a:gd name="connsiteX3" fmla="*/ 19712 w 64530"/>
                  <a:gd name="connsiteY3" fmla="*/ 46497 h 58664"/>
                  <a:gd name="connsiteX4" fmla="*/ 19712 w 64530"/>
                  <a:gd name="connsiteY4" fmla="*/ 46503 h 58664"/>
                  <a:gd name="connsiteX5" fmla="*/ 46985 w 64530"/>
                  <a:gd name="connsiteY5" fmla="*/ 44321 h 58664"/>
                  <a:gd name="connsiteX6" fmla="*/ 53725 w 64530"/>
                  <a:gd name="connsiteY6" fmla="*/ 36706 h 58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530" h="58664">
                    <a:moveTo>
                      <a:pt x="24628" y="13199"/>
                    </a:moveTo>
                    <a:lnTo>
                      <a:pt x="17723" y="20914"/>
                    </a:lnTo>
                    <a:cubicBezTo>
                      <a:pt x="11182" y="28229"/>
                      <a:pt x="11810" y="39458"/>
                      <a:pt x="19119" y="45993"/>
                    </a:cubicBezTo>
                    <a:cubicBezTo>
                      <a:pt x="19313" y="46169"/>
                      <a:pt x="19512" y="46339"/>
                      <a:pt x="19712" y="46497"/>
                    </a:cubicBezTo>
                    <a:lnTo>
                      <a:pt x="19712" y="46503"/>
                    </a:lnTo>
                    <a:cubicBezTo>
                      <a:pt x="27913" y="53220"/>
                      <a:pt x="39957" y="52258"/>
                      <a:pt x="46985" y="44321"/>
                    </a:cubicBezTo>
                    <a:lnTo>
                      <a:pt x="53725" y="3670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3" name="Freihandform: Form 126">
                <a:extLst>
                  <a:ext uri="{FF2B5EF4-FFF2-40B4-BE49-F238E27FC236}">
                    <a16:creationId xmlns:a16="http://schemas.microsoft.com/office/drawing/2014/main" id="{17F243A7-37C6-8F29-DEAF-F74F220ED045}"/>
                  </a:ext>
                </a:extLst>
              </p:cNvPr>
              <p:cNvSpPr/>
              <p:nvPr/>
            </p:nvSpPr>
            <p:spPr bwMode="gray">
              <a:xfrm>
                <a:off x="2041581" y="4573806"/>
                <a:ext cx="75990" cy="75990"/>
              </a:xfrm>
              <a:custGeom>
                <a:avLst/>
                <a:gdLst>
                  <a:gd name="connsiteX0" fmla="*/ 66670 w 76263"/>
                  <a:gd name="connsiteY0" fmla="*/ 42320 h 76263"/>
                  <a:gd name="connsiteX1" fmla="*/ 51534 w 76263"/>
                  <a:gd name="connsiteY1" fmla="*/ 58829 h 76263"/>
                  <a:gd name="connsiteX2" fmla="*/ 20830 w 76263"/>
                  <a:gd name="connsiteY2" fmla="*/ 60600 h 76263"/>
                  <a:gd name="connsiteX3" fmla="*/ 20830 w 76263"/>
                  <a:gd name="connsiteY3" fmla="*/ 60600 h 76263"/>
                  <a:gd name="connsiteX4" fmla="*/ 18577 w 76263"/>
                  <a:gd name="connsiteY4" fmla="*/ 29479 h 76263"/>
                  <a:gd name="connsiteX5" fmla="*/ 18600 w 76263"/>
                  <a:gd name="connsiteY5" fmla="*/ 29450 h 76263"/>
                  <a:gd name="connsiteX6" fmla="*/ 32697 w 76263"/>
                  <a:gd name="connsiteY6" fmla="*/ 13199 h 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263" h="76263">
                    <a:moveTo>
                      <a:pt x="66670" y="42320"/>
                    </a:moveTo>
                    <a:lnTo>
                      <a:pt x="51534" y="58829"/>
                    </a:lnTo>
                    <a:cubicBezTo>
                      <a:pt x="43462" y="67628"/>
                      <a:pt x="29858" y="68414"/>
                      <a:pt x="20830" y="60600"/>
                    </a:cubicBezTo>
                    <a:lnTo>
                      <a:pt x="20830" y="60600"/>
                    </a:lnTo>
                    <a:cubicBezTo>
                      <a:pt x="11613" y="52628"/>
                      <a:pt x="10604" y="38695"/>
                      <a:pt x="18577" y="29479"/>
                    </a:cubicBezTo>
                    <a:cubicBezTo>
                      <a:pt x="18583" y="29467"/>
                      <a:pt x="18588" y="29461"/>
                      <a:pt x="18600" y="29450"/>
                    </a:cubicBezTo>
                    <a:lnTo>
                      <a:pt x="32697" y="1319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4" name="Freihandform: Form 127">
                <a:extLst>
                  <a:ext uri="{FF2B5EF4-FFF2-40B4-BE49-F238E27FC236}">
                    <a16:creationId xmlns:a16="http://schemas.microsoft.com/office/drawing/2014/main" id="{D9FDD7EC-1E1A-9134-6AE6-DF29F23473CC}"/>
                  </a:ext>
                </a:extLst>
              </p:cNvPr>
              <p:cNvSpPr/>
              <p:nvPr/>
            </p:nvSpPr>
            <p:spPr bwMode="gray">
              <a:xfrm>
                <a:off x="2079365" y="4602822"/>
                <a:ext cx="70145" cy="70145"/>
              </a:xfrm>
              <a:custGeom>
                <a:avLst/>
                <a:gdLst>
                  <a:gd name="connsiteX0" fmla="*/ 28749 w 70396"/>
                  <a:gd name="connsiteY0" fmla="*/ 13199 h 70396"/>
                  <a:gd name="connsiteX1" fmla="*/ 18958 w 70396"/>
                  <a:gd name="connsiteY1" fmla="*/ 23882 h 70396"/>
                  <a:gd name="connsiteX2" fmla="*/ 20173 w 70396"/>
                  <a:gd name="connsiteY2" fmla="*/ 54716 h 70396"/>
                  <a:gd name="connsiteX3" fmla="*/ 20173 w 70396"/>
                  <a:gd name="connsiteY3" fmla="*/ 54716 h 70396"/>
                  <a:gd name="connsiteX4" fmla="*/ 51042 w 70396"/>
                  <a:gd name="connsiteY4" fmla="*/ 53707 h 70396"/>
                  <a:gd name="connsiteX5" fmla="*/ 61279 w 70396"/>
                  <a:gd name="connsiteY5" fmla="*/ 42843 h 70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396" h="70396">
                    <a:moveTo>
                      <a:pt x="28749" y="13199"/>
                    </a:moveTo>
                    <a:lnTo>
                      <a:pt x="18958" y="23882"/>
                    </a:lnTo>
                    <a:cubicBezTo>
                      <a:pt x="10828" y="32752"/>
                      <a:pt x="11373" y="46515"/>
                      <a:pt x="20173" y="54716"/>
                    </a:cubicBezTo>
                    <a:lnTo>
                      <a:pt x="20173" y="54716"/>
                    </a:lnTo>
                    <a:cubicBezTo>
                      <a:pt x="28990" y="62923"/>
                      <a:pt x="42782" y="62471"/>
                      <a:pt x="51042" y="53707"/>
                    </a:cubicBezTo>
                    <a:lnTo>
                      <a:pt x="61279" y="42843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5" name="Freihandform: Form 128">
                <a:extLst>
                  <a:ext uri="{FF2B5EF4-FFF2-40B4-BE49-F238E27FC236}">
                    <a16:creationId xmlns:a16="http://schemas.microsoft.com/office/drawing/2014/main" id="{3B805114-7A15-1FF1-90EE-48AFEDC26752}"/>
                  </a:ext>
                </a:extLst>
              </p:cNvPr>
              <p:cNvSpPr/>
              <p:nvPr/>
            </p:nvSpPr>
            <p:spPr bwMode="gray">
              <a:xfrm>
                <a:off x="2116386" y="4633855"/>
                <a:ext cx="64300" cy="64300"/>
              </a:xfrm>
              <a:custGeom>
                <a:avLst/>
                <a:gdLst>
                  <a:gd name="connsiteX0" fmla="*/ 54102 w 64530"/>
                  <a:gd name="connsiteY0" fmla="*/ 40472 h 64530"/>
                  <a:gd name="connsiteX1" fmla="*/ 48717 w 64530"/>
                  <a:gd name="connsiteY1" fmla="*/ 45981 h 64530"/>
                  <a:gd name="connsiteX2" fmla="*/ 19608 w 64530"/>
                  <a:gd name="connsiteY2" fmla="*/ 46486 h 64530"/>
                  <a:gd name="connsiteX3" fmla="*/ 19608 w 64530"/>
                  <a:gd name="connsiteY3" fmla="*/ 46486 h 64530"/>
                  <a:gd name="connsiteX4" fmla="*/ 18839 w 64530"/>
                  <a:gd name="connsiteY4" fmla="*/ 17306 h 64530"/>
                  <a:gd name="connsiteX5" fmla="*/ 22711 w 64530"/>
                  <a:gd name="connsiteY5" fmla="*/ 13199 h 64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4530" h="64530">
                    <a:moveTo>
                      <a:pt x="54102" y="40472"/>
                    </a:moveTo>
                    <a:lnTo>
                      <a:pt x="48717" y="45981"/>
                    </a:lnTo>
                    <a:cubicBezTo>
                      <a:pt x="40791" y="54094"/>
                      <a:pt x="27809" y="54317"/>
                      <a:pt x="19608" y="46486"/>
                    </a:cubicBezTo>
                    <a:lnTo>
                      <a:pt x="19608" y="46486"/>
                    </a:lnTo>
                    <a:cubicBezTo>
                      <a:pt x="11371" y="38624"/>
                      <a:pt x="11031" y="25589"/>
                      <a:pt x="18839" y="17306"/>
                    </a:cubicBezTo>
                    <a:lnTo>
                      <a:pt x="22711" y="1319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3" name="Gruppieren 129">
              <a:extLst>
                <a:ext uri="{FF2B5EF4-FFF2-40B4-BE49-F238E27FC236}">
                  <a16:creationId xmlns:a16="http://schemas.microsoft.com/office/drawing/2014/main" id="{7FF29A8C-A859-E5DE-F5DE-55A6127B7F0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6597732" y="1626303"/>
              <a:ext cx="452080" cy="452133"/>
              <a:chOff x="8113816" y="1811130"/>
              <a:chExt cx="747504" cy="747591"/>
            </a:xfrm>
          </p:grpSpPr>
          <p:sp>
            <p:nvSpPr>
              <p:cNvPr id="91" name="Freihandform: Form 130">
                <a:extLst>
                  <a:ext uri="{FF2B5EF4-FFF2-40B4-BE49-F238E27FC236}">
                    <a16:creationId xmlns:a16="http://schemas.microsoft.com/office/drawing/2014/main" id="{A9AFF495-5D1F-25F3-B97F-AD5BECFE9064}"/>
                  </a:ext>
                </a:extLst>
              </p:cNvPr>
              <p:cNvSpPr/>
              <p:nvPr/>
            </p:nvSpPr>
            <p:spPr bwMode="gray">
              <a:xfrm>
                <a:off x="8476941" y="2028444"/>
                <a:ext cx="140284" cy="280569"/>
              </a:xfrm>
              <a:custGeom>
                <a:avLst/>
                <a:gdLst>
                  <a:gd name="connsiteX0" fmla="*/ 192627 w 203622"/>
                  <a:gd name="connsiteY0" fmla="*/ 392177 h 407244"/>
                  <a:gd name="connsiteX1" fmla="*/ 173893 w 203622"/>
                  <a:gd name="connsiteY1" fmla="*/ 300139 h 407244"/>
                  <a:gd name="connsiteX2" fmla="*/ 142943 w 203622"/>
                  <a:gd name="connsiteY2" fmla="*/ 248012 h 407244"/>
                  <a:gd name="connsiteX3" fmla="*/ 112807 w 203622"/>
                  <a:gd name="connsiteY3" fmla="*/ 231722 h 407244"/>
                  <a:gd name="connsiteX4" fmla="*/ 33802 w 203622"/>
                  <a:gd name="connsiteY4" fmla="*/ 208917 h 407244"/>
                  <a:gd name="connsiteX5" fmla="*/ 28914 w 203622"/>
                  <a:gd name="connsiteY5" fmla="*/ 206473 h 407244"/>
                  <a:gd name="connsiteX6" fmla="*/ 21584 w 203622"/>
                  <a:gd name="connsiteY6" fmla="*/ 194256 h 407244"/>
                  <a:gd name="connsiteX7" fmla="*/ 18326 w 203622"/>
                  <a:gd name="connsiteY7" fmla="*/ 163305 h 407244"/>
                  <a:gd name="connsiteX8" fmla="*/ 64752 w 203622"/>
                  <a:gd name="connsiteY8" fmla="*/ 90816 h 407244"/>
                  <a:gd name="connsiteX9" fmla="*/ 90001 w 203622"/>
                  <a:gd name="connsiteY9" fmla="*/ 54164 h 407244"/>
                  <a:gd name="connsiteX10" fmla="*/ 68010 w 203622"/>
                  <a:gd name="connsiteY10" fmla="*/ 18326 h 407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3622" h="407244">
                    <a:moveTo>
                      <a:pt x="192627" y="392177"/>
                    </a:moveTo>
                    <a:lnTo>
                      <a:pt x="173893" y="300139"/>
                    </a:lnTo>
                    <a:cubicBezTo>
                      <a:pt x="169821" y="279777"/>
                      <a:pt x="158418" y="261044"/>
                      <a:pt x="142943" y="248012"/>
                    </a:cubicBezTo>
                    <a:cubicBezTo>
                      <a:pt x="132355" y="239867"/>
                      <a:pt x="122581" y="234166"/>
                      <a:pt x="112807" y="231722"/>
                    </a:cubicBezTo>
                    <a:lnTo>
                      <a:pt x="33802" y="208917"/>
                    </a:lnTo>
                    <a:cubicBezTo>
                      <a:pt x="32172" y="208102"/>
                      <a:pt x="30543" y="207288"/>
                      <a:pt x="28914" y="206473"/>
                    </a:cubicBezTo>
                    <a:cubicBezTo>
                      <a:pt x="24842" y="204030"/>
                      <a:pt x="22398" y="199143"/>
                      <a:pt x="21584" y="194256"/>
                    </a:cubicBezTo>
                    <a:lnTo>
                      <a:pt x="18326" y="163305"/>
                    </a:lnTo>
                    <a:cubicBezTo>
                      <a:pt x="40317" y="146201"/>
                      <a:pt x="56607" y="120952"/>
                      <a:pt x="64752" y="90816"/>
                    </a:cubicBezTo>
                    <a:cubicBezTo>
                      <a:pt x="78598" y="89187"/>
                      <a:pt x="90001" y="73711"/>
                      <a:pt x="90001" y="54164"/>
                    </a:cubicBezTo>
                    <a:cubicBezTo>
                      <a:pt x="90001" y="36245"/>
                      <a:pt x="81042" y="20770"/>
                      <a:pt x="6801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2" name="Freihandform: Form 131">
                <a:extLst>
                  <a:ext uri="{FF2B5EF4-FFF2-40B4-BE49-F238E27FC236}">
                    <a16:creationId xmlns:a16="http://schemas.microsoft.com/office/drawing/2014/main" id="{F321C3FF-7514-2D18-D21B-C21668EFF3E7}"/>
                  </a:ext>
                </a:extLst>
              </p:cNvPr>
              <p:cNvSpPr/>
              <p:nvPr/>
            </p:nvSpPr>
            <p:spPr bwMode="gray">
              <a:xfrm>
                <a:off x="8271564" y="2027883"/>
                <a:ext cx="140284" cy="280569"/>
              </a:xfrm>
              <a:custGeom>
                <a:avLst/>
                <a:gdLst>
                  <a:gd name="connsiteX0" fmla="*/ 142943 w 203622"/>
                  <a:gd name="connsiteY0" fmla="*/ 18326 h 407244"/>
                  <a:gd name="connsiteX1" fmla="*/ 121766 w 203622"/>
                  <a:gd name="connsiteY1" fmla="*/ 54163 h 407244"/>
                  <a:gd name="connsiteX2" fmla="*/ 146200 w 203622"/>
                  <a:gd name="connsiteY2" fmla="*/ 90816 h 407244"/>
                  <a:gd name="connsiteX3" fmla="*/ 192626 w 203622"/>
                  <a:gd name="connsiteY3" fmla="*/ 163305 h 407244"/>
                  <a:gd name="connsiteX4" fmla="*/ 189369 w 203622"/>
                  <a:gd name="connsiteY4" fmla="*/ 194256 h 407244"/>
                  <a:gd name="connsiteX5" fmla="*/ 182038 w 203622"/>
                  <a:gd name="connsiteY5" fmla="*/ 206473 h 407244"/>
                  <a:gd name="connsiteX6" fmla="*/ 177151 w 203622"/>
                  <a:gd name="connsiteY6" fmla="*/ 208916 h 407244"/>
                  <a:gd name="connsiteX7" fmla="*/ 98960 w 203622"/>
                  <a:gd name="connsiteY7" fmla="*/ 231722 h 407244"/>
                  <a:gd name="connsiteX8" fmla="*/ 68010 w 203622"/>
                  <a:gd name="connsiteY8" fmla="*/ 248012 h 407244"/>
                  <a:gd name="connsiteX9" fmla="*/ 37059 w 203622"/>
                  <a:gd name="connsiteY9" fmla="*/ 300139 h 407244"/>
                  <a:gd name="connsiteX10" fmla="*/ 18326 w 203622"/>
                  <a:gd name="connsiteY10" fmla="*/ 392177 h 407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3622" h="407244">
                    <a:moveTo>
                      <a:pt x="142943" y="18326"/>
                    </a:moveTo>
                    <a:cubicBezTo>
                      <a:pt x="130725" y="21584"/>
                      <a:pt x="121766" y="36245"/>
                      <a:pt x="121766" y="54163"/>
                    </a:cubicBezTo>
                    <a:cubicBezTo>
                      <a:pt x="121766" y="73711"/>
                      <a:pt x="132355" y="89187"/>
                      <a:pt x="146200" y="90816"/>
                    </a:cubicBezTo>
                    <a:cubicBezTo>
                      <a:pt x="154345" y="120952"/>
                      <a:pt x="170635" y="146201"/>
                      <a:pt x="192626" y="163305"/>
                    </a:cubicBezTo>
                    <a:lnTo>
                      <a:pt x="189369" y="194256"/>
                    </a:lnTo>
                    <a:cubicBezTo>
                      <a:pt x="188554" y="199143"/>
                      <a:pt x="186111" y="204029"/>
                      <a:pt x="182038" y="206473"/>
                    </a:cubicBezTo>
                    <a:cubicBezTo>
                      <a:pt x="180409" y="207288"/>
                      <a:pt x="178780" y="208102"/>
                      <a:pt x="177151" y="208916"/>
                    </a:cubicBezTo>
                    <a:lnTo>
                      <a:pt x="98960" y="231722"/>
                    </a:lnTo>
                    <a:cubicBezTo>
                      <a:pt x="89186" y="234166"/>
                      <a:pt x="78598" y="239053"/>
                      <a:pt x="68010" y="248012"/>
                    </a:cubicBezTo>
                    <a:cubicBezTo>
                      <a:pt x="51720" y="261044"/>
                      <a:pt x="41132" y="279777"/>
                      <a:pt x="37059" y="300139"/>
                    </a:cubicBezTo>
                    <a:lnTo>
                      <a:pt x="18326" y="392177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3" name="Freihandform: Form 132">
                <a:extLst>
                  <a:ext uri="{FF2B5EF4-FFF2-40B4-BE49-F238E27FC236}">
                    <a16:creationId xmlns:a16="http://schemas.microsoft.com/office/drawing/2014/main" id="{A380CDC1-3192-207F-ED2F-273D5B190CD7}"/>
                  </a:ext>
                </a:extLst>
              </p:cNvPr>
              <p:cNvSpPr/>
              <p:nvPr/>
            </p:nvSpPr>
            <p:spPr bwMode="gray">
              <a:xfrm>
                <a:off x="8357387" y="1938102"/>
                <a:ext cx="173953" cy="112228"/>
              </a:xfrm>
              <a:custGeom>
                <a:avLst/>
                <a:gdLst>
                  <a:gd name="connsiteX0" fmla="*/ 240726 w 252491"/>
                  <a:gd name="connsiteY0" fmla="*/ 148644 h 162897"/>
                  <a:gd name="connsiteX1" fmla="*/ 129956 w 252491"/>
                  <a:gd name="connsiteY1" fmla="*/ 18326 h 162897"/>
                  <a:gd name="connsiteX2" fmla="*/ 18371 w 252491"/>
                  <a:gd name="connsiteY2" fmla="*/ 149459 h 162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2491" h="162897">
                    <a:moveTo>
                      <a:pt x="240726" y="148644"/>
                    </a:moveTo>
                    <a:cubicBezTo>
                      <a:pt x="240726" y="148644"/>
                      <a:pt x="247242" y="18326"/>
                      <a:pt x="129956" y="18326"/>
                    </a:cubicBezTo>
                    <a:cubicBezTo>
                      <a:pt x="12669" y="18326"/>
                      <a:pt x="18371" y="149459"/>
                      <a:pt x="18371" y="149459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4" name="Freihandform: Form 133">
                <a:extLst>
                  <a:ext uri="{FF2B5EF4-FFF2-40B4-BE49-F238E27FC236}">
                    <a16:creationId xmlns:a16="http://schemas.microsoft.com/office/drawing/2014/main" id="{4A559CB7-AB59-D524-FAB8-9E4145275D9F}"/>
                  </a:ext>
                </a:extLst>
              </p:cNvPr>
              <p:cNvSpPr/>
              <p:nvPr/>
            </p:nvSpPr>
            <p:spPr bwMode="gray">
              <a:xfrm>
                <a:off x="8363029" y="1973403"/>
                <a:ext cx="162730" cy="44891"/>
              </a:xfrm>
              <a:custGeom>
                <a:avLst/>
                <a:gdLst>
                  <a:gd name="connsiteX0" fmla="*/ 18326 w 236201"/>
                  <a:gd name="connsiteY0" fmla="*/ 41205 h 65159"/>
                  <a:gd name="connsiteX1" fmla="*/ 41946 w 236201"/>
                  <a:gd name="connsiteY1" fmla="*/ 20843 h 65159"/>
                  <a:gd name="connsiteX2" fmla="*/ 90815 w 236201"/>
                  <a:gd name="connsiteY2" fmla="*/ 26544 h 65159"/>
                  <a:gd name="connsiteX3" fmla="*/ 157603 w 236201"/>
                  <a:gd name="connsiteY3" fmla="*/ 50979 h 65159"/>
                  <a:gd name="connsiteX4" fmla="*/ 224392 w 236201"/>
                  <a:gd name="connsiteY4" fmla="*/ 40390 h 65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6201" h="65159">
                    <a:moveTo>
                      <a:pt x="18326" y="41205"/>
                    </a:moveTo>
                    <a:cubicBezTo>
                      <a:pt x="23213" y="31431"/>
                      <a:pt x="32172" y="24915"/>
                      <a:pt x="41946" y="20843"/>
                    </a:cubicBezTo>
                    <a:cubicBezTo>
                      <a:pt x="58236" y="15141"/>
                      <a:pt x="75340" y="20028"/>
                      <a:pt x="90815" y="26544"/>
                    </a:cubicBezTo>
                    <a:cubicBezTo>
                      <a:pt x="112807" y="36318"/>
                      <a:pt x="132355" y="48535"/>
                      <a:pt x="157603" y="50979"/>
                    </a:cubicBezTo>
                    <a:cubicBezTo>
                      <a:pt x="181224" y="53422"/>
                      <a:pt x="203215" y="50979"/>
                      <a:pt x="224392" y="40390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5" name="Freihandform: Form 134">
                <a:extLst>
                  <a:ext uri="{FF2B5EF4-FFF2-40B4-BE49-F238E27FC236}">
                    <a16:creationId xmlns:a16="http://schemas.microsoft.com/office/drawing/2014/main" id="{92E3A969-0D06-03BD-7600-A20487ADCF3E}"/>
                  </a:ext>
                </a:extLst>
              </p:cNvPr>
              <p:cNvSpPr/>
              <p:nvPr/>
            </p:nvSpPr>
            <p:spPr bwMode="gray">
              <a:xfrm>
                <a:off x="8384352" y="2158068"/>
                <a:ext cx="72948" cy="72948"/>
              </a:xfrm>
              <a:custGeom>
                <a:avLst/>
                <a:gdLst>
                  <a:gd name="connsiteX0" fmla="*/ 18326 w 105883"/>
                  <a:gd name="connsiteY0" fmla="*/ 18326 h 105883"/>
                  <a:gd name="connsiteX1" fmla="*/ 90816 w 105883"/>
                  <a:gd name="connsiteY1" fmla="*/ 93259 h 10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883" h="105883">
                    <a:moveTo>
                      <a:pt x="18326" y="18326"/>
                    </a:moveTo>
                    <a:lnTo>
                      <a:pt x="90816" y="9325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6" name="Freihandform: Form 135">
                <a:extLst>
                  <a:ext uri="{FF2B5EF4-FFF2-40B4-BE49-F238E27FC236}">
                    <a16:creationId xmlns:a16="http://schemas.microsoft.com/office/drawing/2014/main" id="{839DB50C-BA45-AE58-0924-187A8BAFBC7C}"/>
                  </a:ext>
                </a:extLst>
              </p:cNvPr>
              <p:cNvSpPr/>
              <p:nvPr/>
            </p:nvSpPr>
            <p:spPr bwMode="gray">
              <a:xfrm>
                <a:off x="8434294" y="2158068"/>
                <a:ext cx="72948" cy="72948"/>
              </a:xfrm>
              <a:custGeom>
                <a:avLst/>
                <a:gdLst>
                  <a:gd name="connsiteX0" fmla="*/ 90815 w 105883"/>
                  <a:gd name="connsiteY0" fmla="*/ 18326 h 105883"/>
                  <a:gd name="connsiteX1" fmla="*/ 18326 w 105883"/>
                  <a:gd name="connsiteY1" fmla="*/ 93259 h 10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883" h="105883">
                    <a:moveTo>
                      <a:pt x="90815" y="18326"/>
                    </a:moveTo>
                    <a:lnTo>
                      <a:pt x="18326" y="9325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7" name="Freihandform: Form 136">
                <a:extLst>
                  <a:ext uri="{FF2B5EF4-FFF2-40B4-BE49-F238E27FC236}">
                    <a16:creationId xmlns:a16="http://schemas.microsoft.com/office/drawing/2014/main" id="{DB0FD39E-5378-F937-9FAC-1FAF340D4DDD}"/>
                  </a:ext>
                </a:extLst>
              </p:cNvPr>
              <p:cNvSpPr/>
              <p:nvPr/>
            </p:nvSpPr>
            <p:spPr bwMode="gray">
              <a:xfrm>
                <a:off x="8434294" y="2209693"/>
                <a:ext cx="22446" cy="56114"/>
              </a:xfrm>
              <a:custGeom>
                <a:avLst/>
                <a:gdLst>
                  <a:gd name="connsiteX0" fmla="*/ 18326 w 32579"/>
                  <a:gd name="connsiteY0" fmla="*/ 18326 h 81448"/>
                  <a:gd name="connsiteX1" fmla="*/ 18326 w 32579"/>
                  <a:gd name="connsiteY1" fmla="*/ 68010 h 81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579" h="81448">
                    <a:moveTo>
                      <a:pt x="18326" y="18326"/>
                    </a:moveTo>
                    <a:lnTo>
                      <a:pt x="18326" y="68010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8" name="Freihandform: Form 137">
                <a:extLst>
                  <a:ext uri="{FF2B5EF4-FFF2-40B4-BE49-F238E27FC236}">
                    <a16:creationId xmlns:a16="http://schemas.microsoft.com/office/drawing/2014/main" id="{D84C309A-CC8B-007E-3E4E-44C397923847}"/>
                  </a:ext>
                </a:extLst>
              </p:cNvPr>
              <p:cNvSpPr/>
              <p:nvPr/>
            </p:nvSpPr>
            <p:spPr bwMode="gray">
              <a:xfrm>
                <a:off x="8113816" y="1811130"/>
                <a:ext cx="662142" cy="662142"/>
              </a:xfrm>
              <a:custGeom>
                <a:avLst/>
                <a:gdLst>
                  <a:gd name="connsiteX0" fmla="*/ 923635 w 961097"/>
                  <a:gd name="connsiteY0" fmla="*/ 459290 h 961097"/>
                  <a:gd name="connsiteX1" fmla="*/ 508025 w 961097"/>
                  <a:gd name="connsiteY1" fmla="*/ 923635 h 961097"/>
                  <a:gd name="connsiteX2" fmla="*/ 43680 w 961097"/>
                  <a:gd name="connsiteY2" fmla="*/ 508025 h 961097"/>
                  <a:gd name="connsiteX3" fmla="*/ 459290 w 961097"/>
                  <a:gd name="connsiteY3" fmla="*/ 43679 h 961097"/>
                  <a:gd name="connsiteX4" fmla="*/ 923635 w 961097"/>
                  <a:gd name="connsiteY4" fmla="*/ 459290 h 96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1097" h="961097">
                    <a:moveTo>
                      <a:pt x="923635" y="459290"/>
                    </a:moveTo>
                    <a:cubicBezTo>
                      <a:pt x="937093" y="702283"/>
                      <a:pt x="751018" y="910177"/>
                      <a:pt x="508025" y="923635"/>
                    </a:cubicBezTo>
                    <a:cubicBezTo>
                      <a:pt x="265032" y="937093"/>
                      <a:pt x="57138" y="751018"/>
                      <a:pt x="43680" y="508025"/>
                    </a:cubicBezTo>
                    <a:cubicBezTo>
                      <a:pt x="30222" y="265032"/>
                      <a:pt x="216297" y="57137"/>
                      <a:pt x="459290" y="43679"/>
                    </a:cubicBezTo>
                    <a:cubicBezTo>
                      <a:pt x="702283" y="30222"/>
                      <a:pt x="910177" y="216297"/>
                      <a:pt x="923635" y="459290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9" name="Freihandform: Form 138">
                <a:extLst>
                  <a:ext uri="{FF2B5EF4-FFF2-40B4-BE49-F238E27FC236}">
                    <a16:creationId xmlns:a16="http://schemas.microsoft.com/office/drawing/2014/main" id="{D70630AF-3B4C-122D-EDB9-6124AE878E5C}"/>
                  </a:ext>
                </a:extLst>
              </p:cNvPr>
              <p:cNvSpPr/>
              <p:nvPr/>
            </p:nvSpPr>
            <p:spPr bwMode="gray">
              <a:xfrm>
                <a:off x="8659310" y="2356711"/>
                <a:ext cx="202010" cy="202010"/>
              </a:xfrm>
              <a:custGeom>
                <a:avLst/>
                <a:gdLst>
                  <a:gd name="connsiteX0" fmla="*/ 100589 w 293216"/>
                  <a:gd name="connsiteY0" fmla="*/ 18326 h 293216"/>
                  <a:gd name="connsiteX1" fmla="*/ 261044 w 293216"/>
                  <a:gd name="connsiteY1" fmla="*/ 178780 h 293216"/>
                  <a:gd name="connsiteX2" fmla="*/ 261044 w 293216"/>
                  <a:gd name="connsiteY2" fmla="*/ 261044 h 293216"/>
                  <a:gd name="connsiteX3" fmla="*/ 261044 w 293216"/>
                  <a:gd name="connsiteY3" fmla="*/ 261044 h 293216"/>
                  <a:gd name="connsiteX4" fmla="*/ 178780 w 293216"/>
                  <a:gd name="connsiteY4" fmla="*/ 261044 h 293216"/>
                  <a:gd name="connsiteX5" fmla="*/ 18326 w 293216"/>
                  <a:gd name="connsiteY5" fmla="*/ 100589 h 293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3216" h="293216">
                    <a:moveTo>
                      <a:pt x="100589" y="18326"/>
                    </a:moveTo>
                    <a:lnTo>
                      <a:pt x="261044" y="178780"/>
                    </a:lnTo>
                    <a:cubicBezTo>
                      <a:pt x="283849" y="201586"/>
                      <a:pt x="283849" y="238238"/>
                      <a:pt x="261044" y="261044"/>
                    </a:cubicBezTo>
                    <a:lnTo>
                      <a:pt x="261044" y="261044"/>
                    </a:lnTo>
                    <a:cubicBezTo>
                      <a:pt x="238238" y="283849"/>
                      <a:pt x="201586" y="283849"/>
                      <a:pt x="178780" y="261044"/>
                    </a:cubicBezTo>
                    <a:lnTo>
                      <a:pt x="18326" y="100589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0" name="Freihandform: Form 139">
                <a:extLst>
                  <a:ext uri="{FF2B5EF4-FFF2-40B4-BE49-F238E27FC236}">
                    <a16:creationId xmlns:a16="http://schemas.microsoft.com/office/drawing/2014/main" id="{5B461BA0-1F18-7869-73B8-6A359D0985C3}"/>
                  </a:ext>
                </a:extLst>
              </p:cNvPr>
              <p:cNvSpPr/>
              <p:nvPr/>
            </p:nvSpPr>
            <p:spPr bwMode="gray">
              <a:xfrm>
                <a:off x="8559988" y="2257391"/>
                <a:ext cx="230068" cy="230066"/>
              </a:xfrm>
              <a:custGeom>
                <a:avLst/>
                <a:gdLst>
                  <a:gd name="connsiteX0" fmla="*/ 18326 w 333940"/>
                  <a:gd name="connsiteY0" fmla="*/ 322130 h 333940"/>
                  <a:gd name="connsiteX1" fmla="*/ 322130 w 333940"/>
                  <a:gd name="connsiteY1" fmla="*/ 18326 h 333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3940" h="333940">
                    <a:moveTo>
                      <a:pt x="18326" y="322130"/>
                    </a:moveTo>
                    <a:cubicBezTo>
                      <a:pt x="159233" y="271632"/>
                      <a:pt x="270818" y="159233"/>
                      <a:pt x="32213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4" name="Gruppieren 140">
              <a:extLst>
                <a:ext uri="{FF2B5EF4-FFF2-40B4-BE49-F238E27FC236}">
                  <a16:creationId xmlns:a16="http://schemas.microsoft.com/office/drawing/2014/main" id="{84142B47-6C1B-DC56-757B-D15385B14905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921751" y="3197527"/>
              <a:ext cx="355624" cy="360952"/>
              <a:chOff x="7986064" y="5303416"/>
              <a:chExt cx="734069" cy="745069"/>
            </a:xfrm>
          </p:grpSpPr>
          <p:sp>
            <p:nvSpPr>
              <p:cNvPr id="80" name="Freihandform: Form 141">
                <a:extLst>
                  <a:ext uri="{FF2B5EF4-FFF2-40B4-BE49-F238E27FC236}">
                    <a16:creationId xmlns:a16="http://schemas.microsoft.com/office/drawing/2014/main" id="{3DB3AB1B-B5A2-A5BB-9F29-D7200199895D}"/>
                  </a:ext>
                </a:extLst>
              </p:cNvPr>
              <p:cNvSpPr/>
              <p:nvPr/>
            </p:nvSpPr>
            <p:spPr bwMode="gray">
              <a:xfrm>
                <a:off x="8383353" y="5963527"/>
                <a:ext cx="48897" cy="24449"/>
              </a:xfrm>
              <a:custGeom>
                <a:avLst/>
                <a:gdLst>
                  <a:gd name="connsiteX0" fmla="*/ 50905 w 65159"/>
                  <a:gd name="connsiteY0" fmla="*/ 18326 h 32579"/>
                  <a:gd name="connsiteX1" fmla="*/ 18326 w 65159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159" h="32579">
                    <a:moveTo>
                      <a:pt x="50905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1" name="Freihandform: Form 142">
                <a:extLst>
                  <a:ext uri="{FF2B5EF4-FFF2-40B4-BE49-F238E27FC236}">
                    <a16:creationId xmlns:a16="http://schemas.microsoft.com/office/drawing/2014/main" id="{1B19B53B-87C6-B59F-A499-EC65DB64DEE0}"/>
                  </a:ext>
                </a:extLst>
              </p:cNvPr>
              <p:cNvSpPr/>
              <p:nvPr/>
            </p:nvSpPr>
            <p:spPr bwMode="gray">
              <a:xfrm>
                <a:off x="8387632" y="5898739"/>
                <a:ext cx="61121" cy="24449"/>
              </a:xfrm>
              <a:custGeom>
                <a:avLst/>
                <a:gdLst>
                  <a:gd name="connsiteX0" fmla="*/ 67195 w 81448"/>
                  <a:gd name="connsiteY0" fmla="*/ 18326 h 32579"/>
                  <a:gd name="connsiteX1" fmla="*/ 18326 w 81448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32579">
                    <a:moveTo>
                      <a:pt x="67195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2" name="Freihandform: Form 143">
                <a:extLst>
                  <a:ext uri="{FF2B5EF4-FFF2-40B4-BE49-F238E27FC236}">
                    <a16:creationId xmlns:a16="http://schemas.microsoft.com/office/drawing/2014/main" id="{4928CFBF-B60C-B31A-45EC-7DF2540DBE2C}"/>
                  </a:ext>
                </a:extLst>
              </p:cNvPr>
              <p:cNvSpPr/>
              <p:nvPr/>
            </p:nvSpPr>
            <p:spPr bwMode="gray">
              <a:xfrm>
                <a:off x="8392522" y="5833950"/>
                <a:ext cx="67234" cy="24449"/>
              </a:xfrm>
              <a:custGeom>
                <a:avLst/>
                <a:gdLst>
                  <a:gd name="connsiteX0" fmla="*/ 76969 w 89593"/>
                  <a:gd name="connsiteY0" fmla="*/ 18326 h 32579"/>
                  <a:gd name="connsiteX1" fmla="*/ 18326 w 89593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32579">
                    <a:moveTo>
                      <a:pt x="76969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3" name="Freihandform: Form 144">
                <a:extLst>
                  <a:ext uri="{FF2B5EF4-FFF2-40B4-BE49-F238E27FC236}">
                    <a16:creationId xmlns:a16="http://schemas.microsoft.com/office/drawing/2014/main" id="{1E06BC50-0327-5D61-15EA-59398085EC79}"/>
                  </a:ext>
                </a:extLst>
              </p:cNvPr>
              <p:cNvSpPr/>
              <p:nvPr/>
            </p:nvSpPr>
            <p:spPr bwMode="gray">
              <a:xfrm>
                <a:off x="7986064" y="5755102"/>
                <a:ext cx="134467" cy="293383"/>
              </a:xfrm>
              <a:custGeom>
                <a:avLst/>
                <a:gdLst>
                  <a:gd name="connsiteX0" fmla="*/ 18326 w 179187"/>
                  <a:gd name="connsiteY0" fmla="*/ 375072 h 390954"/>
                  <a:gd name="connsiteX1" fmla="*/ 150273 w 179187"/>
                  <a:gd name="connsiteY1" fmla="*/ 375072 h 390954"/>
                  <a:gd name="connsiteX2" fmla="*/ 168192 w 179187"/>
                  <a:gd name="connsiteY2" fmla="*/ 357154 h 390954"/>
                  <a:gd name="connsiteX3" fmla="*/ 168192 w 179187"/>
                  <a:gd name="connsiteY3" fmla="*/ 36245 h 390954"/>
                  <a:gd name="connsiteX4" fmla="*/ 150273 w 179187"/>
                  <a:gd name="connsiteY4" fmla="*/ 18326 h 390954"/>
                  <a:gd name="connsiteX5" fmla="*/ 18326 w 179187"/>
                  <a:gd name="connsiteY5" fmla="*/ 18326 h 390954"/>
                  <a:gd name="connsiteX6" fmla="*/ 18326 w 179187"/>
                  <a:gd name="connsiteY6" fmla="*/ 375072 h 39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9187" h="390954">
                    <a:moveTo>
                      <a:pt x="18326" y="375072"/>
                    </a:moveTo>
                    <a:lnTo>
                      <a:pt x="150273" y="375072"/>
                    </a:lnTo>
                    <a:cubicBezTo>
                      <a:pt x="160047" y="375072"/>
                      <a:pt x="168192" y="366928"/>
                      <a:pt x="168192" y="357154"/>
                    </a:cubicBezTo>
                    <a:lnTo>
                      <a:pt x="168192" y="36245"/>
                    </a:lnTo>
                    <a:cubicBezTo>
                      <a:pt x="168192" y="26471"/>
                      <a:pt x="160047" y="18326"/>
                      <a:pt x="150273" y="18326"/>
                    </a:cubicBezTo>
                    <a:lnTo>
                      <a:pt x="18326" y="18326"/>
                    </a:lnTo>
                    <a:lnTo>
                      <a:pt x="18326" y="3750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4" name="Freihandform: Form 145">
                <a:extLst>
                  <a:ext uri="{FF2B5EF4-FFF2-40B4-BE49-F238E27FC236}">
                    <a16:creationId xmlns:a16="http://schemas.microsoft.com/office/drawing/2014/main" id="{CD338184-DF7F-8991-A6D0-66469A309032}"/>
                  </a:ext>
                </a:extLst>
              </p:cNvPr>
              <p:cNvSpPr/>
              <p:nvPr/>
            </p:nvSpPr>
            <p:spPr bwMode="gray">
              <a:xfrm>
                <a:off x="8099139" y="5768549"/>
                <a:ext cx="409514" cy="275046"/>
              </a:xfrm>
              <a:custGeom>
                <a:avLst/>
                <a:gdLst>
                  <a:gd name="connsiteX0" fmla="*/ 299325 w 545707"/>
                  <a:gd name="connsiteY0" fmla="*/ 18326 h 366520"/>
                  <a:gd name="connsiteX1" fmla="*/ 489915 w 545707"/>
                  <a:gd name="connsiteY1" fmla="*/ 18326 h 366520"/>
                  <a:gd name="connsiteX2" fmla="*/ 533083 w 545707"/>
                  <a:gd name="connsiteY2" fmla="*/ 63123 h 366520"/>
                  <a:gd name="connsiteX3" fmla="*/ 488286 w 545707"/>
                  <a:gd name="connsiteY3" fmla="*/ 104662 h 366520"/>
                  <a:gd name="connsiteX4" fmla="*/ 470368 w 545707"/>
                  <a:gd name="connsiteY4" fmla="*/ 104662 h 366520"/>
                  <a:gd name="connsiteX5" fmla="*/ 513536 w 545707"/>
                  <a:gd name="connsiteY5" fmla="*/ 149459 h 366520"/>
                  <a:gd name="connsiteX6" fmla="*/ 468739 w 545707"/>
                  <a:gd name="connsiteY6" fmla="*/ 190998 h 366520"/>
                  <a:gd name="connsiteX7" fmla="*/ 450820 w 545707"/>
                  <a:gd name="connsiteY7" fmla="*/ 190998 h 366520"/>
                  <a:gd name="connsiteX8" fmla="*/ 493988 w 545707"/>
                  <a:gd name="connsiteY8" fmla="*/ 235795 h 366520"/>
                  <a:gd name="connsiteX9" fmla="*/ 449191 w 545707"/>
                  <a:gd name="connsiteY9" fmla="*/ 277334 h 366520"/>
                  <a:gd name="connsiteX10" fmla="*/ 431272 w 545707"/>
                  <a:gd name="connsiteY10" fmla="*/ 277334 h 366520"/>
                  <a:gd name="connsiteX11" fmla="*/ 474440 w 545707"/>
                  <a:gd name="connsiteY11" fmla="*/ 316429 h 366520"/>
                  <a:gd name="connsiteX12" fmla="*/ 429643 w 545707"/>
                  <a:gd name="connsiteY12" fmla="*/ 355525 h 366520"/>
                  <a:gd name="connsiteX13" fmla="*/ 158418 w 545707"/>
                  <a:gd name="connsiteY13" fmla="*/ 312357 h 366520"/>
                  <a:gd name="connsiteX14" fmla="*/ 68010 w 545707"/>
                  <a:gd name="connsiteY14" fmla="*/ 303397 h 366520"/>
                  <a:gd name="connsiteX15" fmla="*/ 18326 w 545707"/>
                  <a:gd name="connsiteY15" fmla="*/ 315615 h 366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45707" h="366520">
                    <a:moveTo>
                      <a:pt x="299325" y="18326"/>
                    </a:moveTo>
                    <a:lnTo>
                      <a:pt x="489915" y="18326"/>
                    </a:lnTo>
                    <a:cubicBezTo>
                      <a:pt x="514350" y="18326"/>
                      <a:pt x="533898" y="38688"/>
                      <a:pt x="533083" y="63123"/>
                    </a:cubicBezTo>
                    <a:cubicBezTo>
                      <a:pt x="532269" y="85929"/>
                      <a:pt x="511092" y="104662"/>
                      <a:pt x="488286" y="104662"/>
                    </a:cubicBezTo>
                    <a:lnTo>
                      <a:pt x="470368" y="104662"/>
                    </a:lnTo>
                    <a:cubicBezTo>
                      <a:pt x="494802" y="104662"/>
                      <a:pt x="514350" y="125024"/>
                      <a:pt x="513536" y="149459"/>
                    </a:cubicBezTo>
                    <a:cubicBezTo>
                      <a:pt x="512721" y="172264"/>
                      <a:pt x="491545" y="190998"/>
                      <a:pt x="468739" y="190998"/>
                    </a:cubicBezTo>
                    <a:lnTo>
                      <a:pt x="450820" y="190998"/>
                    </a:lnTo>
                    <a:cubicBezTo>
                      <a:pt x="475255" y="190998"/>
                      <a:pt x="494802" y="211360"/>
                      <a:pt x="493988" y="235795"/>
                    </a:cubicBezTo>
                    <a:cubicBezTo>
                      <a:pt x="493174" y="258600"/>
                      <a:pt x="471997" y="277334"/>
                      <a:pt x="449191" y="277334"/>
                    </a:cubicBezTo>
                    <a:lnTo>
                      <a:pt x="431272" y="277334"/>
                    </a:lnTo>
                    <a:cubicBezTo>
                      <a:pt x="455707" y="277334"/>
                      <a:pt x="474440" y="294438"/>
                      <a:pt x="474440" y="316429"/>
                    </a:cubicBezTo>
                    <a:cubicBezTo>
                      <a:pt x="474440" y="343307"/>
                      <a:pt x="452449" y="355525"/>
                      <a:pt x="429643" y="355525"/>
                    </a:cubicBezTo>
                    <a:cubicBezTo>
                      <a:pt x="283035" y="355525"/>
                      <a:pt x="200772" y="331090"/>
                      <a:pt x="158418" y="312357"/>
                    </a:cubicBezTo>
                    <a:cubicBezTo>
                      <a:pt x="129911" y="299325"/>
                      <a:pt x="98146" y="296067"/>
                      <a:pt x="68010" y="303397"/>
                    </a:cubicBezTo>
                    <a:lnTo>
                      <a:pt x="18326" y="315615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5" name="Freihandform: Form 146">
                <a:extLst>
                  <a:ext uri="{FF2B5EF4-FFF2-40B4-BE49-F238E27FC236}">
                    <a16:creationId xmlns:a16="http://schemas.microsoft.com/office/drawing/2014/main" id="{C6C11467-A220-1C52-4CCD-91F8C77F33F6}"/>
                  </a:ext>
                </a:extLst>
              </p:cNvPr>
              <p:cNvSpPr/>
              <p:nvPr/>
            </p:nvSpPr>
            <p:spPr bwMode="gray">
              <a:xfrm>
                <a:off x="8098527" y="5676867"/>
                <a:ext cx="262822" cy="122243"/>
              </a:xfrm>
              <a:custGeom>
                <a:avLst/>
                <a:gdLst>
                  <a:gd name="connsiteX0" fmla="*/ 18326 w 350230"/>
                  <a:gd name="connsiteY0" fmla="*/ 149459 h 162897"/>
                  <a:gd name="connsiteX1" fmla="*/ 121766 w 350230"/>
                  <a:gd name="connsiteY1" fmla="*/ 149459 h 162897"/>
                  <a:gd name="connsiteX2" fmla="*/ 179595 w 350230"/>
                  <a:gd name="connsiteY2" fmla="*/ 149459 h 162897"/>
                  <a:gd name="connsiteX3" fmla="*/ 338420 w 350230"/>
                  <a:gd name="connsiteY3" fmla="*/ 18326 h 162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0230" h="162897">
                    <a:moveTo>
                      <a:pt x="18326" y="149459"/>
                    </a:moveTo>
                    <a:lnTo>
                      <a:pt x="121766" y="149459"/>
                    </a:lnTo>
                    <a:lnTo>
                      <a:pt x="179595" y="149459"/>
                    </a:lnTo>
                    <a:cubicBezTo>
                      <a:pt x="179595" y="149459"/>
                      <a:pt x="186925" y="44390"/>
                      <a:pt x="33842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6" name="Freihandform: Form 147">
                <a:extLst>
                  <a:ext uri="{FF2B5EF4-FFF2-40B4-BE49-F238E27FC236}">
                    <a16:creationId xmlns:a16="http://schemas.microsoft.com/office/drawing/2014/main" id="{03D12D90-6236-4F72-73BB-13DBF1B667B0}"/>
                  </a:ext>
                </a:extLst>
              </p:cNvPr>
              <p:cNvSpPr/>
              <p:nvPr/>
            </p:nvSpPr>
            <p:spPr bwMode="gray">
              <a:xfrm>
                <a:off x="8124809" y="5326642"/>
                <a:ext cx="537869" cy="140580"/>
              </a:xfrm>
              <a:custGeom>
                <a:avLst/>
                <a:gdLst>
                  <a:gd name="connsiteX0" fmla="*/ 705755 w 716750"/>
                  <a:gd name="connsiteY0" fmla="*/ 18326 h 187332"/>
                  <a:gd name="connsiteX1" fmla="*/ 323759 w 716750"/>
                  <a:gd name="connsiteY1" fmla="*/ 155160 h 187332"/>
                  <a:gd name="connsiteX2" fmla="*/ 18326 w 716750"/>
                  <a:gd name="connsiteY2" fmla="*/ 163305 h 187332"/>
                  <a:gd name="connsiteX3" fmla="*/ 18326 w 716750"/>
                  <a:gd name="connsiteY3" fmla="*/ 163305 h 187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6750" h="187332">
                    <a:moveTo>
                      <a:pt x="705755" y="18326"/>
                    </a:moveTo>
                    <a:cubicBezTo>
                      <a:pt x="551816" y="92445"/>
                      <a:pt x="421498" y="133169"/>
                      <a:pt x="323759" y="155160"/>
                    </a:cubicBezTo>
                    <a:cubicBezTo>
                      <a:pt x="223577" y="177966"/>
                      <a:pt x="120137" y="180409"/>
                      <a:pt x="18326" y="163305"/>
                    </a:cubicBezTo>
                    <a:lnTo>
                      <a:pt x="18326" y="163305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7" name="Freihandform: Form 148">
                <a:extLst>
                  <a:ext uri="{FF2B5EF4-FFF2-40B4-BE49-F238E27FC236}">
                    <a16:creationId xmlns:a16="http://schemas.microsoft.com/office/drawing/2014/main" id="{6A78075A-9A5C-F443-3903-82F1DDA7828A}"/>
                  </a:ext>
                </a:extLst>
              </p:cNvPr>
              <p:cNvSpPr/>
              <p:nvPr/>
            </p:nvSpPr>
            <p:spPr bwMode="gray">
              <a:xfrm>
                <a:off x="8338735" y="5596798"/>
                <a:ext cx="97794" cy="195589"/>
              </a:xfrm>
              <a:custGeom>
                <a:avLst/>
                <a:gdLst>
                  <a:gd name="connsiteX0" fmla="*/ 117694 w 130318"/>
                  <a:gd name="connsiteY0" fmla="*/ 42761 h 260636"/>
                  <a:gd name="connsiteX1" fmla="*/ 117694 w 130318"/>
                  <a:gd name="connsiteY1" fmla="*/ 247198 h 260636"/>
                  <a:gd name="connsiteX2" fmla="*/ 18326 w 130318"/>
                  <a:gd name="connsiteY2" fmla="*/ 247198 h 260636"/>
                  <a:gd name="connsiteX3" fmla="*/ 18326 w 130318"/>
                  <a:gd name="connsiteY3" fmla="*/ 18326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260636">
                    <a:moveTo>
                      <a:pt x="117694" y="42761"/>
                    </a:moveTo>
                    <a:lnTo>
                      <a:pt x="117694" y="247198"/>
                    </a:lnTo>
                    <a:lnTo>
                      <a:pt x="18326" y="247198"/>
                    </a:ln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8" name="Freihandform: Form 149">
                <a:extLst>
                  <a:ext uri="{FF2B5EF4-FFF2-40B4-BE49-F238E27FC236}">
                    <a16:creationId xmlns:a16="http://schemas.microsoft.com/office/drawing/2014/main" id="{9895C9B3-25D4-B3B2-D0DE-B1E4A9C1A954}"/>
                  </a:ext>
                </a:extLst>
              </p:cNvPr>
              <p:cNvSpPr/>
              <p:nvPr/>
            </p:nvSpPr>
            <p:spPr bwMode="gray">
              <a:xfrm>
                <a:off x="8640675" y="5303416"/>
                <a:ext cx="79458" cy="446186"/>
              </a:xfrm>
              <a:custGeom>
                <a:avLst/>
                <a:gdLst>
                  <a:gd name="connsiteX0" fmla="*/ 61494 w 105883"/>
                  <a:gd name="connsiteY0" fmla="*/ 581953 h 594577"/>
                  <a:gd name="connsiteX1" fmla="*/ 18326 w 105883"/>
                  <a:gd name="connsiteY1" fmla="*/ 581953 h 594577"/>
                  <a:gd name="connsiteX2" fmla="*/ 18326 w 105883"/>
                  <a:gd name="connsiteY2" fmla="*/ 18326 h 594577"/>
                  <a:gd name="connsiteX3" fmla="*/ 61494 w 105883"/>
                  <a:gd name="connsiteY3" fmla="*/ 18326 h 594577"/>
                  <a:gd name="connsiteX4" fmla="*/ 94073 w 105883"/>
                  <a:gd name="connsiteY4" fmla="*/ 50906 h 594577"/>
                  <a:gd name="connsiteX5" fmla="*/ 94073 w 105883"/>
                  <a:gd name="connsiteY5" fmla="*/ 549373 h 594577"/>
                  <a:gd name="connsiteX6" fmla="*/ 61494 w 105883"/>
                  <a:gd name="connsiteY6" fmla="*/ 581953 h 594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5883" h="594577">
                    <a:moveTo>
                      <a:pt x="61494" y="581953"/>
                    </a:moveTo>
                    <a:lnTo>
                      <a:pt x="18326" y="581953"/>
                    </a:lnTo>
                    <a:lnTo>
                      <a:pt x="18326" y="18326"/>
                    </a:lnTo>
                    <a:lnTo>
                      <a:pt x="61494" y="18326"/>
                    </a:lnTo>
                    <a:cubicBezTo>
                      <a:pt x="79413" y="18326"/>
                      <a:pt x="94073" y="32987"/>
                      <a:pt x="94073" y="50906"/>
                    </a:cubicBezTo>
                    <a:lnTo>
                      <a:pt x="94073" y="549373"/>
                    </a:lnTo>
                    <a:cubicBezTo>
                      <a:pt x="94073" y="567292"/>
                      <a:pt x="79413" y="581953"/>
                      <a:pt x="61494" y="58195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9" name="Freihandform: Form 150">
                <a:extLst>
                  <a:ext uri="{FF2B5EF4-FFF2-40B4-BE49-F238E27FC236}">
                    <a16:creationId xmlns:a16="http://schemas.microsoft.com/office/drawing/2014/main" id="{2D6FD5AF-ABF4-E8B4-3BF2-ED86C82376B8}"/>
                  </a:ext>
                </a:extLst>
              </p:cNvPr>
              <p:cNvSpPr/>
              <p:nvPr/>
            </p:nvSpPr>
            <p:spPr bwMode="gray">
              <a:xfrm>
                <a:off x="8125421" y="5585273"/>
                <a:ext cx="537869" cy="140580"/>
              </a:xfrm>
              <a:custGeom>
                <a:avLst/>
                <a:gdLst>
                  <a:gd name="connsiteX0" fmla="*/ 704940 w 716750"/>
                  <a:gd name="connsiteY0" fmla="*/ 174591 h 187332"/>
                  <a:gd name="connsiteX1" fmla="*/ 331904 w 716750"/>
                  <a:gd name="connsiteY1" fmla="*/ 39386 h 187332"/>
                  <a:gd name="connsiteX2" fmla="*/ 18326 w 716750"/>
                  <a:gd name="connsiteY2" fmla="*/ 28797 h 187332"/>
                  <a:gd name="connsiteX3" fmla="*/ 18326 w 716750"/>
                  <a:gd name="connsiteY3" fmla="*/ 28797 h 187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6750" h="187332">
                    <a:moveTo>
                      <a:pt x="704940" y="174591"/>
                    </a:moveTo>
                    <a:cubicBezTo>
                      <a:pt x="555074" y="102101"/>
                      <a:pt x="428014" y="62191"/>
                      <a:pt x="331904" y="39386"/>
                    </a:cubicBezTo>
                    <a:cubicBezTo>
                      <a:pt x="229278" y="15765"/>
                      <a:pt x="122581" y="11693"/>
                      <a:pt x="18326" y="28797"/>
                    </a:cubicBezTo>
                    <a:lnTo>
                      <a:pt x="18326" y="28797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0" name="Freihandform: Form 151">
                <a:extLst>
                  <a:ext uri="{FF2B5EF4-FFF2-40B4-BE49-F238E27FC236}">
                    <a16:creationId xmlns:a16="http://schemas.microsoft.com/office/drawing/2014/main" id="{595D3152-1BFF-70FD-6F67-BEF62724CF11}"/>
                  </a:ext>
                </a:extLst>
              </p:cNvPr>
              <p:cNvSpPr/>
              <p:nvPr/>
            </p:nvSpPr>
            <p:spPr bwMode="gray">
              <a:xfrm>
                <a:off x="8071634" y="5415267"/>
                <a:ext cx="79458" cy="226149"/>
              </a:xfrm>
              <a:custGeom>
                <a:avLst/>
                <a:gdLst>
                  <a:gd name="connsiteX0" fmla="*/ 89187 w 105883"/>
                  <a:gd name="connsiteY0" fmla="*/ 283035 h 301361"/>
                  <a:gd name="connsiteX1" fmla="*/ 52535 w 105883"/>
                  <a:gd name="connsiteY1" fmla="*/ 283035 h 301361"/>
                  <a:gd name="connsiteX2" fmla="*/ 18326 w 105883"/>
                  <a:gd name="connsiteY2" fmla="*/ 248827 h 301361"/>
                  <a:gd name="connsiteX3" fmla="*/ 18326 w 105883"/>
                  <a:gd name="connsiteY3" fmla="*/ 52535 h 301361"/>
                  <a:gd name="connsiteX4" fmla="*/ 52535 w 105883"/>
                  <a:gd name="connsiteY4" fmla="*/ 18326 h 301361"/>
                  <a:gd name="connsiteX5" fmla="*/ 89187 w 105883"/>
                  <a:gd name="connsiteY5" fmla="*/ 18326 h 301361"/>
                  <a:gd name="connsiteX6" fmla="*/ 89187 w 105883"/>
                  <a:gd name="connsiteY6" fmla="*/ 283035 h 301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5883" h="301361">
                    <a:moveTo>
                      <a:pt x="89187" y="283035"/>
                    </a:moveTo>
                    <a:lnTo>
                      <a:pt x="52535" y="283035"/>
                    </a:lnTo>
                    <a:cubicBezTo>
                      <a:pt x="33802" y="283035"/>
                      <a:pt x="18326" y="267560"/>
                      <a:pt x="18326" y="248827"/>
                    </a:cubicBezTo>
                    <a:lnTo>
                      <a:pt x="18326" y="52535"/>
                    </a:lnTo>
                    <a:cubicBezTo>
                      <a:pt x="18326" y="33801"/>
                      <a:pt x="33802" y="18326"/>
                      <a:pt x="52535" y="18326"/>
                    </a:cubicBezTo>
                    <a:lnTo>
                      <a:pt x="89187" y="18326"/>
                    </a:lnTo>
                    <a:lnTo>
                      <a:pt x="89187" y="283035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5" name="Gruppieren 152">
              <a:extLst>
                <a:ext uri="{FF2B5EF4-FFF2-40B4-BE49-F238E27FC236}">
                  <a16:creationId xmlns:a16="http://schemas.microsoft.com/office/drawing/2014/main" id="{8872F882-AA25-4F42-700A-300D1E880F5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4363116" y="1676645"/>
              <a:ext cx="442498" cy="390279"/>
              <a:chOff x="8797658" y="7629428"/>
              <a:chExt cx="712335" cy="628274"/>
            </a:xfrm>
          </p:grpSpPr>
          <p:sp>
            <p:nvSpPr>
              <p:cNvPr id="61" name="Freihandform: Form 153">
                <a:extLst>
                  <a:ext uri="{FF2B5EF4-FFF2-40B4-BE49-F238E27FC236}">
                    <a16:creationId xmlns:a16="http://schemas.microsoft.com/office/drawing/2014/main" id="{25319030-2B7E-580C-FDB2-F491361149F3}"/>
                  </a:ext>
                </a:extLst>
              </p:cNvPr>
              <p:cNvSpPr/>
              <p:nvPr/>
            </p:nvSpPr>
            <p:spPr bwMode="gray">
              <a:xfrm>
                <a:off x="9030736" y="7823205"/>
                <a:ext cx="92795" cy="141921"/>
              </a:xfrm>
              <a:custGeom>
                <a:avLst/>
                <a:gdLst>
                  <a:gd name="connsiteX0" fmla="*/ 12282 w 92794"/>
                  <a:gd name="connsiteY0" fmla="*/ 132369 h 141921"/>
                  <a:gd name="connsiteX1" fmla="*/ 12282 w 92794"/>
                  <a:gd name="connsiteY1" fmla="*/ 12282 h 141921"/>
                  <a:gd name="connsiteX2" fmla="*/ 82150 w 92794"/>
                  <a:gd name="connsiteY2" fmla="*/ 12282 h 141921"/>
                  <a:gd name="connsiteX3" fmla="*/ 82150 w 92794"/>
                  <a:gd name="connsiteY3" fmla="*/ 132369 h 141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794" h="141921">
                    <a:moveTo>
                      <a:pt x="12282" y="132369"/>
                    </a:moveTo>
                    <a:lnTo>
                      <a:pt x="12282" y="12282"/>
                    </a:lnTo>
                    <a:lnTo>
                      <a:pt x="82150" y="12282"/>
                    </a:lnTo>
                    <a:lnTo>
                      <a:pt x="82150" y="13236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2" name="Freihandform: Form 154">
                <a:extLst>
                  <a:ext uri="{FF2B5EF4-FFF2-40B4-BE49-F238E27FC236}">
                    <a16:creationId xmlns:a16="http://schemas.microsoft.com/office/drawing/2014/main" id="{235C5CF7-484A-CA36-78DA-0B7B94F45AB3}"/>
                  </a:ext>
                </a:extLst>
              </p:cNvPr>
              <p:cNvSpPr/>
              <p:nvPr/>
            </p:nvSpPr>
            <p:spPr bwMode="gray">
              <a:xfrm>
                <a:off x="9065671" y="7823205"/>
                <a:ext cx="21834" cy="174672"/>
              </a:xfrm>
              <a:custGeom>
                <a:avLst/>
                <a:gdLst>
                  <a:gd name="connsiteX0" fmla="*/ 12282 w 21834"/>
                  <a:gd name="connsiteY0" fmla="*/ 12282 h 174672"/>
                  <a:gd name="connsiteX1" fmla="*/ 12282 w 21834"/>
                  <a:gd name="connsiteY1" fmla="*/ 165120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174672">
                    <a:moveTo>
                      <a:pt x="12282" y="12282"/>
                    </a:moveTo>
                    <a:lnTo>
                      <a:pt x="12282" y="165120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3" name="Freihandform: Form 155">
                <a:extLst>
                  <a:ext uri="{FF2B5EF4-FFF2-40B4-BE49-F238E27FC236}">
                    <a16:creationId xmlns:a16="http://schemas.microsoft.com/office/drawing/2014/main" id="{B355B21C-B0BD-D60C-2C96-5002D7824A09}"/>
                  </a:ext>
                </a:extLst>
              </p:cNvPr>
              <p:cNvSpPr/>
              <p:nvPr/>
            </p:nvSpPr>
            <p:spPr bwMode="gray">
              <a:xfrm>
                <a:off x="9043836" y="7656720"/>
                <a:ext cx="65502" cy="65502"/>
              </a:xfrm>
              <a:custGeom>
                <a:avLst/>
                <a:gdLst>
                  <a:gd name="connsiteX0" fmla="*/ 55950 w 65502"/>
                  <a:gd name="connsiteY0" fmla="*/ 34116 h 65502"/>
                  <a:gd name="connsiteX1" fmla="*/ 34116 w 65502"/>
                  <a:gd name="connsiteY1" fmla="*/ 55950 h 65502"/>
                  <a:gd name="connsiteX2" fmla="*/ 12282 w 65502"/>
                  <a:gd name="connsiteY2" fmla="*/ 34116 h 65502"/>
                  <a:gd name="connsiteX3" fmla="*/ 34116 w 65502"/>
                  <a:gd name="connsiteY3" fmla="*/ 12282 h 65502"/>
                  <a:gd name="connsiteX4" fmla="*/ 55950 w 65502"/>
                  <a:gd name="connsiteY4" fmla="*/ 34116 h 65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502" h="65502">
                    <a:moveTo>
                      <a:pt x="55950" y="34116"/>
                    </a:moveTo>
                    <a:cubicBezTo>
                      <a:pt x="55950" y="46124"/>
                      <a:pt x="46124" y="55950"/>
                      <a:pt x="34116" y="55950"/>
                    </a:cubicBezTo>
                    <a:cubicBezTo>
                      <a:pt x="22107" y="55950"/>
                      <a:pt x="12282" y="46124"/>
                      <a:pt x="12282" y="34116"/>
                    </a:cubicBezTo>
                    <a:cubicBezTo>
                      <a:pt x="12282" y="22107"/>
                      <a:pt x="22107" y="12282"/>
                      <a:pt x="34116" y="12282"/>
                    </a:cubicBezTo>
                    <a:cubicBezTo>
                      <a:pt x="46124" y="12282"/>
                      <a:pt x="55950" y="22107"/>
                      <a:pt x="55950" y="34116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4" name="Freihandform: Form 156">
                <a:extLst>
                  <a:ext uri="{FF2B5EF4-FFF2-40B4-BE49-F238E27FC236}">
                    <a16:creationId xmlns:a16="http://schemas.microsoft.com/office/drawing/2014/main" id="{EA834B4A-DC92-BC1B-C4B0-ABDD36303C87}"/>
                  </a:ext>
                </a:extLst>
              </p:cNvPr>
              <p:cNvSpPr/>
              <p:nvPr/>
            </p:nvSpPr>
            <p:spPr bwMode="gray">
              <a:xfrm>
                <a:off x="9065671" y="7726043"/>
                <a:ext cx="21834" cy="87336"/>
              </a:xfrm>
              <a:custGeom>
                <a:avLst/>
                <a:gdLst>
                  <a:gd name="connsiteX0" fmla="*/ 12282 w 21834"/>
                  <a:gd name="connsiteY0" fmla="*/ 12282 h 87336"/>
                  <a:gd name="connsiteX1" fmla="*/ 12282 w 21834"/>
                  <a:gd name="connsiteY1" fmla="*/ 78875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87336">
                    <a:moveTo>
                      <a:pt x="12282" y="12282"/>
                    </a:moveTo>
                    <a:lnTo>
                      <a:pt x="12282" y="78875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5" name="Freihandform: Form 157">
                <a:extLst>
                  <a:ext uri="{FF2B5EF4-FFF2-40B4-BE49-F238E27FC236}">
                    <a16:creationId xmlns:a16="http://schemas.microsoft.com/office/drawing/2014/main" id="{BD4CE683-062A-C30C-5C7F-BA60B2448AEF}"/>
                  </a:ext>
                </a:extLst>
              </p:cNvPr>
              <p:cNvSpPr/>
              <p:nvPr/>
            </p:nvSpPr>
            <p:spPr bwMode="gray">
              <a:xfrm>
                <a:off x="9030736" y="7770803"/>
                <a:ext cx="92795" cy="76419"/>
              </a:xfrm>
              <a:custGeom>
                <a:avLst/>
                <a:gdLst>
                  <a:gd name="connsiteX0" fmla="*/ 12282 w 92794"/>
                  <a:gd name="connsiteY0" fmla="*/ 12282 h 76419"/>
                  <a:gd name="connsiteX1" fmla="*/ 12282 w 92794"/>
                  <a:gd name="connsiteY1" fmla="*/ 64683 h 76419"/>
                  <a:gd name="connsiteX2" fmla="*/ 82150 w 92794"/>
                  <a:gd name="connsiteY2" fmla="*/ 64683 h 76419"/>
                  <a:gd name="connsiteX3" fmla="*/ 82150 w 92794"/>
                  <a:gd name="connsiteY3" fmla="*/ 12282 h 76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794" h="76419">
                    <a:moveTo>
                      <a:pt x="12282" y="12282"/>
                    </a:moveTo>
                    <a:lnTo>
                      <a:pt x="12282" y="64683"/>
                    </a:lnTo>
                    <a:lnTo>
                      <a:pt x="82150" y="64683"/>
                    </a:lnTo>
                    <a:lnTo>
                      <a:pt x="82150" y="12282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6" name="Freihandform: Form 158">
                <a:extLst>
                  <a:ext uri="{FF2B5EF4-FFF2-40B4-BE49-F238E27FC236}">
                    <a16:creationId xmlns:a16="http://schemas.microsoft.com/office/drawing/2014/main" id="{01888448-A7B1-4F7E-A7DD-DFE88E5F0B24}"/>
                  </a:ext>
                </a:extLst>
              </p:cNvPr>
              <p:cNvSpPr/>
              <p:nvPr/>
            </p:nvSpPr>
            <p:spPr bwMode="gray">
              <a:xfrm>
                <a:off x="8957592" y="7682375"/>
                <a:ext cx="169214" cy="87336"/>
              </a:xfrm>
              <a:custGeom>
                <a:avLst/>
                <a:gdLst>
                  <a:gd name="connsiteX0" fmla="*/ 158570 w 169213"/>
                  <a:gd name="connsiteY0" fmla="*/ 55950 h 87336"/>
                  <a:gd name="connsiteX1" fmla="*/ 101801 w 169213"/>
                  <a:gd name="connsiteY1" fmla="*/ 55950 h 87336"/>
                  <a:gd name="connsiteX2" fmla="*/ 66867 w 169213"/>
                  <a:gd name="connsiteY2" fmla="*/ 69596 h 87336"/>
                  <a:gd name="connsiteX3" fmla="*/ 66867 w 169213"/>
                  <a:gd name="connsiteY3" fmla="*/ 69596 h 87336"/>
                  <a:gd name="connsiteX4" fmla="*/ 32478 w 169213"/>
                  <a:gd name="connsiteY4" fmla="*/ 61954 h 87336"/>
                  <a:gd name="connsiteX5" fmla="*/ 12282 w 169213"/>
                  <a:gd name="connsiteY5" fmla="*/ 12282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9213" h="87336">
                    <a:moveTo>
                      <a:pt x="158570" y="55950"/>
                    </a:moveTo>
                    <a:lnTo>
                      <a:pt x="101801" y="55950"/>
                    </a:lnTo>
                    <a:cubicBezTo>
                      <a:pt x="88701" y="55950"/>
                      <a:pt x="76146" y="60862"/>
                      <a:pt x="66867" y="69596"/>
                    </a:cubicBezTo>
                    <a:lnTo>
                      <a:pt x="66867" y="69596"/>
                    </a:lnTo>
                    <a:cubicBezTo>
                      <a:pt x="55950" y="79967"/>
                      <a:pt x="37937" y="76146"/>
                      <a:pt x="32478" y="61954"/>
                    </a:cubicBezTo>
                    <a:lnTo>
                      <a:pt x="12282" y="12282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7" name="Freihandform: Form 159">
                <a:extLst>
                  <a:ext uri="{FF2B5EF4-FFF2-40B4-BE49-F238E27FC236}">
                    <a16:creationId xmlns:a16="http://schemas.microsoft.com/office/drawing/2014/main" id="{564B1CCB-583D-84D2-C1FF-45BB85D1DC13}"/>
                  </a:ext>
                </a:extLst>
              </p:cNvPr>
              <p:cNvSpPr/>
              <p:nvPr/>
            </p:nvSpPr>
            <p:spPr bwMode="gray">
              <a:xfrm>
                <a:off x="9103880" y="7726043"/>
                <a:ext cx="49127" cy="120087"/>
              </a:xfrm>
              <a:custGeom>
                <a:avLst/>
                <a:gdLst>
                  <a:gd name="connsiteX0" fmla="*/ 12282 w 49126"/>
                  <a:gd name="connsiteY0" fmla="*/ 12282 h 120087"/>
                  <a:gd name="connsiteX1" fmla="*/ 12282 w 49126"/>
                  <a:gd name="connsiteY1" fmla="*/ 12282 h 120087"/>
                  <a:gd name="connsiteX2" fmla="*/ 36845 w 49126"/>
                  <a:gd name="connsiteY2" fmla="*/ 41758 h 120087"/>
                  <a:gd name="connsiteX3" fmla="*/ 36845 w 49126"/>
                  <a:gd name="connsiteY3" fmla="*/ 109443 h 120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126" h="120087">
                    <a:moveTo>
                      <a:pt x="12282" y="12282"/>
                    </a:moveTo>
                    <a:lnTo>
                      <a:pt x="12282" y="12282"/>
                    </a:lnTo>
                    <a:cubicBezTo>
                      <a:pt x="28657" y="12282"/>
                      <a:pt x="36845" y="25382"/>
                      <a:pt x="36845" y="41758"/>
                    </a:cubicBezTo>
                    <a:lnTo>
                      <a:pt x="36845" y="109443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8" name="Freihandform: Form 160">
                <a:extLst>
                  <a:ext uri="{FF2B5EF4-FFF2-40B4-BE49-F238E27FC236}">
                    <a16:creationId xmlns:a16="http://schemas.microsoft.com/office/drawing/2014/main" id="{8EE81A2F-EED7-2CCE-648C-8670F3F7301B}"/>
                  </a:ext>
                </a:extLst>
              </p:cNvPr>
              <p:cNvSpPr/>
              <p:nvPr/>
            </p:nvSpPr>
            <p:spPr bwMode="gray">
              <a:xfrm>
                <a:off x="8797658" y="7900170"/>
                <a:ext cx="447597" cy="262008"/>
              </a:xfrm>
              <a:custGeom>
                <a:avLst/>
                <a:gdLst>
                  <a:gd name="connsiteX0" fmla="*/ 12282 w 447597"/>
                  <a:gd name="connsiteY0" fmla="*/ 189137 h 262008"/>
                  <a:gd name="connsiteX1" fmla="*/ 204967 w 447597"/>
                  <a:gd name="connsiteY1" fmla="*/ 12282 h 262008"/>
                  <a:gd name="connsiteX2" fmla="*/ 438045 w 447597"/>
                  <a:gd name="connsiteY2" fmla="*/ 253548 h 262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7597" h="262008">
                    <a:moveTo>
                      <a:pt x="12282" y="189137"/>
                    </a:moveTo>
                    <a:lnTo>
                      <a:pt x="204967" y="12282"/>
                    </a:lnTo>
                    <a:lnTo>
                      <a:pt x="438045" y="253548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9" name="Freihandform: Form 161">
                <a:extLst>
                  <a:ext uri="{FF2B5EF4-FFF2-40B4-BE49-F238E27FC236}">
                    <a16:creationId xmlns:a16="http://schemas.microsoft.com/office/drawing/2014/main" id="{D8A54E3A-8205-253A-EC04-BFB7218B9BA3}"/>
                  </a:ext>
                </a:extLst>
              </p:cNvPr>
              <p:cNvSpPr/>
              <p:nvPr/>
            </p:nvSpPr>
            <p:spPr bwMode="gray">
              <a:xfrm>
                <a:off x="9062396" y="7779537"/>
                <a:ext cx="447597" cy="251091"/>
              </a:xfrm>
              <a:custGeom>
                <a:avLst/>
                <a:gdLst>
                  <a:gd name="connsiteX0" fmla="*/ 12282 w 447597"/>
                  <a:gd name="connsiteY0" fmla="*/ 211517 h 251091"/>
                  <a:gd name="connsiteX1" fmla="*/ 222980 w 447597"/>
                  <a:gd name="connsiteY1" fmla="*/ 12282 h 251091"/>
                  <a:gd name="connsiteX2" fmla="*/ 438591 w 447597"/>
                  <a:gd name="connsiteY2" fmla="*/ 242085 h 251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7597" h="251091">
                    <a:moveTo>
                      <a:pt x="12282" y="211517"/>
                    </a:moveTo>
                    <a:lnTo>
                      <a:pt x="222980" y="12282"/>
                    </a:lnTo>
                    <a:lnTo>
                      <a:pt x="438591" y="24208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0" name="Freihandform: Form 162">
                <a:extLst>
                  <a:ext uri="{FF2B5EF4-FFF2-40B4-BE49-F238E27FC236}">
                    <a16:creationId xmlns:a16="http://schemas.microsoft.com/office/drawing/2014/main" id="{38A1A52F-A498-8E31-72B0-AA762EB7C947}"/>
                  </a:ext>
                </a:extLst>
              </p:cNvPr>
              <p:cNvSpPr/>
              <p:nvPr/>
            </p:nvSpPr>
            <p:spPr bwMode="gray">
              <a:xfrm>
                <a:off x="9223421" y="7924733"/>
                <a:ext cx="21834" cy="332969"/>
              </a:xfrm>
              <a:custGeom>
                <a:avLst/>
                <a:gdLst>
                  <a:gd name="connsiteX0" fmla="*/ 12282 w 21834"/>
                  <a:gd name="connsiteY0" fmla="*/ 12282 h 332968"/>
                  <a:gd name="connsiteX1" fmla="*/ 12282 w 21834"/>
                  <a:gd name="connsiteY1" fmla="*/ 325054 h 332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32968">
                    <a:moveTo>
                      <a:pt x="12282" y="12282"/>
                    </a:moveTo>
                    <a:lnTo>
                      <a:pt x="12282" y="325054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1" name="Freihandform: Form 163">
                <a:extLst>
                  <a:ext uri="{FF2B5EF4-FFF2-40B4-BE49-F238E27FC236}">
                    <a16:creationId xmlns:a16="http://schemas.microsoft.com/office/drawing/2014/main" id="{5BFBA4E4-2B5A-8435-51DD-AE5AC4B3A67C}"/>
                  </a:ext>
                </a:extLst>
              </p:cNvPr>
              <p:cNvSpPr/>
              <p:nvPr/>
            </p:nvSpPr>
            <p:spPr bwMode="gray">
              <a:xfrm>
                <a:off x="9308574" y="7924733"/>
                <a:ext cx="21834" cy="332969"/>
              </a:xfrm>
              <a:custGeom>
                <a:avLst/>
                <a:gdLst>
                  <a:gd name="connsiteX0" fmla="*/ 12282 w 21834"/>
                  <a:gd name="connsiteY0" fmla="*/ 12282 h 332968"/>
                  <a:gd name="connsiteX1" fmla="*/ 12282 w 21834"/>
                  <a:gd name="connsiteY1" fmla="*/ 325054 h 332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32968">
                    <a:moveTo>
                      <a:pt x="12282" y="12282"/>
                    </a:moveTo>
                    <a:lnTo>
                      <a:pt x="12282" y="325054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2" name="Freihandform: Form 164">
                <a:extLst>
                  <a:ext uri="{FF2B5EF4-FFF2-40B4-BE49-F238E27FC236}">
                    <a16:creationId xmlns:a16="http://schemas.microsoft.com/office/drawing/2014/main" id="{09880B39-BD16-8CE0-6528-8952C9EEBF3D}"/>
                  </a:ext>
                </a:extLst>
              </p:cNvPr>
              <p:cNvSpPr/>
              <p:nvPr/>
            </p:nvSpPr>
            <p:spPr bwMode="gray">
              <a:xfrm>
                <a:off x="9227788" y="7962943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3" name="Freihandform: Form 165">
                <a:extLst>
                  <a:ext uri="{FF2B5EF4-FFF2-40B4-BE49-F238E27FC236}">
                    <a16:creationId xmlns:a16="http://schemas.microsoft.com/office/drawing/2014/main" id="{295AC6F2-68CB-62E9-F456-E8FD8EA4249D}"/>
                  </a:ext>
                </a:extLst>
              </p:cNvPr>
              <p:cNvSpPr/>
              <p:nvPr/>
            </p:nvSpPr>
            <p:spPr bwMode="gray">
              <a:xfrm>
                <a:off x="9227788" y="8021894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4" name="Freihandform: Form 166">
                <a:extLst>
                  <a:ext uri="{FF2B5EF4-FFF2-40B4-BE49-F238E27FC236}">
                    <a16:creationId xmlns:a16="http://schemas.microsoft.com/office/drawing/2014/main" id="{45B0FAB3-68B4-8E26-9797-562ED89CFAD3}"/>
                  </a:ext>
                </a:extLst>
              </p:cNvPr>
              <p:cNvSpPr/>
              <p:nvPr/>
            </p:nvSpPr>
            <p:spPr bwMode="gray">
              <a:xfrm>
                <a:off x="9227788" y="8080846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5" name="Freihandform: Form 167">
                <a:extLst>
                  <a:ext uri="{FF2B5EF4-FFF2-40B4-BE49-F238E27FC236}">
                    <a16:creationId xmlns:a16="http://schemas.microsoft.com/office/drawing/2014/main" id="{A608F61F-A41E-5644-A6F4-E2782D0E93A4}"/>
                  </a:ext>
                </a:extLst>
              </p:cNvPr>
              <p:cNvSpPr/>
              <p:nvPr/>
            </p:nvSpPr>
            <p:spPr bwMode="gray">
              <a:xfrm>
                <a:off x="9227788" y="8140344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6" name="Freihandform: Form 168">
                <a:extLst>
                  <a:ext uri="{FF2B5EF4-FFF2-40B4-BE49-F238E27FC236}">
                    <a16:creationId xmlns:a16="http://schemas.microsoft.com/office/drawing/2014/main" id="{CCB4D8FA-2EC8-BC00-65D1-503D353BD989}"/>
                  </a:ext>
                </a:extLst>
              </p:cNvPr>
              <p:cNvSpPr/>
              <p:nvPr/>
            </p:nvSpPr>
            <p:spPr bwMode="gray">
              <a:xfrm>
                <a:off x="9227788" y="8199296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7" name="Freihandform: Form 169">
                <a:extLst>
                  <a:ext uri="{FF2B5EF4-FFF2-40B4-BE49-F238E27FC236}">
                    <a16:creationId xmlns:a16="http://schemas.microsoft.com/office/drawing/2014/main" id="{36FF92CC-1531-DA0A-4DD3-C1C0227A921A}"/>
                  </a:ext>
                </a:extLst>
              </p:cNvPr>
              <p:cNvSpPr/>
              <p:nvPr/>
            </p:nvSpPr>
            <p:spPr bwMode="gray">
              <a:xfrm>
                <a:off x="9273094" y="7629428"/>
                <a:ext cx="98253" cy="87336"/>
              </a:xfrm>
              <a:custGeom>
                <a:avLst/>
                <a:gdLst>
                  <a:gd name="connsiteX0" fmla="*/ 12282 w 98253"/>
                  <a:gd name="connsiteY0" fmla="*/ 12282 h 87336"/>
                  <a:gd name="connsiteX1" fmla="*/ 89246 w 98253"/>
                  <a:gd name="connsiteY1" fmla="*/ 12282 h 87336"/>
                  <a:gd name="connsiteX2" fmla="*/ 89246 w 98253"/>
                  <a:gd name="connsiteY2" fmla="*/ 79967 h 87336"/>
                  <a:gd name="connsiteX3" fmla="*/ 12282 w 98253"/>
                  <a:gd name="connsiteY3" fmla="*/ 79967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53" h="87336">
                    <a:moveTo>
                      <a:pt x="12282" y="12282"/>
                    </a:moveTo>
                    <a:lnTo>
                      <a:pt x="89246" y="12282"/>
                    </a:lnTo>
                    <a:lnTo>
                      <a:pt x="89246" y="79967"/>
                    </a:lnTo>
                    <a:lnTo>
                      <a:pt x="12282" y="7996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8" name="Freihandform: Form 170">
                <a:extLst>
                  <a:ext uri="{FF2B5EF4-FFF2-40B4-BE49-F238E27FC236}">
                    <a16:creationId xmlns:a16="http://schemas.microsoft.com/office/drawing/2014/main" id="{301B466A-9F17-AC7E-8F7A-0DD6657DB3BD}"/>
                  </a:ext>
                </a:extLst>
              </p:cNvPr>
              <p:cNvSpPr/>
              <p:nvPr/>
            </p:nvSpPr>
            <p:spPr bwMode="gray">
              <a:xfrm>
                <a:off x="9350059" y="7663271"/>
                <a:ext cx="98253" cy="87336"/>
              </a:xfrm>
              <a:custGeom>
                <a:avLst/>
                <a:gdLst>
                  <a:gd name="connsiteX0" fmla="*/ 12282 w 98253"/>
                  <a:gd name="connsiteY0" fmla="*/ 12282 h 87336"/>
                  <a:gd name="connsiteX1" fmla="*/ 89247 w 98253"/>
                  <a:gd name="connsiteY1" fmla="*/ 12282 h 87336"/>
                  <a:gd name="connsiteX2" fmla="*/ 89247 w 98253"/>
                  <a:gd name="connsiteY2" fmla="*/ 79967 h 87336"/>
                  <a:gd name="connsiteX3" fmla="*/ 12282 w 98253"/>
                  <a:gd name="connsiteY3" fmla="*/ 79967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53" h="87336">
                    <a:moveTo>
                      <a:pt x="12282" y="12282"/>
                    </a:moveTo>
                    <a:lnTo>
                      <a:pt x="89247" y="12282"/>
                    </a:lnTo>
                    <a:lnTo>
                      <a:pt x="89247" y="79967"/>
                    </a:lnTo>
                    <a:lnTo>
                      <a:pt x="12282" y="7996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9" name="Freihandform: Form 171">
                <a:extLst>
                  <a:ext uri="{FF2B5EF4-FFF2-40B4-BE49-F238E27FC236}">
                    <a16:creationId xmlns:a16="http://schemas.microsoft.com/office/drawing/2014/main" id="{DE6E8ED5-4098-B867-A25C-5884D17FB746}"/>
                  </a:ext>
                </a:extLst>
              </p:cNvPr>
              <p:cNvSpPr/>
              <p:nvPr/>
            </p:nvSpPr>
            <p:spPr bwMode="gray">
              <a:xfrm>
                <a:off x="9273094" y="7629428"/>
                <a:ext cx="21834" cy="174672"/>
              </a:xfrm>
              <a:custGeom>
                <a:avLst/>
                <a:gdLst>
                  <a:gd name="connsiteX0" fmla="*/ 12282 w 21834"/>
                  <a:gd name="connsiteY0" fmla="*/ 162390 h 174672"/>
                  <a:gd name="connsiteX1" fmla="*/ 12282 w 21834"/>
                  <a:gd name="connsiteY1" fmla="*/ 12282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174672">
                    <a:moveTo>
                      <a:pt x="12282" y="162390"/>
                    </a:moveTo>
                    <a:lnTo>
                      <a:pt x="12282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6" name="Gruppieren 174">
              <a:extLst>
                <a:ext uri="{FF2B5EF4-FFF2-40B4-BE49-F238E27FC236}">
                  <a16:creationId xmlns:a16="http://schemas.microsoft.com/office/drawing/2014/main" id="{286DA8C0-E6E1-8BFC-B825-E353CDB1D4B3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1006530" y="4761255"/>
              <a:ext cx="474967" cy="430310"/>
              <a:chOff x="8663730" y="8525169"/>
              <a:chExt cx="716156" cy="648821"/>
            </a:xfrm>
          </p:grpSpPr>
          <p:sp>
            <p:nvSpPr>
              <p:cNvPr id="48" name="Freihandform: Form 175">
                <a:extLst>
                  <a:ext uri="{FF2B5EF4-FFF2-40B4-BE49-F238E27FC236}">
                    <a16:creationId xmlns:a16="http://schemas.microsoft.com/office/drawing/2014/main" id="{2C1F0C23-2E13-2A0C-287B-3C4F0EDB1C90}"/>
                  </a:ext>
                </a:extLst>
              </p:cNvPr>
              <p:cNvSpPr/>
              <p:nvPr/>
            </p:nvSpPr>
            <p:spPr bwMode="gray">
              <a:xfrm>
                <a:off x="8855869" y="8911268"/>
                <a:ext cx="360261" cy="114629"/>
              </a:xfrm>
              <a:custGeom>
                <a:avLst/>
                <a:gdLst>
                  <a:gd name="connsiteX0" fmla="*/ 205708 w 360261"/>
                  <a:gd name="connsiteY0" fmla="*/ 107623 h 114628"/>
                  <a:gd name="connsiteX1" fmla="*/ 239005 w 360261"/>
                  <a:gd name="connsiteY1" fmla="*/ 107623 h 114628"/>
                  <a:gd name="connsiteX2" fmla="*/ 327978 w 360261"/>
                  <a:gd name="connsiteY2" fmla="*/ 80331 h 114628"/>
                  <a:gd name="connsiteX3" fmla="*/ 352541 w 360261"/>
                  <a:gd name="connsiteY3" fmla="*/ 63955 h 114628"/>
                  <a:gd name="connsiteX4" fmla="*/ 355271 w 360261"/>
                  <a:gd name="connsiteY4" fmla="*/ 51946 h 114628"/>
                  <a:gd name="connsiteX5" fmla="*/ 341078 w 360261"/>
                  <a:gd name="connsiteY5" fmla="*/ 38846 h 114628"/>
                  <a:gd name="connsiteX6" fmla="*/ 302323 w 360261"/>
                  <a:gd name="connsiteY6" fmla="*/ 38300 h 114628"/>
                  <a:gd name="connsiteX7" fmla="*/ 217171 w 360261"/>
                  <a:gd name="connsiteY7" fmla="*/ 41576 h 114628"/>
                  <a:gd name="connsiteX8" fmla="*/ 175140 w 360261"/>
                  <a:gd name="connsiteY8" fmla="*/ 19741 h 114628"/>
                  <a:gd name="connsiteX9" fmla="*/ 7018 w 360261"/>
                  <a:gd name="connsiteY9" fmla="*/ 40483 h 114628"/>
                  <a:gd name="connsiteX10" fmla="*/ 7018 w 360261"/>
                  <a:gd name="connsiteY10" fmla="*/ 40483 h 11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0261" h="114628">
                    <a:moveTo>
                      <a:pt x="205708" y="107623"/>
                    </a:moveTo>
                    <a:lnTo>
                      <a:pt x="239005" y="107623"/>
                    </a:lnTo>
                    <a:cubicBezTo>
                      <a:pt x="270664" y="107623"/>
                      <a:pt x="301777" y="98343"/>
                      <a:pt x="327978" y="80331"/>
                    </a:cubicBezTo>
                    <a:lnTo>
                      <a:pt x="352541" y="63955"/>
                    </a:lnTo>
                    <a:cubicBezTo>
                      <a:pt x="356362" y="61226"/>
                      <a:pt x="358000" y="55768"/>
                      <a:pt x="355271" y="51946"/>
                    </a:cubicBezTo>
                    <a:cubicBezTo>
                      <a:pt x="351450" y="45942"/>
                      <a:pt x="346537" y="42121"/>
                      <a:pt x="341078" y="38846"/>
                    </a:cubicBezTo>
                    <a:cubicBezTo>
                      <a:pt x="329070" y="31750"/>
                      <a:pt x="314332" y="32296"/>
                      <a:pt x="302323" y="38300"/>
                    </a:cubicBezTo>
                    <a:cubicBezTo>
                      <a:pt x="257018" y="60134"/>
                      <a:pt x="217171" y="41576"/>
                      <a:pt x="217171" y="41576"/>
                    </a:cubicBezTo>
                    <a:cubicBezTo>
                      <a:pt x="202433" y="32296"/>
                      <a:pt x="188786" y="25200"/>
                      <a:pt x="175140" y="19741"/>
                    </a:cubicBezTo>
                    <a:cubicBezTo>
                      <a:pt x="119463" y="-3185"/>
                      <a:pt x="55599" y="5549"/>
                      <a:pt x="7018" y="40483"/>
                    </a:cubicBezTo>
                    <a:lnTo>
                      <a:pt x="7018" y="40483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9" name="Freihandform: Form 176">
                <a:extLst>
                  <a:ext uri="{FF2B5EF4-FFF2-40B4-BE49-F238E27FC236}">
                    <a16:creationId xmlns:a16="http://schemas.microsoft.com/office/drawing/2014/main" id="{2FCA1D6E-F1A4-7384-7056-3913E5F75F2E}"/>
                  </a:ext>
                </a:extLst>
              </p:cNvPr>
              <p:cNvSpPr/>
              <p:nvPr/>
            </p:nvSpPr>
            <p:spPr bwMode="gray">
              <a:xfrm>
                <a:off x="8855869" y="8898661"/>
                <a:ext cx="524017" cy="174672"/>
              </a:xfrm>
              <a:custGeom>
                <a:avLst/>
                <a:gdLst>
                  <a:gd name="connsiteX0" fmla="*/ 7018 w 524016"/>
                  <a:gd name="connsiteY0" fmla="*/ 169902 h 174672"/>
                  <a:gd name="connsiteX1" fmla="*/ 213895 w 524016"/>
                  <a:gd name="connsiteY1" fmla="*/ 162806 h 174672"/>
                  <a:gd name="connsiteX2" fmla="*/ 313786 w 524016"/>
                  <a:gd name="connsiteY2" fmla="*/ 140972 h 174672"/>
                  <a:gd name="connsiteX3" fmla="*/ 514113 w 524016"/>
                  <a:gd name="connsiteY3" fmla="*/ 35077 h 174672"/>
                  <a:gd name="connsiteX4" fmla="*/ 516842 w 524016"/>
                  <a:gd name="connsiteY4" fmla="*/ 23068 h 174672"/>
                  <a:gd name="connsiteX5" fmla="*/ 460620 w 524016"/>
                  <a:gd name="connsiteY5" fmla="*/ 9967 h 174672"/>
                  <a:gd name="connsiteX6" fmla="*/ 449703 w 524016"/>
                  <a:gd name="connsiteY6" fmla="*/ 13789 h 174672"/>
                  <a:gd name="connsiteX7" fmla="*/ 348720 w 524016"/>
                  <a:gd name="connsiteY7" fmla="*/ 56911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4016" h="174672">
                    <a:moveTo>
                      <a:pt x="7018" y="169902"/>
                    </a:moveTo>
                    <a:cubicBezTo>
                      <a:pt x="7018" y="169902"/>
                      <a:pt x="82345" y="155164"/>
                      <a:pt x="213895" y="162806"/>
                    </a:cubicBezTo>
                    <a:cubicBezTo>
                      <a:pt x="248830" y="164989"/>
                      <a:pt x="283218" y="156801"/>
                      <a:pt x="313786" y="140972"/>
                    </a:cubicBezTo>
                    <a:lnTo>
                      <a:pt x="514113" y="35077"/>
                    </a:lnTo>
                    <a:cubicBezTo>
                      <a:pt x="518480" y="32894"/>
                      <a:pt x="519572" y="26889"/>
                      <a:pt x="516842" y="23068"/>
                    </a:cubicBezTo>
                    <a:cubicBezTo>
                      <a:pt x="509746" y="13789"/>
                      <a:pt x="493371" y="1234"/>
                      <a:pt x="460620" y="9967"/>
                    </a:cubicBezTo>
                    <a:cubicBezTo>
                      <a:pt x="456799" y="11059"/>
                      <a:pt x="453524" y="12151"/>
                      <a:pt x="449703" y="13789"/>
                    </a:cubicBezTo>
                    <a:lnTo>
                      <a:pt x="348720" y="56911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0" name="Freihandform: Form 177">
                <a:extLst>
                  <a:ext uri="{FF2B5EF4-FFF2-40B4-BE49-F238E27FC236}">
                    <a16:creationId xmlns:a16="http://schemas.microsoft.com/office/drawing/2014/main" id="{53B74D0C-FE90-397B-49C4-A1B6B67483AC}"/>
                  </a:ext>
                </a:extLst>
              </p:cNvPr>
              <p:cNvSpPr/>
              <p:nvPr/>
            </p:nvSpPr>
            <p:spPr bwMode="gray">
              <a:xfrm>
                <a:off x="8779996" y="8918533"/>
                <a:ext cx="87336" cy="201965"/>
              </a:xfrm>
              <a:custGeom>
                <a:avLst/>
                <a:gdLst>
                  <a:gd name="connsiteX0" fmla="*/ 7018 w 87336"/>
                  <a:gd name="connsiteY0" fmla="*/ 198066 h 201964"/>
                  <a:gd name="connsiteX1" fmla="*/ 80708 w 87336"/>
                  <a:gd name="connsiteY1" fmla="*/ 198066 h 201964"/>
                  <a:gd name="connsiteX2" fmla="*/ 80708 w 87336"/>
                  <a:gd name="connsiteY2" fmla="*/ 7018 h 201964"/>
                  <a:gd name="connsiteX3" fmla="*/ 7018 w 87336"/>
                  <a:gd name="connsiteY3" fmla="*/ 7018 h 201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7336" h="201964">
                    <a:moveTo>
                      <a:pt x="7018" y="198066"/>
                    </a:moveTo>
                    <a:lnTo>
                      <a:pt x="80708" y="198066"/>
                    </a:lnTo>
                    <a:lnTo>
                      <a:pt x="80708" y="7018"/>
                    </a:lnTo>
                    <a:lnTo>
                      <a:pt x="7018" y="7018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1" name="Freihandform: Form 178">
                <a:extLst>
                  <a:ext uri="{FF2B5EF4-FFF2-40B4-BE49-F238E27FC236}">
                    <a16:creationId xmlns:a16="http://schemas.microsoft.com/office/drawing/2014/main" id="{16C34792-1994-48E2-F244-70B3A0605D5E}"/>
                  </a:ext>
                </a:extLst>
              </p:cNvPr>
              <p:cNvSpPr/>
              <p:nvPr/>
            </p:nvSpPr>
            <p:spPr bwMode="gray">
              <a:xfrm>
                <a:off x="8663730" y="8862855"/>
                <a:ext cx="125546" cy="311135"/>
              </a:xfrm>
              <a:custGeom>
                <a:avLst/>
                <a:gdLst>
                  <a:gd name="connsiteX0" fmla="*/ 7018 w 125545"/>
                  <a:gd name="connsiteY0" fmla="*/ 304507 h 311134"/>
                  <a:gd name="connsiteX1" fmla="*/ 123284 w 125545"/>
                  <a:gd name="connsiteY1" fmla="*/ 304507 h 311134"/>
                  <a:gd name="connsiteX2" fmla="*/ 123284 w 125545"/>
                  <a:gd name="connsiteY2" fmla="*/ 7018 h 311134"/>
                  <a:gd name="connsiteX3" fmla="*/ 7018 w 125545"/>
                  <a:gd name="connsiteY3" fmla="*/ 7018 h 311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5545" h="311134">
                    <a:moveTo>
                      <a:pt x="7018" y="304507"/>
                    </a:moveTo>
                    <a:lnTo>
                      <a:pt x="123284" y="304507"/>
                    </a:lnTo>
                    <a:lnTo>
                      <a:pt x="123284" y="7018"/>
                    </a:lnTo>
                    <a:lnTo>
                      <a:pt x="7018" y="7018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2" name="Freihandform: Form 179">
                <a:extLst>
                  <a:ext uri="{FF2B5EF4-FFF2-40B4-BE49-F238E27FC236}">
                    <a16:creationId xmlns:a16="http://schemas.microsoft.com/office/drawing/2014/main" id="{1FBA7514-9694-B559-D0BA-352095D8E010}"/>
                  </a:ext>
                </a:extLst>
              </p:cNvPr>
              <p:cNvSpPr/>
              <p:nvPr/>
            </p:nvSpPr>
            <p:spPr bwMode="gray">
              <a:xfrm>
                <a:off x="9052024" y="8745147"/>
                <a:ext cx="87336" cy="147380"/>
              </a:xfrm>
              <a:custGeom>
                <a:avLst/>
                <a:gdLst>
                  <a:gd name="connsiteX0" fmla="*/ 12282 w 87336"/>
                  <a:gd name="connsiteY0" fmla="*/ 107260 h 147379"/>
                  <a:gd name="connsiteX1" fmla="*/ 43941 w 87336"/>
                  <a:gd name="connsiteY1" fmla="*/ 138919 h 147379"/>
                  <a:gd name="connsiteX2" fmla="*/ 75601 w 87336"/>
                  <a:gd name="connsiteY2" fmla="*/ 107260 h 147379"/>
                  <a:gd name="connsiteX3" fmla="*/ 43941 w 87336"/>
                  <a:gd name="connsiteY3" fmla="*/ 75600 h 147379"/>
                  <a:gd name="connsiteX4" fmla="*/ 12282 w 87336"/>
                  <a:gd name="connsiteY4" fmla="*/ 43941 h 147379"/>
                  <a:gd name="connsiteX5" fmla="*/ 43941 w 87336"/>
                  <a:gd name="connsiteY5" fmla="*/ 12282 h 147379"/>
                  <a:gd name="connsiteX6" fmla="*/ 75601 w 87336"/>
                  <a:gd name="connsiteY6" fmla="*/ 43941 h 14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7336" h="147379">
                    <a:moveTo>
                      <a:pt x="12282" y="107260"/>
                    </a:moveTo>
                    <a:cubicBezTo>
                      <a:pt x="12282" y="124727"/>
                      <a:pt x="26474" y="138919"/>
                      <a:pt x="43941" y="138919"/>
                    </a:cubicBezTo>
                    <a:cubicBezTo>
                      <a:pt x="61408" y="138919"/>
                      <a:pt x="75601" y="124727"/>
                      <a:pt x="75601" y="107260"/>
                    </a:cubicBezTo>
                    <a:cubicBezTo>
                      <a:pt x="75601" y="89792"/>
                      <a:pt x="62500" y="81604"/>
                      <a:pt x="43941" y="75600"/>
                    </a:cubicBezTo>
                    <a:cubicBezTo>
                      <a:pt x="27565" y="70142"/>
                      <a:pt x="12282" y="61408"/>
                      <a:pt x="12282" y="43941"/>
                    </a:cubicBezTo>
                    <a:cubicBezTo>
                      <a:pt x="12282" y="26474"/>
                      <a:pt x="26474" y="12282"/>
                      <a:pt x="43941" y="12282"/>
                    </a:cubicBezTo>
                    <a:cubicBezTo>
                      <a:pt x="61408" y="12282"/>
                      <a:pt x="75601" y="26474"/>
                      <a:pt x="75601" y="4394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3" name="Freihandform: Form 180">
                <a:extLst>
                  <a:ext uri="{FF2B5EF4-FFF2-40B4-BE49-F238E27FC236}">
                    <a16:creationId xmlns:a16="http://schemas.microsoft.com/office/drawing/2014/main" id="{5378908A-3CD7-C218-E24B-66C8DAE0DD3F}"/>
                  </a:ext>
                </a:extLst>
              </p:cNvPr>
              <p:cNvSpPr/>
              <p:nvPr/>
            </p:nvSpPr>
            <p:spPr bwMode="gray">
              <a:xfrm>
                <a:off x="9083684" y="8727134"/>
                <a:ext cx="21834" cy="38210"/>
              </a:xfrm>
              <a:custGeom>
                <a:avLst/>
                <a:gdLst>
                  <a:gd name="connsiteX0" fmla="*/ 12282 w 21834"/>
                  <a:gd name="connsiteY0" fmla="*/ 12281 h 38209"/>
                  <a:gd name="connsiteX1" fmla="*/ 12282 w 21834"/>
                  <a:gd name="connsiteY1" fmla="*/ 30295 h 3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8209">
                    <a:moveTo>
                      <a:pt x="12282" y="12281"/>
                    </a:moveTo>
                    <a:lnTo>
                      <a:pt x="12282" y="3029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4" name="Freihandform: Form 181">
                <a:extLst>
                  <a:ext uri="{FF2B5EF4-FFF2-40B4-BE49-F238E27FC236}">
                    <a16:creationId xmlns:a16="http://schemas.microsoft.com/office/drawing/2014/main" id="{13B0C4FF-803B-28E0-E847-1C9AA02F20F8}"/>
                  </a:ext>
                </a:extLst>
              </p:cNvPr>
              <p:cNvSpPr/>
              <p:nvPr/>
            </p:nvSpPr>
            <p:spPr bwMode="gray">
              <a:xfrm>
                <a:off x="9083684" y="8871784"/>
                <a:ext cx="21834" cy="38210"/>
              </a:xfrm>
              <a:custGeom>
                <a:avLst/>
                <a:gdLst>
                  <a:gd name="connsiteX0" fmla="*/ 12282 w 21834"/>
                  <a:gd name="connsiteY0" fmla="*/ 12281 h 38209"/>
                  <a:gd name="connsiteX1" fmla="*/ 12282 w 21834"/>
                  <a:gd name="connsiteY1" fmla="*/ 29749 h 3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8209">
                    <a:moveTo>
                      <a:pt x="12282" y="12281"/>
                    </a:moveTo>
                    <a:lnTo>
                      <a:pt x="12282" y="2974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5" name="Freihandform: Form 182">
                <a:extLst>
                  <a:ext uri="{FF2B5EF4-FFF2-40B4-BE49-F238E27FC236}">
                    <a16:creationId xmlns:a16="http://schemas.microsoft.com/office/drawing/2014/main" id="{3D0AC06F-7936-238E-CC89-14ECA6136DA1}"/>
                  </a:ext>
                </a:extLst>
              </p:cNvPr>
              <p:cNvSpPr/>
              <p:nvPr/>
            </p:nvSpPr>
            <p:spPr bwMode="gray">
              <a:xfrm>
                <a:off x="9198858" y="8709121"/>
                <a:ext cx="103712" cy="229257"/>
              </a:xfrm>
              <a:custGeom>
                <a:avLst/>
                <a:gdLst>
                  <a:gd name="connsiteX0" fmla="*/ 64137 w 103711"/>
                  <a:gd name="connsiteY0" fmla="*/ 221888 h 229257"/>
                  <a:gd name="connsiteX1" fmla="*/ 85425 w 103711"/>
                  <a:gd name="connsiteY1" fmla="*/ 94705 h 229257"/>
                  <a:gd name="connsiteX2" fmla="*/ 12282 w 103711"/>
                  <a:gd name="connsiteY2" fmla="*/ 12282 h 229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3711" h="229257">
                    <a:moveTo>
                      <a:pt x="64137" y="221888"/>
                    </a:moveTo>
                    <a:cubicBezTo>
                      <a:pt x="87609" y="193504"/>
                      <a:pt x="108351" y="140011"/>
                      <a:pt x="85425" y="94705"/>
                    </a:cubicBezTo>
                    <a:cubicBezTo>
                      <a:pt x="70688" y="65775"/>
                      <a:pt x="47216" y="36845"/>
                      <a:pt x="12282" y="1228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6" name="Freihandform: Form 183">
                <a:extLst>
                  <a:ext uri="{FF2B5EF4-FFF2-40B4-BE49-F238E27FC236}">
                    <a16:creationId xmlns:a16="http://schemas.microsoft.com/office/drawing/2014/main" id="{4FBFF65C-FB3C-EC76-F17C-E16B054A1B36}"/>
                  </a:ext>
                </a:extLst>
              </p:cNvPr>
              <p:cNvSpPr/>
              <p:nvPr/>
            </p:nvSpPr>
            <p:spPr bwMode="gray">
              <a:xfrm>
                <a:off x="8883582" y="8708575"/>
                <a:ext cx="109170" cy="223799"/>
              </a:xfrm>
              <a:custGeom>
                <a:avLst/>
                <a:gdLst>
                  <a:gd name="connsiteX0" fmla="*/ 97209 w 109170"/>
                  <a:gd name="connsiteY0" fmla="*/ 12282 h 223798"/>
                  <a:gd name="connsiteX1" fmla="*/ 24065 w 109170"/>
                  <a:gd name="connsiteY1" fmla="*/ 94705 h 223798"/>
                  <a:gd name="connsiteX2" fmla="*/ 39895 w 109170"/>
                  <a:gd name="connsiteY2" fmla="*/ 214792 h 223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170" h="223798">
                    <a:moveTo>
                      <a:pt x="97209" y="12282"/>
                    </a:moveTo>
                    <a:cubicBezTo>
                      <a:pt x="61729" y="36845"/>
                      <a:pt x="38803" y="65775"/>
                      <a:pt x="24065" y="94705"/>
                    </a:cubicBezTo>
                    <a:cubicBezTo>
                      <a:pt x="2231" y="136735"/>
                      <a:pt x="12602" y="187500"/>
                      <a:pt x="39895" y="21479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7" name="Freihandform: Form 184">
                <a:extLst>
                  <a:ext uri="{FF2B5EF4-FFF2-40B4-BE49-F238E27FC236}">
                    <a16:creationId xmlns:a16="http://schemas.microsoft.com/office/drawing/2014/main" id="{8C6E00CB-1ED1-241B-EACC-B33DE9B81184}"/>
                  </a:ext>
                </a:extLst>
              </p:cNvPr>
              <p:cNvSpPr/>
              <p:nvPr/>
            </p:nvSpPr>
            <p:spPr bwMode="gray">
              <a:xfrm>
                <a:off x="8920474" y="8619055"/>
                <a:ext cx="349344" cy="114629"/>
              </a:xfrm>
              <a:custGeom>
                <a:avLst/>
                <a:gdLst>
                  <a:gd name="connsiteX0" fmla="*/ 12282 w 349344"/>
                  <a:gd name="connsiteY0" fmla="*/ 107260 h 114628"/>
                  <a:gd name="connsiteX1" fmla="*/ 12282 w 349344"/>
                  <a:gd name="connsiteY1" fmla="*/ 68504 h 114628"/>
                  <a:gd name="connsiteX2" fmla="*/ 68504 w 349344"/>
                  <a:gd name="connsiteY2" fmla="*/ 12282 h 114628"/>
                  <a:gd name="connsiteX3" fmla="*/ 281932 w 349344"/>
                  <a:gd name="connsiteY3" fmla="*/ 12282 h 114628"/>
                  <a:gd name="connsiteX4" fmla="*/ 338155 w 349344"/>
                  <a:gd name="connsiteY4" fmla="*/ 68504 h 114628"/>
                  <a:gd name="connsiteX5" fmla="*/ 338155 w 349344"/>
                  <a:gd name="connsiteY5" fmla="*/ 107260 h 11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9344" h="114628">
                    <a:moveTo>
                      <a:pt x="12282" y="107260"/>
                    </a:moveTo>
                    <a:lnTo>
                      <a:pt x="12282" y="68504"/>
                    </a:lnTo>
                    <a:cubicBezTo>
                      <a:pt x="12282" y="37391"/>
                      <a:pt x="37391" y="12282"/>
                      <a:pt x="68504" y="12282"/>
                    </a:cubicBezTo>
                    <a:lnTo>
                      <a:pt x="281932" y="12282"/>
                    </a:lnTo>
                    <a:cubicBezTo>
                      <a:pt x="313045" y="12282"/>
                      <a:pt x="338155" y="37391"/>
                      <a:pt x="338155" y="68504"/>
                    </a:cubicBezTo>
                    <a:lnTo>
                      <a:pt x="338155" y="10726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8" name="Freihandform: Form 185">
                <a:extLst>
                  <a:ext uri="{FF2B5EF4-FFF2-40B4-BE49-F238E27FC236}">
                    <a16:creationId xmlns:a16="http://schemas.microsoft.com/office/drawing/2014/main" id="{C0FD4CFA-44AF-109A-F6A6-B5DD4EC6FB80}"/>
                  </a:ext>
                </a:extLst>
              </p:cNvPr>
              <p:cNvSpPr/>
              <p:nvPr/>
            </p:nvSpPr>
            <p:spPr bwMode="gray">
              <a:xfrm>
                <a:off x="9030736" y="8525169"/>
                <a:ext cx="81878" cy="81878"/>
              </a:xfrm>
              <a:custGeom>
                <a:avLst/>
                <a:gdLst>
                  <a:gd name="connsiteX0" fmla="*/ 71234 w 81877"/>
                  <a:gd name="connsiteY0" fmla="*/ 41757 h 81877"/>
                  <a:gd name="connsiteX1" fmla="*/ 41758 w 81877"/>
                  <a:gd name="connsiteY1" fmla="*/ 71234 h 81877"/>
                  <a:gd name="connsiteX2" fmla="*/ 12281 w 81877"/>
                  <a:gd name="connsiteY2" fmla="*/ 41757 h 81877"/>
                  <a:gd name="connsiteX3" fmla="*/ 41758 w 81877"/>
                  <a:gd name="connsiteY3" fmla="*/ 12281 h 81877"/>
                  <a:gd name="connsiteX4" fmla="*/ 71234 w 81877"/>
                  <a:gd name="connsiteY4" fmla="*/ 41757 h 81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877" h="81877">
                    <a:moveTo>
                      <a:pt x="71234" y="41757"/>
                    </a:moveTo>
                    <a:cubicBezTo>
                      <a:pt x="71234" y="58036"/>
                      <a:pt x="58037" y="71234"/>
                      <a:pt x="41758" y="71234"/>
                    </a:cubicBezTo>
                    <a:cubicBezTo>
                      <a:pt x="25478" y="71234"/>
                      <a:pt x="12281" y="58037"/>
                      <a:pt x="12281" y="41757"/>
                    </a:cubicBezTo>
                    <a:cubicBezTo>
                      <a:pt x="12281" y="25479"/>
                      <a:pt x="25478" y="12281"/>
                      <a:pt x="41758" y="12281"/>
                    </a:cubicBezTo>
                    <a:cubicBezTo>
                      <a:pt x="58037" y="12281"/>
                      <a:pt x="71234" y="25478"/>
                      <a:pt x="71234" y="41757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9" name="Freihandform: Form 186">
                <a:extLst>
                  <a:ext uri="{FF2B5EF4-FFF2-40B4-BE49-F238E27FC236}">
                    <a16:creationId xmlns:a16="http://schemas.microsoft.com/office/drawing/2014/main" id="{131B7C5F-B3F2-6AC7-752E-5D9FFF694C9F}"/>
                  </a:ext>
                </a:extLst>
              </p:cNvPr>
              <p:cNvSpPr/>
              <p:nvPr/>
            </p:nvSpPr>
            <p:spPr bwMode="gray">
              <a:xfrm>
                <a:off x="9107155" y="8525169"/>
                <a:ext cx="49127" cy="81878"/>
              </a:xfrm>
              <a:custGeom>
                <a:avLst/>
                <a:gdLst>
                  <a:gd name="connsiteX0" fmla="*/ 12282 w 49126"/>
                  <a:gd name="connsiteY0" fmla="*/ 12282 h 81877"/>
                  <a:gd name="connsiteX1" fmla="*/ 41757 w 49126"/>
                  <a:gd name="connsiteY1" fmla="*/ 41758 h 81877"/>
                  <a:gd name="connsiteX2" fmla="*/ 12282 w 49126"/>
                  <a:gd name="connsiteY2" fmla="*/ 71234 h 81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126" h="81877">
                    <a:moveTo>
                      <a:pt x="12282" y="12282"/>
                    </a:moveTo>
                    <a:cubicBezTo>
                      <a:pt x="28657" y="12282"/>
                      <a:pt x="41757" y="25382"/>
                      <a:pt x="41757" y="41758"/>
                    </a:cubicBezTo>
                    <a:cubicBezTo>
                      <a:pt x="41757" y="58133"/>
                      <a:pt x="28657" y="71234"/>
                      <a:pt x="12282" y="71234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0" name="Freihandform: Form 187">
                <a:extLst>
                  <a:ext uri="{FF2B5EF4-FFF2-40B4-BE49-F238E27FC236}">
                    <a16:creationId xmlns:a16="http://schemas.microsoft.com/office/drawing/2014/main" id="{27B08D01-A4E2-B7EE-C6BD-32BB2313D96A}"/>
                  </a:ext>
                </a:extLst>
              </p:cNvPr>
              <p:cNvSpPr/>
              <p:nvPr/>
            </p:nvSpPr>
            <p:spPr bwMode="gray">
              <a:xfrm>
                <a:off x="8971784" y="8668728"/>
                <a:ext cx="245633" cy="21834"/>
              </a:xfrm>
              <a:custGeom>
                <a:avLst/>
                <a:gdLst>
                  <a:gd name="connsiteX0" fmla="*/ 12282 w 245632"/>
                  <a:gd name="connsiteY0" fmla="*/ 12282 h 21834"/>
                  <a:gd name="connsiteX1" fmla="*/ 236080 w 245632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632" h="21834">
                    <a:moveTo>
                      <a:pt x="12282" y="12282"/>
                    </a:moveTo>
                    <a:lnTo>
                      <a:pt x="236080" y="12282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7" name="Gruppieren 188">
              <a:extLst>
                <a:ext uri="{FF2B5EF4-FFF2-40B4-BE49-F238E27FC236}">
                  <a16:creationId xmlns:a16="http://schemas.microsoft.com/office/drawing/2014/main" id="{E5004FEF-1CB9-75AE-521A-250C7EEA12F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5505450" y="4751731"/>
              <a:ext cx="429848" cy="500110"/>
              <a:chOff x="3034366" y="4089085"/>
              <a:chExt cx="619260" cy="720479"/>
            </a:xfrm>
          </p:grpSpPr>
          <p:sp>
            <p:nvSpPr>
              <p:cNvPr id="28" name="Freihandform: Form 189">
                <a:extLst>
                  <a:ext uri="{FF2B5EF4-FFF2-40B4-BE49-F238E27FC236}">
                    <a16:creationId xmlns:a16="http://schemas.microsoft.com/office/drawing/2014/main" id="{72F8F7BA-E28E-ABA6-B7EB-E63B84C6EAAE}"/>
                  </a:ext>
                </a:extLst>
              </p:cNvPr>
              <p:cNvSpPr/>
              <p:nvPr/>
            </p:nvSpPr>
            <p:spPr bwMode="gray">
              <a:xfrm>
                <a:off x="3136154" y="4089085"/>
                <a:ext cx="420801" cy="420801"/>
              </a:xfrm>
              <a:custGeom>
                <a:avLst/>
                <a:gdLst>
                  <a:gd name="connsiteX0" fmla="*/ 585211 w 602722"/>
                  <a:gd name="connsiteY0" fmla="*/ 301768 h 602722"/>
                  <a:gd name="connsiteX1" fmla="*/ 301768 w 602722"/>
                  <a:gd name="connsiteY1" fmla="*/ 585211 h 602722"/>
                  <a:gd name="connsiteX2" fmla="*/ 18326 w 602722"/>
                  <a:gd name="connsiteY2" fmla="*/ 301768 h 602722"/>
                  <a:gd name="connsiteX3" fmla="*/ 301768 w 602722"/>
                  <a:gd name="connsiteY3" fmla="*/ 18326 h 602722"/>
                  <a:gd name="connsiteX4" fmla="*/ 585211 w 602722"/>
                  <a:gd name="connsiteY4" fmla="*/ 301768 h 602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2722" h="602722">
                    <a:moveTo>
                      <a:pt x="585211" y="301768"/>
                    </a:moveTo>
                    <a:cubicBezTo>
                      <a:pt x="585211" y="458309"/>
                      <a:pt x="458309" y="585211"/>
                      <a:pt x="301768" y="585211"/>
                    </a:cubicBezTo>
                    <a:cubicBezTo>
                      <a:pt x="145228" y="585211"/>
                      <a:pt x="18326" y="458309"/>
                      <a:pt x="18326" y="301768"/>
                    </a:cubicBezTo>
                    <a:cubicBezTo>
                      <a:pt x="18326" y="145227"/>
                      <a:pt x="145228" y="18326"/>
                      <a:pt x="301768" y="18326"/>
                    </a:cubicBezTo>
                    <a:cubicBezTo>
                      <a:pt x="458309" y="18326"/>
                      <a:pt x="585211" y="145227"/>
                      <a:pt x="585211" y="301768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9" name="Freihandform: Form 190">
                <a:extLst>
                  <a:ext uri="{FF2B5EF4-FFF2-40B4-BE49-F238E27FC236}">
                    <a16:creationId xmlns:a16="http://schemas.microsoft.com/office/drawing/2014/main" id="{9CDF5512-B185-06AD-4E3D-8F384B0E58B2}"/>
                  </a:ext>
                </a:extLst>
              </p:cNvPr>
              <p:cNvSpPr/>
              <p:nvPr/>
            </p:nvSpPr>
            <p:spPr bwMode="gray">
              <a:xfrm>
                <a:off x="3334045" y="4130028"/>
                <a:ext cx="181968" cy="181968"/>
              </a:xfrm>
              <a:custGeom>
                <a:avLst/>
                <a:gdLst>
                  <a:gd name="connsiteX0" fmla="*/ 243125 w 260636"/>
                  <a:gd name="connsiteY0" fmla="*/ 243125 h 260636"/>
                  <a:gd name="connsiteX1" fmla="*/ 18326 w 260636"/>
                  <a:gd name="connsiteY1" fmla="*/ 18326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0636" h="260636">
                    <a:moveTo>
                      <a:pt x="243125" y="243125"/>
                    </a:moveTo>
                    <a:cubicBezTo>
                      <a:pt x="243125" y="118508"/>
                      <a:pt x="142128" y="18326"/>
                      <a:pt x="18326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0" name="Freihandform: Form 191">
                <a:extLst>
                  <a:ext uri="{FF2B5EF4-FFF2-40B4-BE49-F238E27FC236}">
                    <a16:creationId xmlns:a16="http://schemas.microsoft.com/office/drawing/2014/main" id="{2343172D-0C97-9A4B-1DED-674410A0B3EF}"/>
                  </a:ext>
                </a:extLst>
              </p:cNvPr>
              <p:cNvSpPr/>
              <p:nvPr/>
            </p:nvSpPr>
            <p:spPr bwMode="gray">
              <a:xfrm>
                <a:off x="3305043" y="4484297"/>
                <a:ext cx="79611" cy="96670"/>
              </a:xfrm>
              <a:custGeom>
                <a:avLst/>
                <a:gdLst>
                  <a:gd name="connsiteX0" fmla="*/ 18326 w 114028"/>
                  <a:gd name="connsiteY0" fmla="*/ 18326 h 138463"/>
                  <a:gd name="connsiteX1" fmla="*/ 18326 w 114028"/>
                  <a:gd name="connsiteY1" fmla="*/ 121766 h 138463"/>
                  <a:gd name="connsiteX2" fmla="*/ 100589 w 114028"/>
                  <a:gd name="connsiteY2" fmla="*/ 121766 h 138463"/>
                  <a:gd name="connsiteX3" fmla="*/ 100589 w 114028"/>
                  <a:gd name="connsiteY3" fmla="*/ 18326 h 13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028" h="138463">
                    <a:moveTo>
                      <a:pt x="18326" y="18326"/>
                    </a:moveTo>
                    <a:lnTo>
                      <a:pt x="18326" y="121766"/>
                    </a:lnTo>
                    <a:lnTo>
                      <a:pt x="100589" y="121766"/>
                    </a:lnTo>
                    <a:lnTo>
                      <a:pt x="100589" y="1832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1" name="Freihandform: Form 192">
                <a:extLst>
                  <a:ext uri="{FF2B5EF4-FFF2-40B4-BE49-F238E27FC236}">
                    <a16:creationId xmlns:a16="http://schemas.microsoft.com/office/drawing/2014/main" id="{11CAEDF4-8D33-677C-7EF5-CC7CE800DD32}"/>
                  </a:ext>
                </a:extLst>
              </p:cNvPr>
              <p:cNvSpPr/>
              <p:nvPr/>
            </p:nvSpPr>
            <p:spPr bwMode="gray">
              <a:xfrm>
                <a:off x="3228844" y="4263661"/>
                <a:ext cx="90984" cy="119417"/>
              </a:xfrm>
              <a:custGeom>
                <a:avLst/>
                <a:gdLst>
                  <a:gd name="connsiteX0" fmla="*/ 18326 w 130318"/>
                  <a:gd name="connsiteY0" fmla="*/ 18326 h 171042"/>
                  <a:gd name="connsiteX1" fmla="*/ 118508 w 130318"/>
                  <a:gd name="connsiteY1" fmla="*/ 18326 h 171042"/>
                  <a:gd name="connsiteX2" fmla="*/ 118508 w 130318"/>
                  <a:gd name="connsiteY2" fmla="*/ 153531 h 171042"/>
                  <a:gd name="connsiteX3" fmla="*/ 18326 w 130318"/>
                  <a:gd name="connsiteY3" fmla="*/ 153531 h 17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171042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153531"/>
                    </a:lnTo>
                    <a:lnTo>
                      <a:pt x="18326" y="153531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2" name="Freihandform: Form 193">
                <a:extLst>
                  <a:ext uri="{FF2B5EF4-FFF2-40B4-BE49-F238E27FC236}">
                    <a16:creationId xmlns:a16="http://schemas.microsoft.com/office/drawing/2014/main" id="{F2C9E232-02AA-2DA4-F8F2-6365ABC0F283}"/>
                  </a:ext>
                </a:extLst>
              </p:cNvPr>
              <p:cNvSpPr/>
              <p:nvPr/>
            </p:nvSpPr>
            <p:spPr bwMode="gray">
              <a:xfrm>
                <a:off x="3298788" y="4215325"/>
                <a:ext cx="90984" cy="164909"/>
              </a:xfrm>
              <a:custGeom>
                <a:avLst/>
                <a:gdLst>
                  <a:gd name="connsiteX0" fmla="*/ 18326 w 130318"/>
                  <a:gd name="connsiteY0" fmla="*/ 18326 h 236201"/>
                  <a:gd name="connsiteX1" fmla="*/ 118508 w 130318"/>
                  <a:gd name="connsiteY1" fmla="*/ 18326 h 236201"/>
                  <a:gd name="connsiteX2" fmla="*/ 118508 w 130318"/>
                  <a:gd name="connsiteY2" fmla="*/ 221948 h 236201"/>
                  <a:gd name="connsiteX3" fmla="*/ 18326 w 130318"/>
                  <a:gd name="connsiteY3" fmla="*/ 221948 h 236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236201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221948"/>
                    </a:lnTo>
                    <a:lnTo>
                      <a:pt x="18326" y="221948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3" name="Freihandform: Form 194">
                <a:extLst>
                  <a:ext uri="{FF2B5EF4-FFF2-40B4-BE49-F238E27FC236}">
                    <a16:creationId xmlns:a16="http://schemas.microsoft.com/office/drawing/2014/main" id="{B9FC8572-16EA-F290-574B-6FE2E863EB33}"/>
                  </a:ext>
                </a:extLst>
              </p:cNvPr>
              <p:cNvSpPr/>
              <p:nvPr/>
            </p:nvSpPr>
            <p:spPr bwMode="gray">
              <a:xfrm>
                <a:off x="3368732" y="4263661"/>
                <a:ext cx="90984" cy="119417"/>
              </a:xfrm>
              <a:custGeom>
                <a:avLst/>
                <a:gdLst>
                  <a:gd name="connsiteX0" fmla="*/ 18326 w 130318"/>
                  <a:gd name="connsiteY0" fmla="*/ 18326 h 171042"/>
                  <a:gd name="connsiteX1" fmla="*/ 118508 w 130318"/>
                  <a:gd name="connsiteY1" fmla="*/ 18326 h 171042"/>
                  <a:gd name="connsiteX2" fmla="*/ 118508 w 130318"/>
                  <a:gd name="connsiteY2" fmla="*/ 153531 h 171042"/>
                  <a:gd name="connsiteX3" fmla="*/ 18326 w 130318"/>
                  <a:gd name="connsiteY3" fmla="*/ 153531 h 17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171042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153531"/>
                    </a:lnTo>
                    <a:lnTo>
                      <a:pt x="18326" y="153531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4" name="Freihandform: Form 195">
                <a:extLst>
                  <a:ext uri="{FF2B5EF4-FFF2-40B4-BE49-F238E27FC236}">
                    <a16:creationId xmlns:a16="http://schemas.microsoft.com/office/drawing/2014/main" id="{0900DC53-3944-D6C4-2848-0E08AEBBC72C}"/>
                  </a:ext>
                </a:extLst>
              </p:cNvPr>
              <p:cNvSpPr/>
              <p:nvPr/>
            </p:nvSpPr>
            <p:spPr bwMode="gray">
              <a:xfrm>
                <a:off x="3074740" y="4629302"/>
                <a:ext cx="56865" cy="62552"/>
              </a:xfrm>
              <a:custGeom>
                <a:avLst/>
                <a:gdLst>
                  <a:gd name="connsiteX0" fmla="*/ 69639 w 81448"/>
                  <a:gd name="connsiteY0" fmla="*/ 18326 h 89593"/>
                  <a:gd name="connsiteX1" fmla="*/ 18326 w 81448"/>
                  <a:gd name="connsiteY1" fmla="*/ 72897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69639" y="18326"/>
                    </a:moveTo>
                    <a:lnTo>
                      <a:pt x="18326" y="72897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5" name="Freihandform: Form 196">
                <a:extLst>
                  <a:ext uri="{FF2B5EF4-FFF2-40B4-BE49-F238E27FC236}">
                    <a16:creationId xmlns:a16="http://schemas.microsoft.com/office/drawing/2014/main" id="{EEC04866-8488-C1EF-9757-2E57FF6C13EC}"/>
                  </a:ext>
                </a:extLst>
              </p:cNvPr>
              <p:cNvSpPr/>
              <p:nvPr/>
            </p:nvSpPr>
            <p:spPr bwMode="gray">
              <a:xfrm>
                <a:off x="3143547" y="4629302"/>
                <a:ext cx="56865" cy="62552"/>
              </a:xfrm>
              <a:custGeom>
                <a:avLst/>
                <a:gdLst>
                  <a:gd name="connsiteX0" fmla="*/ 69639 w 81448"/>
                  <a:gd name="connsiteY0" fmla="*/ 72897 h 89593"/>
                  <a:gd name="connsiteX1" fmla="*/ 18326 w 81448"/>
                  <a:gd name="connsiteY1" fmla="*/ 18326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69639" y="72897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6" name="Freihandform: Form 197">
                <a:extLst>
                  <a:ext uri="{FF2B5EF4-FFF2-40B4-BE49-F238E27FC236}">
                    <a16:creationId xmlns:a16="http://schemas.microsoft.com/office/drawing/2014/main" id="{EADB51F9-8B32-68BF-6426-D6D59E515B47}"/>
                  </a:ext>
                </a:extLst>
              </p:cNvPr>
              <p:cNvSpPr/>
              <p:nvPr/>
            </p:nvSpPr>
            <p:spPr bwMode="gray">
              <a:xfrm>
                <a:off x="3212353" y="4627027"/>
                <a:ext cx="62552" cy="62552"/>
              </a:xfrm>
              <a:custGeom>
                <a:avLst/>
                <a:gdLst>
                  <a:gd name="connsiteX0" fmla="*/ 73711 w 89593"/>
                  <a:gd name="connsiteY0" fmla="*/ 18326 h 89593"/>
                  <a:gd name="connsiteX1" fmla="*/ 18326 w 89593"/>
                  <a:gd name="connsiteY1" fmla="*/ 76155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89593">
                    <a:moveTo>
                      <a:pt x="73711" y="18326"/>
                    </a:moveTo>
                    <a:lnTo>
                      <a:pt x="18326" y="7615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7" name="Freihandform: Form 198">
                <a:extLst>
                  <a:ext uri="{FF2B5EF4-FFF2-40B4-BE49-F238E27FC236}">
                    <a16:creationId xmlns:a16="http://schemas.microsoft.com/office/drawing/2014/main" id="{1EF7EDC9-6770-6D0B-71B1-9E2BE7B5327A}"/>
                  </a:ext>
                </a:extLst>
              </p:cNvPr>
              <p:cNvSpPr/>
              <p:nvPr/>
            </p:nvSpPr>
            <p:spPr bwMode="gray">
              <a:xfrm>
                <a:off x="3034366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4 w 97738"/>
                  <a:gd name="connsiteY1" fmla="*/ 86743 h 97738"/>
                  <a:gd name="connsiteX2" fmla="*/ 18326 w 97738"/>
                  <a:gd name="connsiteY2" fmla="*/ 52535 h 97738"/>
                  <a:gd name="connsiteX3" fmla="*/ 52534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4" y="86743"/>
                    </a:cubicBezTo>
                    <a:cubicBezTo>
                      <a:pt x="33641" y="86743"/>
                      <a:pt x="18326" y="71427"/>
                      <a:pt x="18326" y="52535"/>
                    </a:cubicBezTo>
                    <a:cubicBezTo>
                      <a:pt x="18326" y="33642"/>
                      <a:pt x="33641" y="18326"/>
                      <a:pt x="52534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8" name="Freihandform: Form 199">
                <a:extLst>
                  <a:ext uri="{FF2B5EF4-FFF2-40B4-BE49-F238E27FC236}">
                    <a16:creationId xmlns:a16="http://schemas.microsoft.com/office/drawing/2014/main" id="{C3183271-AB83-07D4-C2E5-E928AE7F49FD}"/>
                  </a:ext>
                </a:extLst>
              </p:cNvPr>
              <p:cNvSpPr/>
              <p:nvPr/>
            </p:nvSpPr>
            <p:spPr bwMode="gray">
              <a:xfrm>
                <a:off x="3103172" y="4588359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9" name="Freihandform: Form 200">
                <a:extLst>
                  <a:ext uri="{FF2B5EF4-FFF2-40B4-BE49-F238E27FC236}">
                    <a16:creationId xmlns:a16="http://schemas.microsoft.com/office/drawing/2014/main" id="{2D9F1285-D86D-07CA-7A2C-6CF98AD820F5}"/>
                  </a:ext>
                </a:extLst>
              </p:cNvPr>
              <p:cNvSpPr/>
              <p:nvPr/>
            </p:nvSpPr>
            <p:spPr bwMode="gray">
              <a:xfrm>
                <a:off x="3172548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18326 h 97738"/>
                  <a:gd name="connsiteX2" fmla="*/ 18326 w 97738"/>
                  <a:gd name="connsiteY2" fmla="*/ 52535 h 97738"/>
                  <a:gd name="connsiteX3" fmla="*/ 52535 w 97738"/>
                  <a:gd name="connsiteY3" fmla="*/ 86743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33801"/>
                      <a:pt x="71268" y="18326"/>
                      <a:pt x="52535" y="18326"/>
                    </a:cubicBezTo>
                    <a:cubicBezTo>
                      <a:pt x="33801" y="18326"/>
                      <a:pt x="18326" y="33801"/>
                      <a:pt x="18326" y="52535"/>
                    </a:cubicBezTo>
                    <a:cubicBezTo>
                      <a:pt x="18326" y="71268"/>
                      <a:pt x="33801" y="86743"/>
                      <a:pt x="52535" y="86743"/>
                    </a:cubicBezTo>
                    <a:cubicBezTo>
                      <a:pt x="71268" y="87558"/>
                      <a:pt x="86743" y="7208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0" name="Freihandform: Form 201">
                <a:extLst>
                  <a:ext uri="{FF2B5EF4-FFF2-40B4-BE49-F238E27FC236}">
                    <a16:creationId xmlns:a16="http://schemas.microsoft.com/office/drawing/2014/main" id="{E646A08B-1033-EBC5-790E-43BA5FCD94EA}"/>
                  </a:ext>
                </a:extLst>
              </p:cNvPr>
              <p:cNvSpPr/>
              <p:nvPr/>
            </p:nvSpPr>
            <p:spPr bwMode="gray">
              <a:xfrm>
                <a:off x="3283434" y="4556515"/>
                <a:ext cx="125103" cy="181968"/>
              </a:xfrm>
              <a:custGeom>
                <a:avLst/>
                <a:gdLst>
                  <a:gd name="connsiteX0" fmla="*/ 162491 w 179187"/>
                  <a:gd name="connsiteY0" fmla="*/ 242311 h 260636"/>
                  <a:gd name="connsiteX1" fmla="*/ 162491 w 179187"/>
                  <a:gd name="connsiteY1" fmla="*/ 44390 h 260636"/>
                  <a:gd name="connsiteX2" fmla="*/ 136427 w 179187"/>
                  <a:gd name="connsiteY2" fmla="*/ 18326 h 260636"/>
                  <a:gd name="connsiteX3" fmla="*/ 44390 w 179187"/>
                  <a:gd name="connsiteY3" fmla="*/ 18326 h 260636"/>
                  <a:gd name="connsiteX4" fmla="*/ 18326 w 179187"/>
                  <a:gd name="connsiteY4" fmla="*/ 44390 h 260636"/>
                  <a:gd name="connsiteX5" fmla="*/ 18326 w 179187"/>
                  <a:gd name="connsiteY5" fmla="*/ 242311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187" h="260636">
                    <a:moveTo>
                      <a:pt x="162491" y="242311"/>
                    </a:moveTo>
                    <a:lnTo>
                      <a:pt x="162491" y="44390"/>
                    </a:lnTo>
                    <a:cubicBezTo>
                      <a:pt x="162491" y="29729"/>
                      <a:pt x="151088" y="18326"/>
                      <a:pt x="136427" y="18326"/>
                    </a:cubicBezTo>
                    <a:lnTo>
                      <a:pt x="44390" y="18326"/>
                    </a:lnTo>
                    <a:cubicBezTo>
                      <a:pt x="29729" y="18326"/>
                      <a:pt x="18326" y="29729"/>
                      <a:pt x="18326" y="44390"/>
                    </a:cubicBezTo>
                    <a:lnTo>
                      <a:pt x="18326" y="242311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1" name="Freihandform: Form 202">
                <a:extLst>
                  <a:ext uri="{FF2B5EF4-FFF2-40B4-BE49-F238E27FC236}">
                    <a16:creationId xmlns:a16="http://schemas.microsoft.com/office/drawing/2014/main" id="{C283D8C7-B5E0-1406-382D-50B18E01D644}"/>
                  </a:ext>
                </a:extLst>
              </p:cNvPr>
              <p:cNvSpPr/>
              <p:nvPr/>
            </p:nvSpPr>
            <p:spPr bwMode="gray">
              <a:xfrm>
                <a:off x="3283434" y="4712894"/>
                <a:ext cx="125103" cy="96670"/>
              </a:xfrm>
              <a:custGeom>
                <a:avLst/>
                <a:gdLst>
                  <a:gd name="connsiteX0" fmla="*/ 18326 w 179187"/>
                  <a:gd name="connsiteY0" fmla="*/ 18326 h 138463"/>
                  <a:gd name="connsiteX1" fmla="*/ 18326 w 179187"/>
                  <a:gd name="connsiteY1" fmla="*/ 99775 h 138463"/>
                  <a:gd name="connsiteX2" fmla="*/ 44390 w 179187"/>
                  <a:gd name="connsiteY2" fmla="*/ 125839 h 138463"/>
                  <a:gd name="connsiteX3" fmla="*/ 136427 w 179187"/>
                  <a:gd name="connsiteY3" fmla="*/ 125839 h 138463"/>
                  <a:gd name="connsiteX4" fmla="*/ 162491 w 179187"/>
                  <a:gd name="connsiteY4" fmla="*/ 99775 h 138463"/>
                  <a:gd name="connsiteX5" fmla="*/ 162491 w 179187"/>
                  <a:gd name="connsiteY5" fmla="*/ 18326 h 13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187" h="138463">
                    <a:moveTo>
                      <a:pt x="18326" y="18326"/>
                    </a:moveTo>
                    <a:lnTo>
                      <a:pt x="18326" y="99775"/>
                    </a:lnTo>
                    <a:cubicBezTo>
                      <a:pt x="18326" y="114436"/>
                      <a:pt x="29729" y="125839"/>
                      <a:pt x="44390" y="125839"/>
                    </a:cubicBezTo>
                    <a:lnTo>
                      <a:pt x="136427" y="125839"/>
                    </a:lnTo>
                    <a:cubicBezTo>
                      <a:pt x="151088" y="125839"/>
                      <a:pt x="162491" y="114436"/>
                      <a:pt x="162491" y="99775"/>
                    </a:cubicBezTo>
                    <a:lnTo>
                      <a:pt x="162491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2" name="Freihandform: Form 203">
                <a:extLst>
                  <a:ext uri="{FF2B5EF4-FFF2-40B4-BE49-F238E27FC236}">
                    <a16:creationId xmlns:a16="http://schemas.microsoft.com/office/drawing/2014/main" id="{FA69EA19-FDF8-0603-CDED-9932D7F2EC60}"/>
                  </a:ext>
                </a:extLst>
              </p:cNvPr>
              <p:cNvSpPr/>
              <p:nvPr/>
            </p:nvSpPr>
            <p:spPr bwMode="gray">
              <a:xfrm>
                <a:off x="3556955" y="4629302"/>
                <a:ext cx="56865" cy="62552"/>
              </a:xfrm>
              <a:custGeom>
                <a:avLst/>
                <a:gdLst>
                  <a:gd name="connsiteX0" fmla="*/ 18326 w 81448"/>
                  <a:gd name="connsiteY0" fmla="*/ 18326 h 89593"/>
                  <a:gd name="connsiteX1" fmla="*/ 69639 w 81448"/>
                  <a:gd name="connsiteY1" fmla="*/ 72897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18326" y="18326"/>
                    </a:moveTo>
                    <a:lnTo>
                      <a:pt x="69639" y="72897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3" name="Freihandform: Form 204">
                <a:extLst>
                  <a:ext uri="{FF2B5EF4-FFF2-40B4-BE49-F238E27FC236}">
                    <a16:creationId xmlns:a16="http://schemas.microsoft.com/office/drawing/2014/main" id="{BC03D6E7-D08D-B45C-D28C-7CF8BA03C999}"/>
                  </a:ext>
                </a:extLst>
              </p:cNvPr>
              <p:cNvSpPr/>
              <p:nvPr/>
            </p:nvSpPr>
            <p:spPr bwMode="gray">
              <a:xfrm>
                <a:off x="3488148" y="4629302"/>
                <a:ext cx="56865" cy="62552"/>
              </a:xfrm>
              <a:custGeom>
                <a:avLst/>
                <a:gdLst>
                  <a:gd name="connsiteX0" fmla="*/ 18326 w 81448"/>
                  <a:gd name="connsiteY0" fmla="*/ 72897 h 89593"/>
                  <a:gd name="connsiteX1" fmla="*/ 69639 w 81448"/>
                  <a:gd name="connsiteY1" fmla="*/ 18326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18326" y="72897"/>
                    </a:moveTo>
                    <a:lnTo>
                      <a:pt x="69639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4" name="Freihandform: Form 205">
                <a:extLst>
                  <a:ext uri="{FF2B5EF4-FFF2-40B4-BE49-F238E27FC236}">
                    <a16:creationId xmlns:a16="http://schemas.microsoft.com/office/drawing/2014/main" id="{4AFE3C38-E252-EC11-E2CB-6E0D2B373E55}"/>
                  </a:ext>
                </a:extLst>
              </p:cNvPr>
              <p:cNvSpPr/>
              <p:nvPr/>
            </p:nvSpPr>
            <p:spPr bwMode="gray">
              <a:xfrm>
                <a:off x="3417067" y="4627027"/>
                <a:ext cx="62552" cy="62552"/>
              </a:xfrm>
              <a:custGeom>
                <a:avLst/>
                <a:gdLst>
                  <a:gd name="connsiteX0" fmla="*/ 18326 w 89593"/>
                  <a:gd name="connsiteY0" fmla="*/ 18326 h 89593"/>
                  <a:gd name="connsiteX1" fmla="*/ 72897 w 89593"/>
                  <a:gd name="connsiteY1" fmla="*/ 76155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89593">
                    <a:moveTo>
                      <a:pt x="18326" y="18326"/>
                    </a:moveTo>
                    <a:lnTo>
                      <a:pt x="72897" y="7615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5" name="Freihandform: Form 206">
                <a:extLst>
                  <a:ext uri="{FF2B5EF4-FFF2-40B4-BE49-F238E27FC236}">
                    <a16:creationId xmlns:a16="http://schemas.microsoft.com/office/drawing/2014/main" id="{FCC2BEEE-CC1F-E8BC-1B4F-F4E9B5949F5E}"/>
                  </a:ext>
                </a:extLst>
              </p:cNvPr>
              <p:cNvSpPr/>
              <p:nvPr/>
            </p:nvSpPr>
            <p:spPr bwMode="gray">
              <a:xfrm>
                <a:off x="3585388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6" name="Freihandform: Form 207">
                <a:extLst>
                  <a:ext uri="{FF2B5EF4-FFF2-40B4-BE49-F238E27FC236}">
                    <a16:creationId xmlns:a16="http://schemas.microsoft.com/office/drawing/2014/main" id="{7A16A5F0-0CCF-3BB3-A0A1-F92A40FA9A73}"/>
                  </a:ext>
                </a:extLst>
              </p:cNvPr>
              <p:cNvSpPr/>
              <p:nvPr/>
            </p:nvSpPr>
            <p:spPr bwMode="gray">
              <a:xfrm>
                <a:off x="3516581" y="4588359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7" name="Freihandform: Form 208">
                <a:extLst>
                  <a:ext uri="{FF2B5EF4-FFF2-40B4-BE49-F238E27FC236}">
                    <a16:creationId xmlns:a16="http://schemas.microsoft.com/office/drawing/2014/main" id="{353352E0-0648-06D3-1FB2-D72B4219458B}"/>
                  </a:ext>
                </a:extLst>
              </p:cNvPr>
              <p:cNvSpPr/>
              <p:nvPr/>
            </p:nvSpPr>
            <p:spPr bwMode="gray">
              <a:xfrm>
                <a:off x="3447774" y="4660578"/>
                <a:ext cx="68238" cy="68238"/>
              </a:xfrm>
              <a:custGeom>
                <a:avLst/>
                <a:gdLst>
                  <a:gd name="connsiteX0" fmla="*/ 18326 w 97738"/>
                  <a:gd name="connsiteY0" fmla="*/ 52535 h 97738"/>
                  <a:gd name="connsiteX1" fmla="*/ 52535 w 97738"/>
                  <a:gd name="connsiteY1" fmla="*/ 18326 h 97738"/>
                  <a:gd name="connsiteX2" fmla="*/ 86743 w 97738"/>
                  <a:gd name="connsiteY2" fmla="*/ 52535 h 97738"/>
                  <a:gd name="connsiteX3" fmla="*/ 52535 w 97738"/>
                  <a:gd name="connsiteY3" fmla="*/ 86743 h 97738"/>
                  <a:gd name="connsiteX4" fmla="*/ 18326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18326" y="52535"/>
                    </a:moveTo>
                    <a:cubicBezTo>
                      <a:pt x="18326" y="33801"/>
                      <a:pt x="33801" y="18326"/>
                      <a:pt x="52535" y="18326"/>
                    </a:cubicBezTo>
                    <a:cubicBezTo>
                      <a:pt x="71268" y="18326"/>
                      <a:pt x="86743" y="33801"/>
                      <a:pt x="86743" y="52535"/>
                    </a:cubicBezTo>
                    <a:cubicBezTo>
                      <a:pt x="86743" y="71268"/>
                      <a:pt x="71268" y="86743"/>
                      <a:pt x="52535" y="86743"/>
                    </a:cubicBezTo>
                    <a:cubicBezTo>
                      <a:pt x="32987" y="87558"/>
                      <a:pt x="18326" y="72082"/>
                      <a:pt x="18326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</p:grpSp>
      <p:sp>
        <p:nvSpPr>
          <p:cNvPr id="254" name="Gefaltete Ecke 50">
            <a:extLst>
              <a:ext uri="{FF2B5EF4-FFF2-40B4-BE49-F238E27FC236}">
                <a16:creationId xmlns:a16="http://schemas.microsoft.com/office/drawing/2014/main" id="{CB42A211-8E9A-E190-0313-140DE1F5E18E}"/>
              </a:ext>
            </a:extLst>
          </p:cNvPr>
          <p:cNvSpPr/>
          <p:nvPr/>
        </p:nvSpPr>
        <p:spPr bwMode="gray">
          <a:xfrm rot="21420000">
            <a:off x="7350127" y="1868979"/>
            <a:ext cx="958324" cy="665014"/>
          </a:xfrm>
          <a:prstGeom prst="foldedCorner">
            <a:avLst/>
          </a:prstGeom>
          <a:solidFill>
            <a:srgbClr val="37AADC">
              <a:alpha val="50196"/>
            </a:srgbClr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o is paying? Who is using?</a:t>
            </a:r>
          </a:p>
        </p:txBody>
      </p:sp>
      <p:sp>
        <p:nvSpPr>
          <p:cNvPr id="255" name="Gefaltete Ecke 52">
            <a:extLst>
              <a:ext uri="{FF2B5EF4-FFF2-40B4-BE49-F238E27FC236}">
                <a16:creationId xmlns:a16="http://schemas.microsoft.com/office/drawing/2014/main" id="{6CC2F115-F322-EF8D-9603-0DAEA4B64358}"/>
              </a:ext>
            </a:extLst>
          </p:cNvPr>
          <p:cNvSpPr/>
          <p:nvPr/>
        </p:nvSpPr>
        <p:spPr bwMode="gray">
          <a:xfrm rot="21420000">
            <a:off x="3925681" y="1866306"/>
            <a:ext cx="958324" cy="665014"/>
          </a:xfrm>
          <a:prstGeom prst="foldedCorner">
            <a:avLst/>
          </a:prstGeom>
          <a:solidFill>
            <a:srgbClr val="37AADC">
              <a:alpha val="50196"/>
            </a:srgbClr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at you 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offer to users and paying customers</a:t>
            </a:r>
          </a:p>
        </p:txBody>
      </p:sp>
      <p:sp>
        <p:nvSpPr>
          <p:cNvPr id="6" name="Gefaltete Ecke 46">
            <a:extLst>
              <a:ext uri="{FF2B5EF4-FFF2-40B4-BE49-F238E27FC236}">
                <a16:creationId xmlns:a16="http://schemas.microsoft.com/office/drawing/2014/main" id="{D94F3E3D-7DC7-177E-0A5D-FF211680B9AE}"/>
              </a:ext>
            </a:extLst>
          </p:cNvPr>
          <p:cNvSpPr/>
          <p:nvPr/>
        </p:nvSpPr>
        <p:spPr bwMode="gray">
          <a:xfrm rot="21420000">
            <a:off x="5735753" y="2712494"/>
            <a:ext cx="958323" cy="416334"/>
          </a:xfrm>
          <a:prstGeom prst="foldedCorner">
            <a:avLst>
              <a:gd name="adj" fmla="val 29261"/>
            </a:avLst>
          </a:prstGeom>
          <a:solidFill>
            <a:srgbClr val="37AADC">
              <a:alpha val="50196"/>
            </a:srgbClr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How you deliver</a:t>
            </a:r>
          </a:p>
        </p:txBody>
      </p:sp>
      <p:sp>
        <p:nvSpPr>
          <p:cNvPr id="122" name="Gefaltete Ecke 46">
            <a:extLst>
              <a:ext uri="{FF2B5EF4-FFF2-40B4-BE49-F238E27FC236}">
                <a16:creationId xmlns:a16="http://schemas.microsoft.com/office/drawing/2014/main" id="{C65F0DFC-6CA8-536F-7251-FF6AEF580FA9}"/>
              </a:ext>
            </a:extLst>
          </p:cNvPr>
          <p:cNvSpPr/>
          <p:nvPr/>
        </p:nvSpPr>
        <p:spPr bwMode="gray">
          <a:xfrm rot="21420000">
            <a:off x="5683730" y="1363496"/>
            <a:ext cx="958323" cy="657529"/>
          </a:xfrm>
          <a:prstGeom prst="foldedCorner">
            <a:avLst>
              <a:gd name="adj" fmla="val 29261"/>
            </a:avLst>
          </a:prstGeom>
          <a:solidFill>
            <a:srgbClr val="37AADC">
              <a:alpha val="50196"/>
            </a:srgbClr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How you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handle relationship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4B4B4B">
                  <a:lumMod val="60000"/>
                  <a:lumOff val="40000"/>
                </a:srgbClr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124" name="Gefaltete Ecke 46">
            <a:extLst>
              <a:ext uri="{FF2B5EF4-FFF2-40B4-BE49-F238E27FC236}">
                <a16:creationId xmlns:a16="http://schemas.microsoft.com/office/drawing/2014/main" id="{B3F45379-AD54-0C8F-68D7-888B6D4D717A}"/>
              </a:ext>
            </a:extLst>
          </p:cNvPr>
          <p:cNvSpPr/>
          <p:nvPr/>
        </p:nvSpPr>
        <p:spPr bwMode="gray">
          <a:xfrm rot="21420000">
            <a:off x="2165209" y="2800283"/>
            <a:ext cx="958323" cy="416334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at assets do you have</a:t>
            </a:r>
          </a:p>
        </p:txBody>
      </p:sp>
      <p:sp>
        <p:nvSpPr>
          <p:cNvPr id="125" name="Gefaltete Ecke 46">
            <a:extLst>
              <a:ext uri="{FF2B5EF4-FFF2-40B4-BE49-F238E27FC236}">
                <a16:creationId xmlns:a16="http://schemas.microsoft.com/office/drawing/2014/main" id="{80F882A5-2F77-0066-2E70-9BE9C8FD6E78}"/>
              </a:ext>
            </a:extLst>
          </p:cNvPr>
          <p:cNvSpPr/>
          <p:nvPr/>
        </p:nvSpPr>
        <p:spPr bwMode="gray">
          <a:xfrm rot="21420000">
            <a:off x="2230637" y="1449024"/>
            <a:ext cx="958323" cy="416334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at you do yourself</a:t>
            </a:r>
          </a:p>
        </p:txBody>
      </p:sp>
      <p:sp>
        <p:nvSpPr>
          <p:cNvPr id="126" name="Gefaltete Ecke 46">
            <a:extLst>
              <a:ext uri="{FF2B5EF4-FFF2-40B4-BE49-F238E27FC236}">
                <a16:creationId xmlns:a16="http://schemas.microsoft.com/office/drawing/2014/main" id="{013074A3-985A-BC7D-60CB-34AE42FF98A2}"/>
              </a:ext>
            </a:extLst>
          </p:cNvPr>
          <p:cNvSpPr/>
          <p:nvPr/>
        </p:nvSpPr>
        <p:spPr bwMode="gray">
          <a:xfrm rot="21420000">
            <a:off x="493164" y="1609290"/>
            <a:ext cx="958323" cy="416334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o help you with that</a:t>
            </a:r>
          </a:p>
        </p:txBody>
      </p:sp>
      <p:sp>
        <p:nvSpPr>
          <p:cNvPr id="127" name="Stern: 5 Zacken 11">
            <a:extLst>
              <a:ext uri="{FF2B5EF4-FFF2-40B4-BE49-F238E27FC236}">
                <a16:creationId xmlns:a16="http://schemas.microsoft.com/office/drawing/2014/main" id="{FBCEDF31-F71D-F26E-898A-8A837C8E223C}"/>
              </a:ext>
            </a:extLst>
          </p:cNvPr>
          <p:cNvSpPr/>
          <p:nvPr/>
        </p:nvSpPr>
        <p:spPr>
          <a:xfrm>
            <a:off x="188087" y="2253878"/>
            <a:ext cx="2032311" cy="1500934"/>
          </a:xfrm>
          <a:prstGeom prst="star5">
            <a:avLst/>
          </a:prstGeom>
          <a:solidFill>
            <a:srgbClr val="FC684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42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Produce</a:t>
            </a:r>
          </a:p>
        </p:txBody>
      </p:sp>
      <p:sp>
        <p:nvSpPr>
          <p:cNvPr id="151" name="Freeform 8">
            <a:extLst>
              <a:ext uri="{FF2B5EF4-FFF2-40B4-BE49-F238E27FC236}">
                <a16:creationId xmlns:a16="http://schemas.microsoft.com/office/drawing/2014/main" id="{1985BD02-9EBC-4DE2-AA30-706308AB8D29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cxnSp>
        <p:nvCxnSpPr>
          <p:cNvPr id="153" name="Straight Arrow Connector 80">
            <a:extLst>
              <a:ext uri="{FF2B5EF4-FFF2-40B4-BE49-F238E27FC236}">
                <a16:creationId xmlns:a16="http://schemas.microsoft.com/office/drawing/2014/main" id="{1914C10F-9E90-42BF-BE7A-9534842FA262}"/>
              </a:ext>
            </a:extLst>
          </p:cNvPr>
          <p:cNvCxnSpPr>
            <a:cxnSpLocks/>
          </p:cNvCxnSpPr>
          <p:nvPr/>
        </p:nvCxnSpPr>
        <p:spPr>
          <a:xfrm>
            <a:off x="4248169" y="4139176"/>
            <a:ext cx="215844" cy="0"/>
          </a:xfrm>
          <a:prstGeom prst="straightConnector1">
            <a:avLst/>
          </a:prstGeom>
          <a:ln w="25400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reeform 7">
            <a:extLst>
              <a:ext uri="{FF2B5EF4-FFF2-40B4-BE49-F238E27FC236}">
                <a16:creationId xmlns:a16="http://schemas.microsoft.com/office/drawing/2014/main" id="{0D64C286-65BA-EEA5-1A79-57A0130B1686}"/>
              </a:ext>
            </a:extLst>
          </p:cNvPr>
          <p:cNvSpPr/>
          <p:nvPr/>
        </p:nvSpPr>
        <p:spPr>
          <a:xfrm>
            <a:off x="6110909" y="460258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82594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7981130"/>
              </p:ext>
            </p:extLst>
          </p:nvPr>
        </p:nvGraphicFramePr>
        <p:xfrm>
          <a:off x="2844" y="119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1" imgH="298" progId="TCLayout.ActiveDocument.1">
                  <p:embed/>
                </p:oleObj>
              </mc:Choice>
              <mc:Fallback>
                <p:oleObj name="think-cell Folie" r:id="rId4" imgW="301" imgH="29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44" y="119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 vert="horz" lIns="81619" tIns="40809" rIns="81619" bIns="40809" rtlCol="0" anchor="ctr" anchorCtr="0">
            <a:noAutofit/>
          </a:bodyPr>
          <a:lstStyle/>
          <a:p>
            <a:r>
              <a:rPr lang="en-GB" dirty="0">
                <a:latin typeface="Titillium Web" panose="00000500000000000000" pitchFamily="2" charset="0"/>
              </a:rPr>
              <a:t>Business modelling (III) – production and delivery</a:t>
            </a:r>
          </a:p>
        </p:txBody>
      </p:sp>
      <p:grpSp>
        <p:nvGrpSpPr>
          <p:cNvPr id="7" name="Gruppieren 3">
            <a:extLst>
              <a:ext uri="{FF2B5EF4-FFF2-40B4-BE49-F238E27FC236}">
                <a16:creationId xmlns:a16="http://schemas.microsoft.com/office/drawing/2014/main" id="{2998ECC9-6620-0DF6-9458-F552575E687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52520" y="951945"/>
            <a:ext cx="8457909" cy="3642387"/>
            <a:chOff x="540001" y="1520825"/>
            <a:chExt cx="11109600" cy="4291189"/>
          </a:xfrm>
        </p:grpSpPr>
        <p:grpSp>
          <p:nvGrpSpPr>
            <p:cNvPr id="8" name="Gruppieren 42">
              <a:extLst>
                <a:ext uri="{FF2B5EF4-FFF2-40B4-BE49-F238E27FC236}">
                  <a16:creationId xmlns:a16="http://schemas.microsoft.com/office/drawing/2014/main" id="{BB61760B-2FE6-E903-AC4F-3F35416B8C7B}"/>
                </a:ext>
              </a:extLst>
            </p:cNvPr>
            <p:cNvGrpSpPr/>
            <p:nvPr/>
          </p:nvGrpSpPr>
          <p:grpSpPr bwMode="gray">
            <a:xfrm>
              <a:off x="540001" y="1520825"/>
              <a:ext cx="11109600" cy="4291189"/>
              <a:chOff x="540001" y="1520825"/>
              <a:chExt cx="11109600" cy="4291189"/>
            </a:xfrm>
          </p:grpSpPr>
          <p:sp>
            <p:nvSpPr>
              <p:cNvPr id="245" name="Rechteck 5">
                <a:extLst>
                  <a:ext uri="{FF2B5EF4-FFF2-40B4-BE49-F238E27FC236}">
                    <a16:creationId xmlns:a16="http://schemas.microsoft.com/office/drawing/2014/main" id="{29B99679-6A38-D2C8-6F13-A59B8E004371}"/>
                  </a:ext>
                </a:extLst>
              </p:cNvPr>
              <p:cNvSpPr/>
              <p:nvPr/>
            </p:nvSpPr>
            <p:spPr bwMode="gray">
              <a:xfrm>
                <a:off x="540001" y="1520827"/>
                <a:ext cx="2221920" cy="311584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6" name="Rechteck 6">
                <a:extLst>
                  <a:ext uri="{FF2B5EF4-FFF2-40B4-BE49-F238E27FC236}">
                    <a16:creationId xmlns:a16="http://schemas.microsoft.com/office/drawing/2014/main" id="{4543FDA3-43A9-4963-1214-E1AF0BB60BAC}"/>
                  </a:ext>
                </a:extLst>
              </p:cNvPr>
              <p:cNvSpPr/>
              <p:nvPr/>
            </p:nvSpPr>
            <p:spPr bwMode="gray">
              <a:xfrm>
                <a:off x="2761921" y="1520825"/>
                <a:ext cx="2221920" cy="1561497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7" name="Rechteck 7">
                <a:extLst>
                  <a:ext uri="{FF2B5EF4-FFF2-40B4-BE49-F238E27FC236}">
                    <a16:creationId xmlns:a16="http://schemas.microsoft.com/office/drawing/2014/main" id="{A4D87EF9-57A9-A2CF-205A-687EAEB1FA6A}"/>
                  </a:ext>
                </a:extLst>
              </p:cNvPr>
              <p:cNvSpPr/>
              <p:nvPr/>
            </p:nvSpPr>
            <p:spPr bwMode="gray">
              <a:xfrm>
                <a:off x="4983841" y="1520827"/>
                <a:ext cx="2221920" cy="3122991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8" name="Rechteck 8">
                <a:extLst>
                  <a:ext uri="{FF2B5EF4-FFF2-40B4-BE49-F238E27FC236}">
                    <a16:creationId xmlns:a16="http://schemas.microsoft.com/office/drawing/2014/main" id="{334A4B3B-E0C1-04DD-A956-1444910D32F5}"/>
                  </a:ext>
                </a:extLst>
              </p:cNvPr>
              <p:cNvSpPr/>
              <p:nvPr/>
            </p:nvSpPr>
            <p:spPr bwMode="gray">
              <a:xfrm>
                <a:off x="7205761" y="1520826"/>
                <a:ext cx="2221920" cy="156149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9" name="Rechteck 9">
                <a:extLst>
                  <a:ext uri="{FF2B5EF4-FFF2-40B4-BE49-F238E27FC236}">
                    <a16:creationId xmlns:a16="http://schemas.microsoft.com/office/drawing/2014/main" id="{3D3F8EA2-E5FE-4937-9CCB-55F416702B35}"/>
                  </a:ext>
                </a:extLst>
              </p:cNvPr>
              <p:cNvSpPr/>
              <p:nvPr/>
            </p:nvSpPr>
            <p:spPr bwMode="gray">
              <a:xfrm>
                <a:off x="2761918" y="3075176"/>
                <a:ext cx="2221920" cy="15686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0" name="Rechteck 10">
                <a:extLst>
                  <a:ext uri="{FF2B5EF4-FFF2-40B4-BE49-F238E27FC236}">
                    <a16:creationId xmlns:a16="http://schemas.microsoft.com/office/drawing/2014/main" id="{D5A5CD0C-5BDC-8846-EFD0-303083E4BEBD}"/>
                  </a:ext>
                </a:extLst>
              </p:cNvPr>
              <p:cNvSpPr/>
              <p:nvPr/>
            </p:nvSpPr>
            <p:spPr bwMode="gray">
              <a:xfrm>
                <a:off x="7205758" y="3075177"/>
                <a:ext cx="2221920" cy="1568641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b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7D7D7D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rPr>
                </a:b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1" name="Rechteck 11">
                <a:extLst>
                  <a:ext uri="{FF2B5EF4-FFF2-40B4-BE49-F238E27FC236}">
                    <a16:creationId xmlns:a16="http://schemas.microsoft.com/office/drawing/2014/main" id="{B89F1EBA-0A30-A68B-30F0-B588955E310F}"/>
                  </a:ext>
                </a:extLst>
              </p:cNvPr>
              <p:cNvSpPr/>
              <p:nvPr/>
            </p:nvSpPr>
            <p:spPr bwMode="gray">
              <a:xfrm>
                <a:off x="540001" y="4636672"/>
                <a:ext cx="5554796" cy="11753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2" name="Rechteck 12">
                <a:extLst>
                  <a:ext uri="{FF2B5EF4-FFF2-40B4-BE49-F238E27FC236}">
                    <a16:creationId xmlns:a16="http://schemas.microsoft.com/office/drawing/2014/main" id="{75FF3B54-D1D2-F839-F9BD-73BADFC07F04}"/>
                  </a:ext>
                </a:extLst>
              </p:cNvPr>
              <p:cNvSpPr/>
              <p:nvPr/>
            </p:nvSpPr>
            <p:spPr bwMode="gray">
              <a:xfrm>
                <a:off x="6094797" y="4636672"/>
                <a:ext cx="5554801" cy="11753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3" name="Rechteck 13">
                <a:extLst>
                  <a:ext uri="{FF2B5EF4-FFF2-40B4-BE49-F238E27FC236}">
                    <a16:creationId xmlns:a16="http://schemas.microsoft.com/office/drawing/2014/main" id="{2194A16D-8AE3-E215-1ADA-0B10D563845B}"/>
                  </a:ext>
                </a:extLst>
              </p:cNvPr>
              <p:cNvSpPr/>
              <p:nvPr/>
            </p:nvSpPr>
            <p:spPr bwMode="gray">
              <a:xfrm>
                <a:off x="9427681" y="1520825"/>
                <a:ext cx="2221920" cy="311584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sp>
          <p:nvSpPr>
            <p:cNvPr id="9" name="Rechteck 14">
              <a:extLst>
                <a:ext uri="{FF2B5EF4-FFF2-40B4-BE49-F238E27FC236}">
                  <a16:creationId xmlns:a16="http://schemas.microsoft.com/office/drawing/2014/main" id="{BD079CB0-E2A2-DA0B-5EB1-B95D100BAA82}"/>
                </a:ext>
              </a:extLst>
            </p:cNvPr>
            <p:cNvSpPr/>
            <p:nvPr/>
          </p:nvSpPr>
          <p:spPr bwMode="gray">
            <a:xfrm>
              <a:off x="2761918" y="3145019"/>
              <a:ext cx="14490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sources</a:t>
              </a:r>
            </a:p>
          </p:txBody>
        </p:sp>
        <p:sp>
          <p:nvSpPr>
            <p:cNvPr id="10" name="Rechteck 15">
              <a:extLst>
                <a:ext uri="{FF2B5EF4-FFF2-40B4-BE49-F238E27FC236}">
                  <a16:creationId xmlns:a16="http://schemas.microsoft.com/office/drawing/2014/main" id="{7BA8856D-5420-C368-7DD9-C47ADEAA5B1D}"/>
                </a:ext>
              </a:extLst>
            </p:cNvPr>
            <p:cNvSpPr/>
            <p:nvPr/>
          </p:nvSpPr>
          <p:spPr bwMode="gray">
            <a:xfrm>
              <a:off x="7205761" y="3145019"/>
              <a:ext cx="22219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hannels</a:t>
              </a:r>
            </a:p>
          </p:txBody>
        </p:sp>
        <p:sp>
          <p:nvSpPr>
            <p:cNvPr id="11" name="Rechteck 16">
              <a:extLst>
                <a:ext uri="{FF2B5EF4-FFF2-40B4-BE49-F238E27FC236}">
                  <a16:creationId xmlns:a16="http://schemas.microsoft.com/office/drawing/2014/main" id="{86F38D2B-FEF3-2625-8B0C-03A629D8C28F}"/>
                </a:ext>
              </a:extLst>
            </p:cNvPr>
            <p:cNvSpPr/>
            <p:nvPr/>
          </p:nvSpPr>
          <p:spPr bwMode="gray">
            <a:xfrm>
              <a:off x="540001" y="4699369"/>
              <a:ext cx="3940021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ost Structure</a:t>
              </a:r>
            </a:p>
          </p:txBody>
        </p:sp>
        <p:sp>
          <p:nvSpPr>
            <p:cNvPr id="12" name="Rechteck 17">
              <a:extLst>
                <a:ext uri="{FF2B5EF4-FFF2-40B4-BE49-F238E27FC236}">
                  <a16:creationId xmlns:a16="http://schemas.microsoft.com/office/drawing/2014/main" id="{8ED892FD-4591-51FB-E3F1-417C2404E242}"/>
                </a:ext>
              </a:extLst>
            </p:cNvPr>
            <p:cNvSpPr/>
            <p:nvPr/>
          </p:nvSpPr>
          <p:spPr bwMode="gray">
            <a:xfrm>
              <a:off x="540002" y="1681114"/>
              <a:ext cx="2221916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Partners</a:t>
              </a:r>
            </a:p>
          </p:txBody>
        </p:sp>
        <p:sp>
          <p:nvSpPr>
            <p:cNvPr id="13" name="Rechteck 18">
              <a:extLst>
                <a:ext uri="{FF2B5EF4-FFF2-40B4-BE49-F238E27FC236}">
                  <a16:creationId xmlns:a16="http://schemas.microsoft.com/office/drawing/2014/main" id="{AF3E3F5C-930B-B240-F48A-D0CA0A93C48A}"/>
                </a:ext>
              </a:extLst>
            </p:cNvPr>
            <p:cNvSpPr/>
            <p:nvPr/>
          </p:nvSpPr>
          <p:spPr bwMode="gray">
            <a:xfrm>
              <a:off x="2761922" y="1583524"/>
              <a:ext cx="171810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Activities</a:t>
              </a:r>
            </a:p>
          </p:txBody>
        </p:sp>
        <p:sp>
          <p:nvSpPr>
            <p:cNvPr id="14" name="Rechteck 36">
              <a:extLst>
                <a:ext uri="{FF2B5EF4-FFF2-40B4-BE49-F238E27FC236}">
                  <a16:creationId xmlns:a16="http://schemas.microsoft.com/office/drawing/2014/main" id="{3CDFEA71-8802-F28D-E415-258278335315}"/>
                </a:ext>
              </a:extLst>
            </p:cNvPr>
            <p:cNvSpPr/>
            <p:nvPr/>
          </p:nvSpPr>
          <p:spPr bwMode="gray">
            <a:xfrm>
              <a:off x="4983841" y="1583524"/>
              <a:ext cx="22219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Value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Proposition</a:t>
              </a:r>
            </a:p>
          </p:txBody>
        </p:sp>
        <p:sp>
          <p:nvSpPr>
            <p:cNvPr id="15" name="Rechteck 37">
              <a:extLst>
                <a:ext uri="{FF2B5EF4-FFF2-40B4-BE49-F238E27FC236}">
                  <a16:creationId xmlns:a16="http://schemas.microsoft.com/office/drawing/2014/main" id="{CB0FA039-C2BC-0F6A-B730-E151A08EB6C0}"/>
                </a:ext>
              </a:extLst>
            </p:cNvPr>
            <p:cNvSpPr/>
            <p:nvPr/>
          </p:nvSpPr>
          <p:spPr bwMode="gray">
            <a:xfrm>
              <a:off x="7205756" y="1593050"/>
              <a:ext cx="1870749" cy="425427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ustomer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lationships</a:t>
              </a:r>
            </a:p>
          </p:txBody>
        </p:sp>
        <p:sp>
          <p:nvSpPr>
            <p:cNvPr id="17" name="Rechteck 38">
              <a:extLst>
                <a:ext uri="{FF2B5EF4-FFF2-40B4-BE49-F238E27FC236}">
                  <a16:creationId xmlns:a16="http://schemas.microsoft.com/office/drawing/2014/main" id="{4C0631B0-48F3-EA53-7C65-99A10796C55A}"/>
                </a:ext>
              </a:extLst>
            </p:cNvPr>
            <p:cNvSpPr/>
            <p:nvPr/>
          </p:nvSpPr>
          <p:spPr bwMode="gray">
            <a:xfrm>
              <a:off x="9427677" y="1583525"/>
              <a:ext cx="1726278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ustomer Segments</a:t>
              </a:r>
            </a:p>
          </p:txBody>
        </p:sp>
        <p:sp>
          <p:nvSpPr>
            <p:cNvPr id="18" name="Rechteck 40">
              <a:extLst>
                <a:ext uri="{FF2B5EF4-FFF2-40B4-BE49-F238E27FC236}">
                  <a16:creationId xmlns:a16="http://schemas.microsoft.com/office/drawing/2014/main" id="{2979763C-6329-FFCA-A848-DCF7EDA66F10}"/>
                </a:ext>
              </a:extLst>
            </p:cNvPr>
            <p:cNvSpPr/>
            <p:nvPr/>
          </p:nvSpPr>
          <p:spPr bwMode="gray">
            <a:xfrm>
              <a:off x="6094761" y="4707509"/>
              <a:ext cx="3726112" cy="242770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venue Streams</a:t>
              </a:r>
            </a:p>
          </p:txBody>
        </p:sp>
        <p:grpSp>
          <p:nvGrpSpPr>
            <p:cNvPr id="19" name="Gruppieren 54">
              <a:extLst>
                <a:ext uri="{FF2B5EF4-FFF2-40B4-BE49-F238E27FC236}">
                  <a16:creationId xmlns:a16="http://schemas.microsoft.com/office/drawing/2014/main" id="{EA356240-292C-A36F-6DE3-38C405B92F5D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192510" y="1676645"/>
              <a:ext cx="364143" cy="363374"/>
              <a:chOff x="14842424" y="9461856"/>
              <a:chExt cx="783304" cy="781651"/>
            </a:xfrm>
          </p:grpSpPr>
          <p:sp>
            <p:nvSpPr>
              <p:cNvPr id="235" name="Freihandform: Form 55">
                <a:extLst>
                  <a:ext uri="{FF2B5EF4-FFF2-40B4-BE49-F238E27FC236}">
                    <a16:creationId xmlns:a16="http://schemas.microsoft.com/office/drawing/2014/main" id="{2E432B0A-F204-4999-11B6-D2AFEA6529A9}"/>
                  </a:ext>
                </a:extLst>
              </p:cNvPr>
              <p:cNvSpPr/>
              <p:nvPr/>
            </p:nvSpPr>
            <p:spPr bwMode="gray">
              <a:xfrm>
                <a:off x="15308630" y="9879019"/>
                <a:ext cx="260348" cy="363277"/>
              </a:xfrm>
              <a:custGeom>
                <a:avLst/>
                <a:gdLst>
                  <a:gd name="connsiteX0" fmla="*/ 338420 w 350230"/>
                  <a:gd name="connsiteY0" fmla="*/ 476883 h 488693"/>
                  <a:gd name="connsiteX1" fmla="*/ 314800 w 350230"/>
                  <a:gd name="connsiteY1" fmla="*/ 278963 h 488693"/>
                  <a:gd name="connsiteX2" fmla="*/ 255342 w 350230"/>
                  <a:gd name="connsiteY2" fmla="*/ 179595 h 488693"/>
                  <a:gd name="connsiteX3" fmla="*/ 197514 w 350230"/>
                  <a:gd name="connsiteY3" fmla="*/ 149459 h 488693"/>
                  <a:gd name="connsiteX4" fmla="*/ 47648 w 350230"/>
                  <a:gd name="connsiteY4" fmla="*/ 105476 h 488693"/>
                  <a:gd name="connsiteX5" fmla="*/ 38688 w 350230"/>
                  <a:gd name="connsiteY5" fmla="*/ 101404 h 488693"/>
                  <a:gd name="connsiteX6" fmla="*/ 24842 w 350230"/>
                  <a:gd name="connsiteY6" fmla="*/ 77784 h 488693"/>
                  <a:gd name="connsiteX7" fmla="*/ 18326 w 350230"/>
                  <a:gd name="connsiteY7" fmla="*/ 18326 h 488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0230" h="488693">
                    <a:moveTo>
                      <a:pt x="338420" y="476883"/>
                    </a:moveTo>
                    <a:lnTo>
                      <a:pt x="314800" y="278963"/>
                    </a:lnTo>
                    <a:cubicBezTo>
                      <a:pt x="306655" y="240681"/>
                      <a:pt x="286293" y="204844"/>
                      <a:pt x="255342" y="179595"/>
                    </a:cubicBezTo>
                    <a:cubicBezTo>
                      <a:pt x="235795" y="163305"/>
                      <a:pt x="216247" y="153532"/>
                      <a:pt x="197514" y="149459"/>
                    </a:cubicBezTo>
                    <a:lnTo>
                      <a:pt x="47648" y="105476"/>
                    </a:lnTo>
                    <a:cubicBezTo>
                      <a:pt x="44390" y="104662"/>
                      <a:pt x="41132" y="103033"/>
                      <a:pt x="38688" y="101404"/>
                    </a:cubicBezTo>
                    <a:cubicBezTo>
                      <a:pt x="30543" y="95702"/>
                      <a:pt x="25656" y="87558"/>
                      <a:pt x="24842" y="77784"/>
                    </a:cubicBez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6" name="Freihandform: Form 56">
                <a:extLst>
                  <a:ext uri="{FF2B5EF4-FFF2-40B4-BE49-F238E27FC236}">
                    <a16:creationId xmlns:a16="http://schemas.microsoft.com/office/drawing/2014/main" id="{9200E83E-A854-6B72-A5C6-5915E44D6FCE}"/>
                  </a:ext>
                </a:extLst>
              </p:cNvPr>
              <p:cNvSpPr/>
              <p:nvPr/>
            </p:nvSpPr>
            <p:spPr bwMode="gray">
              <a:xfrm>
                <a:off x="14896311" y="9674373"/>
                <a:ext cx="260348" cy="569134"/>
              </a:xfrm>
              <a:custGeom>
                <a:avLst/>
                <a:gdLst>
                  <a:gd name="connsiteX0" fmla="*/ 243125 w 350230"/>
                  <a:gd name="connsiteY0" fmla="*/ 18326 h 765619"/>
                  <a:gd name="connsiteX1" fmla="*/ 203215 w 350230"/>
                  <a:gd name="connsiteY1" fmla="*/ 86743 h 765619"/>
                  <a:gd name="connsiteX2" fmla="*/ 250455 w 350230"/>
                  <a:gd name="connsiteY2" fmla="*/ 156789 h 765619"/>
                  <a:gd name="connsiteX3" fmla="*/ 338420 w 350230"/>
                  <a:gd name="connsiteY3" fmla="*/ 295252 h 765619"/>
                  <a:gd name="connsiteX4" fmla="*/ 331904 w 350230"/>
                  <a:gd name="connsiteY4" fmla="*/ 354710 h 765619"/>
                  <a:gd name="connsiteX5" fmla="*/ 318058 w 350230"/>
                  <a:gd name="connsiteY5" fmla="*/ 378330 h 765619"/>
                  <a:gd name="connsiteX6" fmla="*/ 309099 w 350230"/>
                  <a:gd name="connsiteY6" fmla="*/ 382403 h 765619"/>
                  <a:gd name="connsiteX7" fmla="*/ 160047 w 350230"/>
                  <a:gd name="connsiteY7" fmla="*/ 425571 h 765619"/>
                  <a:gd name="connsiteX8" fmla="*/ 101404 w 350230"/>
                  <a:gd name="connsiteY8" fmla="*/ 456521 h 765619"/>
                  <a:gd name="connsiteX9" fmla="*/ 41946 w 350230"/>
                  <a:gd name="connsiteY9" fmla="*/ 555889 h 765619"/>
                  <a:gd name="connsiteX10" fmla="*/ 18326 w 350230"/>
                  <a:gd name="connsiteY10" fmla="*/ 753810 h 76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0230" h="765619">
                    <a:moveTo>
                      <a:pt x="243125" y="18326"/>
                    </a:moveTo>
                    <a:cubicBezTo>
                      <a:pt x="220319" y="24842"/>
                      <a:pt x="203215" y="52535"/>
                      <a:pt x="203215" y="86743"/>
                    </a:cubicBezTo>
                    <a:cubicBezTo>
                      <a:pt x="203215" y="124210"/>
                      <a:pt x="223577" y="154346"/>
                      <a:pt x="250455" y="156789"/>
                    </a:cubicBezTo>
                    <a:cubicBezTo>
                      <a:pt x="265116" y="213803"/>
                      <a:pt x="296067" y="262673"/>
                      <a:pt x="338420" y="295252"/>
                    </a:cubicBezTo>
                    <a:lnTo>
                      <a:pt x="331904" y="354710"/>
                    </a:lnTo>
                    <a:cubicBezTo>
                      <a:pt x="331090" y="364484"/>
                      <a:pt x="325389" y="372629"/>
                      <a:pt x="318058" y="378330"/>
                    </a:cubicBezTo>
                    <a:cubicBezTo>
                      <a:pt x="315615" y="379959"/>
                      <a:pt x="312357" y="381588"/>
                      <a:pt x="309099" y="382403"/>
                    </a:cubicBezTo>
                    <a:lnTo>
                      <a:pt x="160047" y="425571"/>
                    </a:lnTo>
                    <a:cubicBezTo>
                      <a:pt x="140499" y="429643"/>
                      <a:pt x="120952" y="440231"/>
                      <a:pt x="101404" y="456521"/>
                    </a:cubicBezTo>
                    <a:cubicBezTo>
                      <a:pt x="70454" y="481771"/>
                      <a:pt x="50091" y="516794"/>
                      <a:pt x="41946" y="555889"/>
                    </a:cubicBezTo>
                    <a:lnTo>
                      <a:pt x="18326" y="75381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7" name="Freihandform: Form 57">
                <a:extLst>
                  <a:ext uri="{FF2B5EF4-FFF2-40B4-BE49-F238E27FC236}">
                    <a16:creationId xmlns:a16="http://schemas.microsoft.com/office/drawing/2014/main" id="{8CD13A9C-D35C-4AAA-8DAF-99DBD9CE0862}"/>
                  </a:ext>
                </a:extLst>
              </p:cNvPr>
              <p:cNvSpPr/>
              <p:nvPr/>
            </p:nvSpPr>
            <p:spPr bwMode="gray">
              <a:xfrm>
                <a:off x="15308024" y="9674373"/>
                <a:ext cx="260348" cy="569134"/>
              </a:xfrm>
              <a:custGeom>
                <a:avLst/>
                <a:gdLst>
                  <a:gd name="connsiteX0" fmla="*/ 113621 w 350230"/>
                  <a:gd name="connsiteY0" fmla="*/ 18326 h 765619"/>
                  <a:gd name="connsiteX1" fmla="*/ 153531 w 350230"/>
                  <a:gd name="connsiteY1" fmla="*/ 86743 h 765619"/>
                  <a:gd name="connsiteX2" fmla="*/ 106291 w 350230"/>
                  <a:gd name="connsiteY2" fmla="*/ 156789 h 765619"/>
                  <a:gd name="connsiteX3" fmla="*/ 18326 w 350230"/>
                  <a:gd name="connsiteY3" fmla="*/ 295252 h 765619"/>
                  <a:gd name="connsiteX4" fmla="*/ 24842 w 350230"/>
                  <a:gd name="connsiteY4" fmla="*/ 354710 h 765619"/>
                  <a:gd name="connsiteX5" fmla="*/ 38688 w 350230"/>
                  <a:gd name="connsiteY5" fmla="*/ 378330 h 765619"/>
                  <a:gd name="connsiteX6" fmla="*/ 47648 w 350230"/>
                  <a:gd name="connsiteY6" fmla="*/ 382403 h 765619"/>
                  <a:gd name="connsiteX7" fmla="*/ 196699 w 350230"/>
                  <a:gd name="connsiteY7" fmla="*/ 425571 h 765619"/>
                  <a:gd name="connsiteX8" fmla="*/ 255342 w 350230"/>
                  <a:gd name="connsiteY8" fmla="*/ 456521 h 765619"/>
                  <a:gd name="connsiteX9" fmla="*/ 314800 w 350230"/>
                  <a:gd name="connsiteY9" fmla="*/ 555889 h 765619"/>
                  <a:gd name="connsiteX10" fmla="*/ 338420 w 350230"/>
                  <a:gd name="connsiteY10" fmla="*/ 753810 h 76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0230" h="765619">
                    <a:moveTo>
                      <a:pt x="113621" y="18326"/>
                    </a:moveTo>
                    <a:cubicBezTo>
                      <a:pt x="136427" y="24842"/>
                      <a:pt x="153531" y="52535"/>
                      <a:pt x="153531" y="86743"/>
                    </a:cubicBezTo>
                    <a:cubicBezTo>
                      <a:pt x="153531" y="124210"/>
                      <a:pt x="133169" y="154346"/>
                      <a:pt x="106291" y="156789"/>
                    </a:cubicBezTo>
                    <a:cubicBezTo>
                      <a:pt x="91630" y="213803"/>
                      <a:pt x="60680" y="262673"/>
                      <a:pt x="18326" y="295252"/>
                    </a:cubicBezTo>
                    <a:lnTo>
                      <a:pt x="24842" y="354710"/>
                    </a:lnTo>
                    <a:cubicBezTo>
                      <a:pt x="25657" y="364484"/>
                      <a:pt x="31358" y="372629"/>
                      <a:pt x="38688" y="378330"/>
                    </a:cubicBezTo>
                    <a:cubicBezTo>
                      <a:pt x="41132" y="379959"/>
                      <a:pt x="44390" y="381588"/>
                      <a:pt x="47648" y="382403"/>
                    </a:cubicBezTo>
                    <a:lnTo>
                      <a:pt x="196699" y="425571"/>
                    </a:lnTo>
                    <a:cubicBezTo>
                      <a:pt x="216247" y="429643"/>
                      <a:pt x="235795" y="440231"/>
                      <a:pt x="255342" y="456521"/>
                    </a:cubicBezTo>
                    <a:cubicBezTo>
                      <a:pt x="286293" y="481771"/>
                      <a:pt x="306655" y="516794"/>
                      <a:pt x="314800" y="555889"/>
                    </a:cubicBezTo>
                    <a:lnTo>
                      <a:pt x="338420" y="75381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8" name="Freihandform: Form 58">
                <a:extLst>
                  <a:ext uri="{FF2B5EF4-FFF2-40B4-BE49-F238E27FC236}">
                    <a16:creationId xmlns:a16="http://schemas.microsoft.com/office/drawing/2014/main" id="{3EB75069-3DF4-7F81-1426-B40FF4F96889}"/>
                  </a:ext>
                </a:extLst>
              </p:cNvPr>
              <p:cNvSpPr/>
              <p:nvPr/>
            </p:nvSpPr>
            <p:spPr bwMode="gray">
              <a:xfrm>
                <a:off x="15110644" y="9948042"/>
                <a:ext cx="248239" cy="90819"/>
              </a:xfrm>
              <a:custGeom>
                <a:avLst/>
                <a:gdLst>
                  <a:gd name="connsiteX0" fmla="*/ 316429 w 333940"/>
                  <a:gd name="connsiteY0" fmla="*/ 18326 h 122173"/>
                  <a:gd name="connsiteX1" fmla="*/ 258600 w 333940"/>
                  <a:gd name="connsiteY1" fmla="*/ 70453 h 122173"/>
                  <a:gd name="connsiteX2" fmla="*/ 76155 w 333940"/>
                  <a:gd name="connsiteY2" fmla="*/ 70453 h 122173"/>
                  <a:gd name="connsiteX3" fmla="*/ 18326 w 333940"/>
                  <a:gd name="connsiteY3" fmla="*/ 18326 h 122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3940" h="122173">
                    <a:moveTo>
                      <a:pt x="316429" y="18326"/>
                    </a:moveTo>
                    <a:lnTo>
                      <a:pt x="258600" y="70453"/>
                    </a:lnTo>
                    <a:cubicBezTo>
                      <a:pt x="206473" y="116879"/>
                      <a:pt x="128282" y="116879"/>
                      <a:pt x="76155" y="70453"/>
                    </a:cubicBez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9" name="Freihandform: Form 59">
                <a:extLst>
                  <a:ext uri="{FF2B5EF4-FFF2-40B4-BE49-F238E27FC236}">
                    <a16:creationId xmlns:a16="http://schemas.microsoft.com/office/drawing/2014/main" id="{EC1ADFB6-427F-7932-BBED-2347C79E7F89}"/>
                  </a:ext>
                </a:extLst>
              </p:cNvPr>
              <p:cNvSpPr/>
              <p:nvPr/>
            </p:nvSpPr>
            <p:spPr bwMode="gray">
              <a:xfrm>
                <a:off x="15062965" y="9461856"/>
                <a:ext cx="339058" cy="236130"/>
              </a:xfrm>
              <a:custGeom>
                <a:avLst/>
                <a:gdLst>
                  <a:gd name="connsiteX0" fmla="*/ 18935 w 456113"/>
                  <a:gd name="connsiteY0" fmla="*/ 304212 h 317650"/>
                  <a:gd name="connsiteX1" fmla="*/ 31967 w 456113"/>
                  <a:gd name="connsiteY1" fmla="*/ 179595 h 317650"/>
                  <a:gd name="connsiteX2" fmla="*/ 230702 w 456113"/>
                  <a:gd name="connsiteY2" fmla="*/ 18326 h 317650"/>
                  <a:gd name="connsiteX3" fmla="*/ 429437 w 456113"/>
                  <a:gd name="connsiteY3" fmla="*/ 179595 h 317650"/>
                  <a:gd name="connsiteX4" fmla="*/ 442469 w 456113"/>
                  <a:gd name="connsiteY4" fmla="*/ 304212 h 31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6113" h="317650">
                    <a:moveTo>
                      <a:pt x="18935" y="304212"/>
                    </a:moveTo>
                    <a:cubicBezTo>
                      <a:pt x="18935" y="304212"/>
                      <a:pt x="14048" y="236609"/>
                      <a:pt x="31967" y="179595"/>
                    </a:cubicBezTo>
                    <a:cubicBezTo>
                      <a:pt x="31967" y="179595"/>
                      <a:pt x="73506" y="18326"/>
                      <a:pt x="230702" y="18326"/>
                    </a:cubicBezTo>
                    <a:cubicBezTo>
                      <a:pt x="387899" y="18326"/>
                      <a:pt x="429437" y="179595"/>
                      <a:pt x="429437" y="179595"/>
                    </a:cubicBezTo>
                    <a:cubicBezTo>
                      <a:pt x="447356" y="235794"/>
                      <a:pt x="442469" y="304212"/>
                      <a:pt x="442469" y="30421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0" name="Freihandform: Form 60">
                <a:extLst>
                  <a:ext uri="{FF2B5EF4-FFF2-40B4-BE49-F238E27FC236}">
                    <a16:creationId xmlns:a16="http://schemas.microsoft.com/office/drawing/2014/main" id="{ECBC1AA2-6DDC-13ED-E042-C416E749651C}"/>
                  </a:ext>
                </a:extLst>
              </p:cNvPr>
              <p:cNvSpPr/>
              <p:nvPr/>
            </p:nvSpPr>
            <p:spPr bwMode="gray">
              <a:xfrm>
                <a:off x="15068867" y="9553854"/>
                <a:ext cx="314840" cy="84765"/>
              </a:xfrm>
              <a:custGeom>
                <a:avLst/>
                <a:gdLst>
                  <a:gd name="connsiteX0" fmla="*/ 18326 w 423534"/>
                  <a:gd name="connsiteY0" fmla="*/ 90045 h 114028"/>
                  <a:gd name="connsiteX1" fmla="*/ 228464 w 423534"/>
                  <a:gd name="connsiteY1" fmla="*/ 52578 h 114028"/>
                  <a:gd name="connsiteX2" fmla="*/ 407652 w 423534"/>
                  <a:gd name="connsiteY2" fmla="*/ 21628 h 11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23534" h="114028">
                    <a:moveTo>
                      <a:pt x="18326" y="90045"/>
                    </a:moveTo>
                    <a:cubicBezTo>
                      <a:pt x="62309" y="106335"/>
                      <a:pt x="129097" y="107149"/>
                      <a:pt x="228464" y="52578"/>
                    </a:cubicBezTo>
                    <a:cubicBezTo>
                      <a:pt x="288737" y="19184"/>
                      <a:pt x="352267" y="13483"/>
                      <a:pt x="407652" y="21628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1" name="Freihandform: Form 61">
                <a:extLst>
                  <a:ext uri="{FF2B5EF4-FFF2-40B4-BE49-F238E27FC236}">
                    <a16:creationId xmlns:a16="http://schemas.microsoft.com/office/drawing/2014/main" id="{8170D1CE-B681-9087-AA30-D4D4E1B36B89}"/>
                  </a:ext>
                </a:extLst>
              </p:cNvPr>
              <p:cNvSpPr/>
              <p:nvPr/>
            </p:nvSpPr>
            <p:spPr bwMode="gray">
              <a:xfrm>
                <a:off x="15407762" y="9713728"/>
                <a:ext cx="217966" cy="405659"/>
              </a:xfrm>
              <a:custGeom>
                <a:avLst/>
                <a:gdLst>
                  <a:gd name="connsiteX0" fmla="*/ 114656 w 293216"/>
                  <a:gd name="connsiteY0" fmla="*/ 18326 h 545707"/>
                  <a:gd name="connsiteX1" fmla="*/ 139905 w 293216"/>
                  <a:gd name="connsiteY1" fmla="*/ 90816 h 545707"/>
                  <a:gd name="connsiteX2" fmla="*/ 82076 w 293216"/>
                  <a:gd name="connsiteY2" fmla="*/ 148644 h 545707"/>
                  <a:gd name="connsiteX3" fmla="*/ 29949 w 293216"/>
                  <a:gd name="connsiteY3" fmla="*/ 222763 h 545707"/>
                  <a:gd name="connsiteX4" fmla="*/ 44610 w 293216"/>
                  <a:gd name="connsiteY4" fmla="*/ 270818 h 545707"/>
                  <a:gd name="connsiteX5" fmla="*/ 76375 w 293216"/>
                  <a:gd name="connsiteY5" fmla="*/ 281406 h 545707"/>
                  <a:gd name="connsiteX6" fmla="*/ 275925 w 293216"/>
                  <a:gd name="connsiteY6" fmla="*/ 515979 h 545707"/>
                  <a:gd name="connsiteX7" fmla="*/ 276739 w 293216"/>
                  <a:gd name="connsiteY7" fmla="*/ 528196 h 545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3216" h="545707">
                    <a:moveTo>
                      <a:pt x="114656" y="18326"/>
                    </a:moveTo>
                    <a:cubicBezTo>
                      <a:pt x="135833" y="28914"/>
                      <a:pt x="146421" y="58236"/>
                      <a:pt x="139905" y="90816"/>
                    </a:cubicBezTo>
                    <a:cubicBezTo>
                      <a:pt x="133389" y="126653"/>
                      <a:pt x="108140" y="151088"/>
                      <a:pt x="82076" y="148644"/>
                    </a:cubicBezTo>
                    <a:cubicBezTo>
                      <a:pt x="68230" y="177151"/>
                      <a:pt x="51126" y="201586"/>
                      <a:pt x="29949" y="222763"/>
                    </a:cubicBezTo>
                    <a:cubicBezTo>
                      <a:pt x="9587" y="243125"/>
                      <a:pt x="16917" y="261044"/>
                      <a:pt x="44610" y="270818"/>
                    </a:cubicBezTo>
                    <a:lnTo>
                      <a:pt x="76375" y="281406"/>
                    </a:lnTo>
                    <a:cubicBezTo>
                      <a:pt x="174928" y="313986"/>
                      <a:pt x="271038" y="366113"/>
                      <a:pt x="275925" y="515979"/>
                    </a:cubicBezTo>
                    <a:cubicBezTo>
                      <a:pt x="275925" y="520051"/>
                      <a:pt x="276739" y="524124"/>
                      <a:pt x="276739" y="52819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2" name="Freihandform: Form 62">
                <a:extLst>
                  <a:ext uri="{FF2B5EF4-FFF2-40B4-BE49-F238E27FC236}">
                    <a16:creationId xmlns:a16="http://schemas.microsoft.com/office/drawing/2014/main" id="{359D6000-0C72-02BC-A38F-1E0B4126CF2E}"/>
                  </a:ext>
                </a:extLst>
              </p:cNvPr>
              <p:cNvSpPr/>
              <p:nvPr/>
            </p:nvSpPr>
            <p:spPr bwMode="gray">
              <a:xfrm>
                <a:off x="15369176" y="9483047"/>
                <a:ext cx="145310" cy="254294"/>
              </a:xfrm>
              <a:custGeom>
                <a:avLst/>
                <a:gdLst>
                  <a:gd name="connsiteX0" fmla="*/ 166563 w 195477"/>
                  <a:gd name="connsiteY0" fmla="*/ 328646 h 342085"/>
                  <a:gd name="connsiteX1" fmla="*/ 177151 w 195477"/>
                  <a:gd name="connsiteY1" fmla="*/ 208102 h 342085"/>
                  <a:gd name="connsiteX2" fmla="*/ 18326 w 195477"/>
                  <a:gd name="connsiteY2" fmla="*/ 18326 h 342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5477" h="342085">
                    <a:moveTo>
                      <a:pt x="166563" y="328646"/>
                    </a:moveTo>
                    <a:cubicBezTo>
                      <a:pt x="166563" y="328646"/>
                      <a:pt x="183667" y="265116"/>
                      <a:pt x="177151" y="208102"/>
                    </a:cubicBezTo>
                    <a:cubicBezTo>
                      <a:pt x="177151" y="208102"/>
                      <a:pt x="167378" y="47647"/>
                      <a:pt x="18326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3" name="Freihandform: Form 63">
                <a:extLst>
                  <a:ext uri="{FF2B5EF4-FFF2-40B4-BE49-F238E27FC236}">
                    <a16:creationId xmlns:a16="http://schemas.microsoft.com/office/drawing/2014/main" id="{C7A9EB44-714D-665F-E32E-1CBB001A765F}"/>
                  </a:ext>
                </a:extLst>
              </p:cNvPr>
              <p:cNvSpPr/>
              <p:nvPr/>
            </p:nvSpPr>
            <p:spPr bwMode="gray">
              <a:xfrm>
                <a:off x="14842424" y="9713728"/>
                <a:ext cx="217966" cy="405659"/>
              </a:xfrm>
              <a:custGeom>
                <a:avLst/>
                <a:gdLst>
                  <a:gd name="connsiteX0" fmla="*/ 180409 w 293216"/>
                  <a:gd name="connsiteY0" fmla="*/ 18326 h 545707"/>
                  <a:gd name="connsiteX1" fmla="*/ 155160 w 293216"/>
                  <a:gd name="connsiteY1" fmla="*/ 90816 h 545707"/>
                  <a:gd name="connsiteX2" fmla="*/ 212989 w 293216"/>
                  <a:gd name="connsiteY2" fmla="*/ 148644 h 545707"/>
                  <a:gd name="connsiteX3" fmla="*/ 265116 w 293216"/>
                  <a:gd name="connsiteY3" fmla="*/ 222763 h 545707"/>
                  <a:gd name="connsiteX4" fmla="*/ 250455 w 293216"/>
                  <a:gd name="connsiteY4" fmla="*/ 270818 h 545707"/>
                  <a:gd name="connsiteX5" fmla="*/ 218690 w 293216"/>
                  <a:gd name="connsiteY5" fmla="*/ 281406 h 545707"/>
                  <a:gd name="connsiteX6" fmla="*/ 19141 w 293216"/>
                  <a:gd name="connsiteY6" fmla="*/ 515979 h 545707"/>
                  <a:gd name="connsiteX7" fmla="*/ 18326 w 293216"/>
                  <a:gd name="connsiteY7" fmla="*/ 528196 h 545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3216" h="545707">
                    <a:moveTo>
                      <a:pt x="180409" y="18326"/>
                    </a:moveTo>
                    <a:cubicBezTo>
                      <a:pt x="159233" y="28914"/>
                      <a:pt x="148644" y="58236"/>
                      <a:pt x="155160" y="90816"/>
                    </a:cubicBezTo>
                    <a:cubicBezTo>
                      <a:pt x="161676" y="126653"/>
                      <a:pt x="186925" y="151088"/>
                      <a:pt x="212989" y="148644"/>
                    </a:cubicBezTo>
                    <a:cubicBezTo>
                      <a:pt x="226835" y="177151"/>
                      <a:pt x="243940" y="201586"/>
                      <a:pt x="265116" y="222763"/>
                    </a:cubicBezTo>
                    <a:cubicBezTo>
                      <a:pt x="285479" y="243125"/>
                      <a:pt x="278148" y="261044"/>
                      <a:pt x="250455" y="270818"/>
                    </a:cubicBezTo>
                    <a:lnTo>
                      <a:pt x="218690" y="281406"/>
                    </a:lnTo>
                    <a:cubicBezTo>
                      <a:pt x="120137" y="313986"/>
                      <a:pt x="24028" y="366113"/>
                      <a:pt x="19141" y="515979"/>
                    </a:cubicBezTo>
                    <a:cubicBezTo>
                      <a:pt x="19141" y="520051"/>
                      <a:pt x="18326" y="524124"/>
                      <a:pt x="18326" y="52819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4" name="Freihandform: Form 64">
                <a:extLst>
                  <a:ext uri="{FF2B5EF4-FFF2-40B4-BE49-F238E27FC236}">
                    <a16:creationId xmlns:a16="http://schemas.microsoft.com/office/drawing/2014/main" id="{D7A659FD-5157-B195-1EA6-9E388E822EB2}"/>
                  </a:ext>
                </a:extLst>
              </p:cNvPr>
              <p:cNvSpPr/>
              <p:nvPr/>
            </p:nvSpPr>
            <p:spPr bwMode="gray">
              <a:xfrm>
                <a:off x="14953940" y="9483047"/>
                <a:ext cx="145310" cy="254294"/>
              </a:xfrm>
              <a:custGeom>
                <a:avLst/>
                <a:gdLst>
                  <a:gd name="connsiteX0" fmla="*/ 30395 w 195477"/>
                  <a:gd name="connsiteY0" fmla="*/ 328646 h 342085"/>
                  <a:gd name="connsiteX1" fmla="*/ 19806 w 195477"/>
                  <a:gd name="connsiteY1" fmla="*/ 208102 h 342085"/>
                  <a:gd name="connsiteX2" fmla="*/ 178632 w 195477"/>
                  <a:gd name="connsiteY2" fmla="*/ 18326 h 342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5477" h="342085">
                    <a:moveTo>
                      <a:pt x="30395" y="328646"/>
                    </a:moveTo>
                    <a:cubicBezTo>
                      <a:pt x="30395" y="328646"/>
                      <a:pt x="13291" y="265116"/>
                      <a:pt x="19806" y="208102"/>
                    </a:cubicBezTo>
                    <a:cubicBezTo>
                      <a:pt x="19806" y="208102"/>
                      <a:pt x="29580" y="47647"/>
                      <a:pt x="178632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0" name="Gruppieren 65">
              <a:extLst>
                <a:ext uri="{FF2B5EF4-FFF2-40B4-BE49-F238E27FC236}">
                  <a16:creationId xmlns:a16="http://schemas.microsoft.com/office/drawing/2014/main" id="{356953EF-CD1B-ABB7-D211-C189B0BD1A7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4483106" y="3209638"/>
              <a:ext cx="358756" cy="430343"/>
              <a:chOff x="9950269" y="7309727"/>
              <a:chExt cx="593871" cy="712373"/>
            </a:xfrm>
          </p:grpSpPr>
          <p:sp>
            <p:nvSpPr>
              <p:cNvPr id="120" name="Freihandform: Form 66">
                <a:extLst>
                  <a:ext uri="{FF2B5EF4-FFF2-40B4-BE49-F238E27FC236}">
                    <a16:creationId xmlns:a16="http://schemas.microsoft.com/office/drawing/2014/main" id="{8EE9B7E4-6E87-8BAE-256A-C441E3E84EBE}"/>
                  </a:ext>
                </a:extLst>
              </p:cNvPr>
              <p:cNvSpPr/>
              <p:nvPr/>
            </p:nvSpPr>
            <p:spPr bwMode="gray">
              <a:xfrm>
                <a:off x="10401133" y="7598991"/>
                <a:ext cx="43668" cy="136463"/>
              </a:xfrm>
              <a:custGeom>
                <a:avLst/>
                <a:gdLst>
                  <a:gd name="connsiteX0" fmla="*/ 12282 w 43668"/>
                  <a:gd name="connsiteY0" fmla="*/ 127456 h 136462"/>
                  <a:gd name="connsiteX1" fmla="*/ 12282 w 43668"/>
                  <a:gd name="connsiteY1" fmla="*/ 12282 h 136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668" h="136462">
                    <a:moveTo>
                      <a:pt x="12282" y="127456"/>
                    </a:moveTo>
                    <a:cubicBezTo>
                      <a:pt x="43941" y="95797"/>
                      <a:pt x="43941" y="43941"/>
                      <a:pt x="12282" y="1228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21" name="Freihandform: Form 67">
                <a:extLst>
                  <a:ext uri="{FF2B5EF4-FFF2-40B4-BE49-F238E27FC236}">
                    <a16:creationId xmlns:a16="http://schemas.microsoft.com/office/drawing/2014/main" id="{133ED818-C44E-ADF4-1C5C-B53A26330CE5}"/>
                  </a:ext>
                </a:extLst>
              </p:cNvPr>
              <p:cNvSpPr/>
              <p:nvPr/>
            </p:nvSpPr>
            <p:spPr bwMode="gray">
              <a:xfrm>
                <a:off x="9950269" y="7749175"/>
                <a:ext cx="294760" cy="272925"/>
              </a:xfrm>
              <a:custGeom>
                <a:avLst/>
                <a:gdLst>
                  <a:gd name="connsiteX0" fmla="*/ 175491 w 294759"/>
                  <a:gd name="connsiteY0" fmla="*/ 238729 h 272925"/>
                  <a:gd name="connsiteX1" fmla="*/ 186408 w 294759"/>
                  <a:gd name="connsiteY1" fmla="*/ 257834 h 272925"/>
                  <a:gd name="connsiteX2" fmla="*/ 207151 w 294759"/>
                  <a:gd name="connsiteY2" fmla="*/ 263293 h 272925"/>
                  <a:gd name="connsiteX3" fmla="*/ 227893 w 294759"/>
                  <a:gd name="connsiteY3" fmla="*/ 251284 h 272925"/>
                  <a:gd name="connsiteX4" fmla="*/ 233351 w 294759"/>
                  <a:gd name="connsiteY4" fmla="*/ 230542 h 272925"/>
                  <a:gd name="connsiteX5" fmla="*/ 222434 w 294759"/>
                  <a:gd name="connsiteY5" fmla="*/ 211983 h 272925"/>
                  <a:gd name="connsiteX6" fmla="*/ 248635 w 294759"/>
                  <a:gd name="connsiteY6" fmla="*/ 166131 h 272925"/>
                  <a:gd name="connsiteX7" fmla="*/ 270469 w 294759"/>
                  <a:gd name="connsiteY7" fmla="*/ 166131 h 272925"/>
                  <a:gd name="connsiteX8" fmla="*/ 285753 w 294759"/>
                  <a:gd name="connsiteY8" fmla="*/ 150847 h 272925"/>
                  <a:gd name="connsiteX9" fmla="*/ 285753 w 294759"/>
                  <a:gd name="connsiteY9" fmla="*/ 126830 h 272925"/>
                  <a:gd name="connsiteX10" fmla="*/ 270469 w 294759"/>
                  <a:gd name="connsiteY10" fmla="*/ 111546 h 272925"/>
                  <a:gd name="connsiteX11" fmla="*/ 248635 w 294759"/>
                  <a:gd name="connsiteY11" fmla="*/ 111546 h 272925"/>
                  <a:gd name="connsiteX12" fmla="*/ 222434 w 294759"/>
                  <a:gd name="connsiteY12" fmla="*/ 65695 h 272925"/>
                  <a:gd name="connsiteX13" fmla="*/ 233351 w 294759"/>
                  <a:gd name="connsiteY13" fmla="*/ 47136 h 272925"/>
                  <a:gd name="connsiteX14" fmla="*/ 227893 w 294759"/>
                  <a:gd name="connsiteY14" fmla="*/ 26393 h 272925"/>
                  <a:gd name="connsiteX15" fmla="*/ 207151 w 294759"/>
                  <a:gd name="connsiteY15" fmla="*/ 14385 h 272925"/>
                  <a:gd name="connsiteX16" fmla="*/ 186408 w 294759"/>
                  <a:gd name="connsiteY16" fmla="*/ 19843 h 272925"/>
                  <a:gd name="connsiteX17" fmla="*/ 175491 w 294759"/>
                  <a:gd name="connsiteY17" fmla="*/ 38948 h 272925"/>
                  <a:gd name="connsiteX18" fmla="*/ 122544 w 294759"/>
                  <a:gd name="connsiteY18" fmla="*/ 38948 h 272925"/>
                  <a:gd name="connsiteX19" fmla="*/ 111627 w 294759"/>
                  <a:gd name="connsiteY19" fmla="*/ 19843 h 272925"/>
                  <a:gd name="connsiteX20" fmla="*/ 90884 w 294759"/>
                  <a:gd name="connsiteY20" fmla="*/ 14385 h 272925"/>
                  <a:gd name="connsiteX21" fmla="*/ 70142 w 294759"/>
                  <a:gd name="connsiteY21" fmla="*/ 26393 h 272925"/>
                  <a:gd name="connsiteX22" fmla="*/ 64683 w 294759"/>
                  <a:gd name="connsiteY22" fmla="*/ 47136 h 272925"/>
                  <a:gd name="connsiteX23" fmla="*/ 75601 w 294759"/>
                  <a:gd name="connsiteY23" fmla="*/ 65695 h 272925"/>
                  <a:gd name="connsiteX24" fmla="*/ 49400 w 294759"/>
                  <a:gd name="connsiteY24" fmla="*/ 111546 h 272925"/>
                  <a:gd name="connsiteX25" fmla="*/ 27566 w 294759"/>
                  <a:gd name="connsiteY25" fmla="*/ 111546 h 272925"/>
                  <a:gd name="connsiteX26" fmla="*/ 12282 w 294759"/>
                  <a:gd name="connsiteY26" fmla="*/ 126830 h 272925"/>
                  <a:gd name="connsiteX27" fmla="*/ 12282 w 294759"/>
                  <a:gd name="connsiteY27" fmla="*/ 150847 h 272925"/>
                  <a:gd name="connsiteX28" fmla="*/ 27566 w 294759"/>
                  <a:gd name="connsiteY28" fmla="*/ 166131 h 272925"/>
                  <a:gd name="connsiteX29" fmla="*/ 49400 w 294759"/>
                  <a:gd name="connsiteY29" fmla="*/ 166131 h 272925"/>
                  <a:gd name="connsiteX30" fmla="*/ 75601 w 294759"/>
                  <a:gd name="connsiteY30" fmla="*/ 211983 h 272925"/>
                  <a:gd name="connsiteX31" fmla="*/ 64683 w 294759"/>
                  <a:gd name="connsiteY31" fmla="*/ 230542 h 272925"/>
                  <a:gd name="connsiteX32" fmla="*/ 70142 w 294759"/>
                  <a:gd name="connsiteY32" fmla="*/ 251284 h 272925"/>
                  <a:gd name="connsiteX33" fmla="*/ 90884 w 294759"/>
                  <a:gd name="connsiteY33" fmla="*/ 263293 h 272925"/>
                  <a:gd name="connsiteX34" fmla="*/ 111627 w 294759"/>
                  <a:gd name="connsiteY34" fmla="*/ 257834 h 272925"/>
                  <a:gd name="connsiteX35" fmla="*/ 122544 w 294759"/>
                  <a:gd name="connsiteY35" fmla="*/ 238729 h 272925"/>
                  <a:gd name="connsiteX36" fmla="*/ 175491 w 294759"/>
                  <a:gd name="connsiteY36" fmla="*/ 238729 h 27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94759" h="272925">
                    <a:moveTo>
                      <a:pt x="175491" y="238729"/>
                    </a:moveTo>
                    <a:lnTo>
                      <a:pt x="186408" y="257834"/>
                    </a:lnTo>
                    <a:cubicBezTo>
                      <a:pt x="190775" y="264930"/>
                      <a:pt x="200054" y="267659"/>
                      <a:pt x="207151" y="263293"/>
                    </a:cubicBezTo>
                    <a:lnTo>
                      <a:pt x="227893" y="251284"/>
                    </a:lnTo>
                    <a:cubicBezTo>
                      <a:pt x="234989" y="246917"/>
                      <a:pt x="237718" y="237638"/>
                      <a:pt x="233351" y="230542"/>
                    </a:cubicBezTo>
                    <a:lnTo>
                      <a:pt x="222434" y="211983"/>
                    </a:lnTo>
                    <a:cubicBezTo>
                      <a:pt x="235535" y="198882"/>
                      <a:pt x="244268" y="183053"/>
                      <a:pt x="248635" y="166131"/>
                    </a:cubicBezTo>
                    <a:lnTo>
                      <a:pt x="270469" y="166131"/>
                    </a:lnTo>
                    <a:cubicBezTo>
                      <a:pt x="278657" y="166131"/>
                      <a:pt x="285753" y="159581"/>
                      <a:pt x="285753" y="150847"/>
                    </a:cubicBezTo>
                    <a:lnTo>
                      <a:pt x="285753" y="126830"/>
                    </a:lnTo>
                    <a:cubicBezTo>
                      <a:pt x="285753" y="118642"/>
                      <a:pt x="279203" y="111546"/>
                      <a:pt x="270469" y="111546"/>
                    </a:cubicBezTo>
                    <a:lnTo>
                      <a:pt x="248635" y="111546"/>
                    </a:lnTo>
                    <a:cubicBezTo>
                      <a:pt x="244268" y="94625"/>
                      <a:pt x="235535" y="78795"/>
                      <a:pt x="222434" y="65695"/>
                    </a:cubicBezTo>
                    <a:lnTo>
                      <a:pt x="233351" y="47136"/>
                    </a:lnTo>
                    <a:cubicBezTo>
                      <a:pt x="237718" y="40040"/>
                      <a:pt x="234989" y="30760"/>
                      <a:pt x="227893" y="26393"/>
                    </a:cubicBezTo>
                    <a:lnTo>
                      <a:pt x="207151" y="14385"/>
                    </a:lnTo>
                    <a:cubicBezTo>
                      <a:pt x="200054" y="10018"/>
                      <a:pt x="190775" y="12747"/>
                      <a:pt x="186408" y="19843"/>
                    </a:cubicBezTo>
                    <a:lnTo>
                      <a:pt x="175491" y="38948"/>
                    </a:lnTo>
                    <a:cubicBezTo>
                      <a:pt x="158024" y="34581"/>
                      <a:pt x="140011" y="34581"/>
                      <a:pt x="122544" y="38948"/>
                    </a:cubicBezTo>
                    <a:lnTo>
                      <a:pt x="111627" y="19843"/>
                    </a:lnTo>
                    <a:cubicBezTo>
                      <a:pt x="107260" y="12747"/>
                      <a:pt x="97980" y="10018"/>
                      <a:pt x="90884" y="14385"/>
                    </a:cubicBezTo>
                    <a:lnTo>
                      <a:pt x="70142" y="26393"/>
                    </a:lnTo>
                    <a:cubicBezTo>
                      <a:pt x="63046" y="30760"/>
                      <a:pt x="60317" y="40040"/>
                      <a:pt x="64683" y="47136"/>
                    </a:cubicBezTo>
                    <a:lnTo>
                      <a:pt x="75601" y="65695"/>
                    </a:lnTo>
                    <a:cubicBezTo>
                      <a:pt x="62500" y="78795"/>
                      <a:pt x="53766" y="94625"/>
                      <a:pt x="49400" y="111546"/>
                    </a:cubicBezTo>
                    <a:lnTo>
                      <a:pt x="27566" y="111546"/>
                    </a:lnTo>
                    <a:cubicBezTo>
                      <a:pt x="19378" y="111546"/>
                      <a:pt x="12282" y="118096"/>
                      <a:pt x="12282" y="126830"/>
                    </a:cubicBezTo>
                    <a:lnTo>
                      <a:pt x="12282" y="150847"/>
                    </a:lnTo>
                    <a:cubicBezTo>
                      <a:pt x="12282" y="159035"/>
                      <a:pt x="18832" y="166131"/>
                      <a:pt x="27566" y="166131"/>
                    </a:cubicBezTo>
                    <a:lnTo>
                      <a:pt x="49400" y="166131"/>
                    </a:lnTo>
                    <a:cubicBezTo>
                      <a:pt x="53766" y="183053"/>
                      <a:pt x="62500" y="198882"/>
                      <a:pt x="75601" y="211983"/>
                    </a:cubicBezTo>
                    <a:lnTo>
                      <a:pt x="64683" y="230542"/>
                    </a:lnTo>
                    <a:cubicBezTo>
                      <a:pt x="60317" y="237638"/>
                      <a:pt x="63046" y="246917"/>
                      <a:pt x="70142" y="251284"/>
                    </a:cubicBezTo>
                    <a:lnTo>
                      <a:pt x="90884" y="263293"/>
                    </a:lnTo>
                    <a:cubicBezTo>
                      <a:pt x="97980" y="267659"/>
                      <a:pt x="107260" y="264930"/>
                      <a:pt x="111627" y="257834"/>
                    </a:cubicBezTo>
                    <a:lnTo>
                      <a:pt x="122544" y="238729"/>
                    </a:lnTo>
                    <a:cubicBezTo>
                      <a:pt x="140011" y="243096"/>
                      <a:pt x="158024" y="243096"/>
                      <a:pt x="175491" y="238729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0" name="Freihandform: Form 68">
                <a:extLst>
                  <a:ext uri="{FF2B5EF4-FFF2-40B4-BE49-F238E27FC236}">
                    <a16:creationId xmlns:a16="http://schemas.microsoft.com/office/drawing/2014/main" id="{81380F0C-1798-15F3-DACC-7AC3EFFABE04}"/>
                  </a:ext>
                </a:extLst>
              </p:cNvPr>
              <p:cNvSpPr/>
              <p:nvPr/>
            </p:nvSpPr>
            <p:spPr bwMode="gray">
              <a:xfrm>
                <a:off x="10156587" y="7488828"/>
                <a:ext cx="387553" cy="360261"/>
              </a:xfrm>
              <a:custGeom>
                <a:avLst/>
                <a:gdLst>
                  <a:gd name="connsiteX0" fmla="*/ 230622 w 387553"/>
                  <a:gd name="connsiteY0" fmla="*/ 313492 h 360261"/>
                  <a:gd name="connsiteX1" fmla="*/ 245360 w 387553"/>
                  <a:gd name="connsiteY1" fmla="*/ 338601 h 360261"/>
                  <a:gd name="connsiteX2" fmla="*/ 273198 w 387553"/>
                  <a:gd name="connsiteY2" fmla="*/ 346243 h 360261"/>
                  <a:gd name="connsiteX3" fmla="*/ 301037 w 387553"/>
                  <a:gd name="connsiteY3" fmla="*/ 330413 h 360261"/>
                  <a:gd name="connsiteX4" fmla="*/ 308678 w 387553"/>
                  <a:gd name="connsiteY4" fmla="*/ 302575 h 360261"/>
                  <a:gd name="connsiteX5" fmla="*/ 294486 w 387553"/>
                  <a:gd name="connsiteY5" fmla="*/ 277465 h 360261"/>
                  <a:gd name="connsiteX6" fmla="*/ 329421 w 387553"/>
                  <a:gd name="connsiteY6" fmla="*/ 216876 h 360261"/>
                  <a:gd name="connsiteX7" fmla="*/ 358351 w 387553"/>
                  <a:gd name="connsiteY7" fmla="*/ 216876 h 360261"/>
                  <a:gd name="connsiteX8" fmla="*/ 378547 w 387553"/>
                  <a:gd name="connsiteY8" fmla="*/ 196679 h 360261"/>
                  <a:gd name="connsiteX9" fmla="*/ 378547 w 387553"/>
                  <a:gd name="connsiteY9" fmla="*/ 164474 h 360261"/>
                  <a:gd name="connsiteX10" fmla="*/ 358351 w 387553"/>
                  <a:gd name="connsiteY10" fmla="*/ 144278 h 360261"/>
                  <a:gd name="connsiteX11" fmla="*/ 329421 w 387553"/>
                  <a:gd name="connsiteY11" fmla="*/ 144278 h 360261"/>
                  <a:gd name="connsiteX12" fmla="*/ 294486 w 387553"/>
                  <a:gd name="connsiteY12" fmla="*/ 83688 h 360261"/>
                  <a:gd name="connsiteX13" fmla="*/ 308678 w 387553"/>
                  <a:gd name="connsiteY13" fmla="*/ 58579 h 360261"/>
                  <a:gd name="connsiteX14" fmla="*/ 301037 w 387553"/>
                  <a:gd name="connsiteY14" fmla="*/ 30741 h 360261"/>
                  <a:gd name="connsiteX15" fmla="*/ 273198 w 387553"/>
                  <a:gd name="connsiteY15" fmla="*/ 14911 h 360261"/>
                  <a:gd name="connsiteX16" fmla="*/ 245360 w 387553"/>
                  <a:gd name="connsiteY16" fmla="*/ 22553 h 360261"/>
                  <a:gd name="connsiteX17" fmla="*/ 230622 w 387553"/>
                  <a:gd name="connsiteY17" fmla="*/ 47662 h 360261"/>
                  <a:gd name="connsiteX18" fmla="*/ 160207 w 387553"/>
                  <a:gd name="connsiteY18" fmla="*/ 47662 h 360261"/>
                  <a:gd name="connsiteX19" fmla="*/ 145469 w 387553"/>
                  <a:gd name="connsiteY19" fmla="*/ 22553 h 360261"/>
                  <a:gd name="connsiteX20" fmla="*/ 117630 w 387553"/>
                  <a:gd name="connsiteY20" fmla="*/ 14911 h 360261"/>
                  <a:gd name="connsiteX21" fmla="*/ 89792 w 387553"/>
                  <a:gd name="connsiteY21" fmla="*/ 30741 h 360261"/>
                  <a:gd name="connsiteX22" fmla="*/ 82150 w 387553"/>
                  <a:gd name="connsiteY22" fmla="*/ 58579 h 360261"/>
                  <a:gd name="connsiteX23" fmla="*/ 96343 w 387553"/>
                  <a:gd name="connsiteY23" fmla="*/ 83688 h 360261"/>
                  <a:gd name="connsiteX24" fmla="*/ 61408 w 387553"/>
                  <a:gd name="connsiteY24" fmla="*/ 144278 h 360261"/>
                  <a:gd name="connsiteX25" fmla="*/ 32478 w 387553"/>
                  <a:gd name="connsiteY25" fmla="*/ 144278 h 360261"/>
                  <a:gd name="connsiteX26" fmla="*/ 12282 w 387553"/>
                  <a:gd name="connsiteY26" fmla="*/ 164474 h 360261"/>
                  <a:gd name="connsiteX27" fmla="*/ 12282 w 387553"/>
                  <a:gd name="connsiteY27" fmla="*/ 196679 h 360261"/>
                  <a:gd name="connsiteX28" fmla="*/ 32478 w 387553"/>
                  <a:gd name="connsiteY28" fmla="*/ 216876 h 360261"/>
                  <a:gd name="connsiteX29" fmla="*/ 61408 w 387553"/>
                  <a:gd name="connsiteY29" fmla="*/ 216876 h 360261"/>
                  <a:gd name="connsiteX30" fmla="*/ 96343 w 387553"/>
                  <a:gd name="connsiteY30" fmla="*/ 277465 h 360261"/>
                  <a:gd name="connsiteX31" fmla="*/ 82150 w 387553"/>
                  <a:gd name="connsiteY31" fmla="*/ 302575 h 360261"/>
                  <a:gd name="connsiteX32" fmla="*/ 89792 w 387553"/>
                  <a:gd name="connsiteY32" fmla="*/ 330413 h 360261"/>
                  <a:gd name="connsiteX33" fmla="*/ 117630 w 387553"/>
                  <a:gd name="connsiteY33" fmla="*/ 346243 h 360261"/>
                  <a:gd name="connsiteX34" fmla="*/ 145469 w 387553"/>
                  <a:gd name="connsiteY34" fmla="*/ 338601 h 360261"/>
                  <a:gd name="connsiteX35" fmla="*/ 160207 w 387553"/>
                  <a:gd name="connsiteY35" fmla="*/ 313492 h 360261"/>
                  <a:gd name="connsiteX36" fmla="*/ 230622 w 387553"/>
                  <a:gd name="connsiteY36" fmla="*/ 313492 h 360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387553" h="360261">
                    <a:moveTo>
                      <a:pt x="230622" y="313492"/>
                    </a:moveTo>
                    <a:lnTo>
                      <a:pt x="245360" y="338601"/>
                    </a:lnTo>
                    <a:cubicBezTo>
                      <a:pt x="250818" y="348426"/>
                      <a:pt x="263373" y="351701"/>
                      <a:pt x="273198" y="346243"/>
                    </a:cubicBezTo>
                    <a:lnTo>
                      <a:pt x="301037" y="330413"/>
                    </a:lnTo>
                    <a:cubicBezTo>
                      <a:pt x="310862" y="324954"/>
                      <a:pt x="314137" y="312400"/>
                      <a:pt x="308678" y="302575"/>
                    </a:cubicBezTo>
                    <a:lnTo>
                      <a:pt x="294486" y="277465"/>
                    </a:lnTo>
                    <a:cubicBezTo>
                      <a:pt x="311954" y="259998"/>
                      <a:pt x="323416" y="238710"/>
                      <a:pt x="329421" y="216876"/>
                    </a:cubicBezTo>
                    <a:lnTo>
                      <a:pt x="358351" y="216876"/>
                    </a:lnTo>
                    <a:cubicBezTo>
                      <a:pt x="369268" y="216876"/>
                      <a:pt x="378547" y="207596"/>
                      <a:pt x="378547" y="196679"/>
                    </a:cubicBezTo>
                    <a:lnTo>
                      <a:pt x="378547" y="164474"/>
                    </a:lnTo>
                    <a:cubicBezTo>
                      <a:pt x="378547" y="153557"/>
                      <a:pt x="369268" y="144278"/>
                      <a:pt x="358351" y="144278"/>
                    </a:cubicBezTo>
                    <a:lnTo>
                      <a:pt x="329421" y="144278"/>
                    </a:lnTo>
                    <a:cubicBezTo>
                      <a:pt x="323416" y="121898"/>
                      <a:pt x="311954" y="101156"/>
                      <a:pt x="294486" y="83688"/>
                    </a:cubicBezTo>
                    <a:lnTo>
                      <a:pt x="308678" y="58579"/>
                    </a:lnTo>
                    <a:cubicBezTo>
                      <a:pt x="314137" y="48754"/>
                      <a:pt x="310862" y="36745"/>
                      <a:pt x="301037" y="30741"/>
                    </a:cubicBezTo>
                    <a:lnTo>
                      <a:pt x="273198" y="14911"/>
                    </a:lnTo>
                    <a:cubicBezTo>
                      <a:pt x="263373" y="9453"/>
                      <a:pt x="251364" y="12728"/>
                      <a:pt x="245360" y="22553"/>
                    </a:cubicBezTo>
                    <a:lnTo>
                      <a:pt x="230622" y="47662"/>
                    </a:lnTo>
                    <a:cubicBezTo>
                      <a:pt x="207696" y="41658"/>
                      <a:pt x="183679" y="41658"/>
                      <a:pt x="160207" y="47662"/>
                    </a:cubicBezTo>
                    <a:lnTo>
                      <a:pt x="145469" y="22553"/>
                    </a:lnTo>
                    <a:cubicBezTo>
                      <a:pt x="140011" y="12728"/>
                      <a:pt x="127456" y="9453"/>
                      <a:pt x="117630" y="14911"/>
                    </a:cubicBezTo>
                    <a:lnTo>
                      <a:pt x="89792" y="30741"/>
                    </a:lnTo>
                    <a:cubicBezTo>
                      <a:pt x="79967" y="36199"/>
                      <a:pt x="76692" y="48754"/>
                      <a:pt x="82150" y="58579"/>
                    </a:cubicBezTo>
                    <a:lnTo>
                      <a:pt x="96343" y="83688"/>
                    </a:lnTo>
                    <a:cubicBezTo>
                      <a:pt x="78875" y="101156"/>
                      <a:pt x="67412" y="122444"/>
                      <a:pt x="61408" y="144278"/>
                    </a:cubicBezTo>
                    <a:lnTo>
                      <a:pt x="32478" y="144278"/>
                    </a:lnTo>
                    <a:cubicBezTo>
                      <a:pt x="21561" y="144278"/>
                      <a:pt x="12282" y="153557"/>
                      <a:pt x="12282" y="164474"/>
                    </a:cubicBezTo>
                    <a:lnTo>
                      <a:pt x="12282" y="196679"/>
                    </a:lnTo>
                    <a:cubicBezTo>
                      <a:pt x="12282" y="207596"/>
                      <a:pt x="21561" y="216876"/>
                      <a:pt x="32478" y="216876"/>
                    </a:cubicBezTo>
                    <a:lnTo>
                      <a:pt x="61408" y="216876"/>
                    </a:lnTo>
                    <a:cubicBezTo>
                      <a:pt x="67412" y="239256"/>
                      <a:pt x="78875" y="259998"/>
                      <a:pt x="96343" y="277465"/>
                    </a:cubicBezTo>
                    <a:lnTo>
                      <a:pt x="82150" y="302575"/>
                    </a:lnTo>
                    <a:cubicBezTo>
                      <a:pt x="76692" y="312400"/>
                      <a:pt x="79967" y="324409"/>
                      <a:pt x="89792" y="330413"/>
                    </a:cubicBezTo>
                    <a:lnTo>
                      <a:pt x="117630" y="346243"/>
                    </a:lnTo>
                    <a:cubicBezTo>
                      <a:pt x="127456" y="351701"/>
                      <a:pt x="139464" y="348426"/>
                      <a:pt x="145469" y="338601"/>
                    </a:cubicBezTo>
                    <a:lnTo>
                      <a:pt x="160207" y="313492"/>
                    </a:lnTo>
                    <a:cubicBezTo>
                      <a:pt x="183132" y="319496"/>
                      <a:pt x="207696" y="319496"/>
                      <a:pt x="230622" y="313492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1" name="Freihandform: Form 69">
                <a:extLst>
                  <a:ext uri="{FF2B5EF4-FFF2-40B4-BE49-F238E27FC236}">
                    <a16:creationId xmlns:a16="http://schemas.microsoft.com/office/drawing/2014/main" id="{E6955055-7556-2D8E-864C-726CF1186A29}"/>
                  </a:ext>
                </a:extLst>
              </p:cNvPr>
              <p:cNvSpPr/>
              <p:nvPr/>
            </p:nvSpPr>
            <p:spPr bwMode="gray">
              <a:xfrm>
                <a:off x="9950775" y="7309727"/>
                <a:ext cx="294759" cy="283842"/>
              </a:xfrm>
              <a:custGeom>
                <a:avLst/>
                <a:gdLst>
                  <a:gd name="connsiteX0" fmla="*/ 251396 w 294759"/>
                  <a:gd name="connsiteY0" fmla="*/ 162354 h 283842"/>
                  <a:gd name="connsiteX1" fmla="*/ 273230 w 294759"/>
                  <a:gd name="connsiteY1" fmla="*/ 160716 h 283842"/>
                  <a:gd name="connsiteX2" fmla="*/ 287422 w 294759"/>
                  <a:gd name="connsiteY2" fmla="*/ 144341 h 283842"/>
                  <a:gd name="connsiteX3" fmla="*/ 285785 w 294759"/>
                  <a:gd name="connsiteY3" fmla="*/ 120324 h 283842"/>
                  <a:gd name="connsiteX4" fmla="*/ 269409 w 294759"/>
                  <a:gd name="connsiteY4" fmla="*/ 106131 h 283842"/>
                  <a:gd name="connsiteX5" fmla="*/ 247575 w 294759"/>
                  <a:gd name="connsiteY5" fmla="*/ 107769 h 283842"/>
                  <a:gd name="connsiteX6" fmla="*/ 217553 w 294759"/>
                  <a:gd name="connsiteY6" fmla="*/ 64101 h 283842"/>
                  <a:gd name="connsiteX7" fmla="*/ 226833 w 294759"/>
                  <a:gd name="connsiteY7" fmla="*/ 44450 h 283842"/>
                  <a:gd name="connsiteX8" fmla="*/ 219736 w 294759"/>
                  <a:gd name="connsiteY8" fmla="*/ 24254 h 283842"/>
                  <a:gd name="connsiteX9" fmla="*/ 197902 w 294759"/>
                  <a:gd name="connsiteY9" fmla="*/ 13883 h 283842"/>
                  <a:gd name="connsiteX10" fmla="*/ 177706 w 294759"/>
                  <a:gd name="connsiteY10" fmla="*/ 20979 h 283842"/>
                  <a:gd name="connsiteX11" fmla="*/ 168427 w 294759"/>
                  <a:gd name="connsiteY11" fmla="*/ 40629 h 283842"/>
                  <a:gd name="connsiteX12" fmla="*/ 116025 w 294759"/>
                  <a:gd name="connsiteY12" fmla="*/ 44450 h 283842"/>
                  <a:gd name="connsiteX13" fmla="*/ 103471 w 294759"/>
                  <a:gd name="connsiteY13" fmla="*/ 26437 h 283842"/>
                  <a:gd name="connsiteX14" fmla="*/ 82182 w 294759"/>
                  <a:gd name="connsiteY14" fmla="*/ 22616 h 283842"/>
                  <a:gd name="connsiteX15" fmla="*/ 62532 w 294759"/>
                  <a:gd name="connsiteY15" fmla="*/ 36262 h 283842"/>
                  <a:gd name="connsiteX16" fmla="*/ 58711 w 294759"/>
                  <a:gd name="connsiteY16" fmla="*/ 57551 h 283842"/>
                  <a:gd name="connsiteX17" fmla="*/ 71265 w 294759"/>
                  <a:gd name="connsiteY17" fmla="*/ 75564 h 283842"/>
                  <a:gd name="connsiteX18" fmla="*/ 48339 w 294759"/>
                  <a:gd name="connsiteY18" fmla="*/ 123053 h 283842"/>
                  <a:gd name="connsiteX19" fmla="*/ 26505 w 294759"/>
                  <a:gd name="connsiteY19" fmla="*/ 124690 h 283842"/>
                  <a:gd name="connsiteX20" fmla="*/ 12313 w 294759"/>
                  <a:gd name="connsiteY20" fmla="*/ 141066 h 283842"/>
                  <a:gd name="connsiteX21" fmla="*/ 13951 w 294759"/>
                  <a:gd name="connsiteY21" fmla="*/ 165083 h 283842"/>
                  <a:gd name="connsiteX22" fmla="*/ 30326 w 294759"/>
                  <a:gd name="connsiteY22" fmla="*/ 179275 h 283842"/>
                  <a:gd name="connsiteX23" fmla="*/ 52160 w 294759"/>
                  <a:gd name="connsiteY23" fmla="*/ 177638 h 283842"/>
                  <a:gd name="connsiteX24" fmla="*/ 82182 w 294759"/>
                  <a:gd name="connsiteY24" fmla="*/ 221306 h 283842"/>
                  <a:gd name="connsiteX25" fmla="*/ 72903 w 294759"/>
                  <a:gd name="connsiteY25" fmla="*/ 240956 h 283842"/>
                  <a:gd name="connsiteX26" fmla="*/ 79999 w 294759"/>
                  <a:gd name="connsiteY26" fmla="*/ 261153 h 283842"/>
                  <a:gd name="connsiteX27" fmla="*/ 101833 w 294759"/>
                  <a:gd name="connsiteY27" fmla="*/ 271524 h 283842"/>
                  <a:gd name="connsiteX28" fmla="*/ 122029 w 294759"/>
                  <a:gd name="connsiteY28" fmla="*/ 264428 h 283842"/>
                  <a:gd name="connsiteX29" fmla="*/ 131309 w 294759"/>
                  <a:gd name="connsiteY29" fmla="*/ 244777 h 283842"/>
                  <a:gd name="connsiteX30" fmla="*/ 183710 w 294759"/>
                  <a:gd name="connsiteY30" fmla="*/ 240956 h 283842"/>
                  <a:gd name="connsiteX31" fmla="*/ 196265 w 294759"/>
                  <a:gd name="connsiteY31" fmla="*/ 258970 h 283842"/>
                  <a:gd name="connsiteX32" fmla="*/ 217553 w 294759"/>
                  <a:gd name="connsiteY32" fmla="*/ 262790 h 283842"/>
                  <a:gd name="connsiteX33" fmla="*/ 237204 w 294759"/>
                  <a:gd name="connsiteY33" fmla="*/ 249144 h 283842"/>
                  <a:gd name="connsiteX34" fmla="*/ 241025 w 294759"/>
                  <a:gd name="connsiteY34" fmla="*/ 227856 h 283842"/>
                  <a:gd name="connsiteX35" fmla="*/ 228471 w 294759"/>
                  <a:gd name="connsiteY35" fmla="*/ 209843 h 283842"/>
                  <a:gd name="connsiteX36" fmla="*/ 251396 w 294759"/>
                  <a:gd name="connsiteY36" fmla="*/ 162354 h 283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94759" h="283842">
                    <a:moveTo>
                      <a:pt x="251396" y="162354"/>
                    </a:moveTo>
                    <a:lnTo>
                      <a:pt x="273230" y="160716"/>
                    </a:lnTo>
                    <a:cubicBezTo>
                      <a:pt x="281418" y="160171"/>
                      <a:pt x="287968" y="152529"/>
                      <a:pt x="287422" y="144341"/>
                    </a:cubicBezTo>
                    <a:lnTo>
                      <a:pt x="285785" y="120324"/>
                    </a:lnTo>
                    <a:cubicBezTo>
                      <a:pt x="285238" y="112136"/>
                      <a:pt x="277597" y="105585"/>
                      <a:pt x="269409" y="106131"/>
                    </a:cubicBezTo>
                    <a:lnTo>
                      <a:pt x="247575" y="107769"/>
                    </a:lnTo>
                    <a:cubicBezTo>
                      <a:pt x="241570" y="90302"/>
                      <a:pt x="230653" y="75564"/>
                      <a:pt x="217553" y="64101"/>
                    </a:cubicBezTo>
                    <a:lnTo>
                      <a:pt x="226833" y="44450"/>
                    </a:lnTo>
                    <a:cubicBezTo>
                      <a:pt x="230653" y="36808"/>
                      <a:pt x="227378" y="28075"/>
                      <a:pt x="219736" y="24254"/>
                    </a:cubicBezTo>
                    <a:lnTo>
                      <a:pt x="197902" y="13883"/>
                    </a:lnTo>
                    <a:cubicBezTo>
                      <a:pt x="190261" y="10062"/>
                      <a:pt x="181527" y="13337"/>
                      <a:pt x="177706" y="20979"/>
                    </a:cubicBezTo>
                    <a:lnTo>
                      <a:pt x="168427" y="40629"/>
                    </a:lnTo>
                    <a:cubicBezTo>
                      <a:pt x="151505" y="37354"/>
                      <a:pt x="133492" y="38446"/>
                      <a:pt x="116025" y="44450"/>
                    </a:cubicBezTo>
                    <a:lnTo>
                      <a:pt x="103471" y="26437"/>
                    </a:lnTo>
                    <a:cubicBezTo>
                      <a:pt x="98558" y="19341"/>
                      <a:pt x="89278" y="17703"/>
                      <a:pt x="82182" y="22616"/>
                    </a:cubicBezTo>
                    <a:lnTo>
                      <a:pt x="62532" y="36262"/>
                    </a:lnTo>
                    <a:cubicBezTo>
                      <a:pt x="55435" y="41175"/>
                      <a:pt x="53798" y="50455"/>
                      <a:pt x="58711" y="57551"/>
                    </a:cubicBezTo>
                    <a:lnTo>
                      <a:pt x="71265" y="75564"/>
                    </a:lnTo>
                    <a:cubicBezTo>
                      <a:pt x="59803" y="89210"/>
                      <a:pt x="52160" y="105585"/>
                      <a:pt x="48339" y="123053"/>
                    </a:cubicBezTo>
                    <a:lnTo>
                      <a:pt x="26505" y="124690"/>
                    </a:lnTo>
                    <a:cubicBezTo>
                      <a:pt x="18318" y="125236"/>
                      <a:pt x="11767" y="132878"/>
                      <a:pt x="12313" y="141066"/>
                    </a:cubicBezTo>
                    <a:lnTo>
                      <a:pt x="13951" y="165083"/>
                    </a:lnTo>
                    <a:cubicBezTo>
                      <a:pt x="14497" y="173271"/>
                      <a:pt x="22139" y="179821"/>
                      <a:pt x="30326" y="179275"/>
                    </a:cubicBezTo>
                    <a:lnTo>
                      <a:pt x="52160" y="177638"/>
                    </a:lnTo>
                    <a:cubicBezTo>
                      <a:pt x="58165" y="195105"/>
                      <a:pt x="69082" y="209843"/>
                      <a:pt x="82182" y="221306"/>
                    </a:cubicBezTo>
                    <a:lnTo>
                      <a:pt x="72903" y="240956"/>
                    </a:lnTo>
                    <a:cubicBezTo>
                      <a:pt x="69082" y="248598"/>
                      <a:pt x="72357" y="257332"/>
                      <a:pt x="79999" y="261153"/>
                    </a:cubicBezTo>
                    <a:lnTo>
                      <a:pt x="101833" y="271524"/>
                    </a:lnTo>
                    <a:cubicBezTo>
                      <a:pt x="109475" y="275345"/>
                      <a:pt x="118208" y="272070"/>
                      <a:pt x="122029" y="264428"/>
                    </a:cubicBezTo>
                    <a:lnTo>
                      <a:pt x="131309" y="244777"/>
                    </a:lnTo>
                    <a:cubicBezTo>
                      <a:pt x="148230" y="248053"/>
                      <a:pt x="166243" y="246961"/>
                      <a:pt x="183710" y="240956"/>
                    </a:cubicBezTo>
                    <a:lnTo>
                      <a:pt x="196265" y="258970"/>
                    </a:lnTo>
                    <a:cubicBezTo>
                      <a:pt x="201178" y="266066"/>
                      <a:pt x="210457" y="267703"/>
                      <a:pt x="217553" y="262790"/>
                    </a:cubicBezTo>
                    <a:lnTo>
                      <a:pt x="237204" y="249144"/>
                    </a:lnTo>
                    <a:cubicBezTo>
                      <a:pt x="244300" y="244232"/>
                      <a:pt x="245937" y="234952"/>
                      <a:pt x="241025" y="227856"/>
                    </a:cubicBezTo>
                    <a:lnTo>
                      <a:pt x="228471" y="209843"/>
                    </a:lnTo>
                    <a:cubicBezTo>
                      <a:pt x="239933" y="196197"/>
                      <a:pt x="248121" y="179821"/>
                      <a:pt x="251396" y="162354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2" name="Freihandform: Form 70">
                <a:extLst>
                  <a:ext uri="{FF2B5EF4-FFF2-40B4-BE49-F238E27FC236}">
                    <a16:creationId xmlns:a16="http://schemas.microsoft.com/office/drawing/2014/main" id="{771509DF-D629-194E-B879-AA91EB43448D}"/>
                  </a:ext>
                </a:extLst>
              </p:cNvPr>
              <p:cNvSpPr/>
              <p:nvPr/>
            </p:nvSpPr>
            <p:spPr bwMode="gray">
              <a:xfrm>
                <a:off x="10048514" y="7400847"/>
                <a:ext cx="98253" cy="98253"/>
              </a:xfrm>
              <a:custGeom>
                <a:avLst/>
                <a:gdLst>
                  <a:gd name="connsiteX0" fmla="*/ 90884 w 98253"/>
                  <a:gd name="connsiteY0" fmla="*/ 51583 h 98253"/>
                  <a:gd name="connsiteX1" fmla="*/ 51583 w 98253"/>
                  <a:gd name="connsiteY1" fmla="*/ 12282 h 98253"/>
                  <a:gd name="connsiteX2" fmla="*/ 12282 w 98253"/>
                  <a:gd name="connsiteY2" fmla="*/ 51583 h 98253"/>
                  <a:gd name="connsiteX3" fmla="*/ 51583 w 98253"/>
                  <a:gd name="connsiteY3" fmla="*/ 90884 h 98253"/>
                  <a:gd name="connsiteX4" fmla="*/ 90884 w 98253"/>
                  <a:gd name="connsiteY4" fmla="*/ 51583 h 9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253" h="98253">
                    <a:moveTo>
                      <a:pt x="90884" y="51583"/>
                    </a:moveTo>
                    <a:cubicBezTo>
                      <a:pt x="90884" y="29749"/>
                      <a:pt x="73417" y="12282"/>
                      <a:pt x="51583" y="12282"/>
                    </a:cubicBezTo>
                    <a:cubicBezTo>
                      <a:pt x="29749" y="12282"/>
                      <a:pt x="12282" y="29749"/>
                      <a:pt x="12282" y="51583"/>
                    </a:cubicBezTo>
                    <a:cubicBezTo>
                      <a:pt x="12282" y="73417"/>
                      <a:pt x="29749" y="90884"/>
                      <a:pt x="51583" y="90884"/>
                    </a:cubicBezTo>
                    <a:cubicBezTo>
                      <a:pt x="73417" y="90884"/>
                      <a:pt x="90884" y="73417"/>
                      <a:pt x="90884" y="5158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3" name="Freihandform: Form 71">
                <a:extLst>
                  <a:ext uri="{FF2B5EF4-FFF2-40B4-BE49-F238E27FC236}">
                    <a16:creationId xmlns:a16="http://schemas.microsoft.com/office/drawing/2014/main" id="{6C435044-BB94-7DEC-6EBE-82A8F50D05D4}"/>
                  </a:ext>
                </a:extLst>
              </p:cNvPr>
              <p:cNvSpPr/>
              <p:nvPr/>
            </p:nvSpPr>
            <p:spPr bwMode="gray">
              <a:xfrm>
                <a:off x="10047416" y="7835880"/>
                <a:ext cx="98253" cy="98252"/>
              </a:xfrm>
              <a:custGeom>
                <a:avLst/>
                <a:gdLst>
                  <a:gd name="connsiteX0" fmla="*/ 90884 w 98253"/>
                  <a:gd name="connsiteY0" fmla="*/ 51583 h 98253"/>
                  <a:gd name="connsiteX1" fmla="*/ 51583 w 98253"/>
                  <a:gd name="connsiteY1" fmla="*/ 90884 h 98253"/>
                  <a:gd name="connsiteX2" fmla="*/ 12282 w 98253"/>
                  <a:gd name="connsiteY2" fmla="*/ 51583 h 98253"/>
                  <a:gd name="connsiteX3" fmla="*/ 51583 w 98253"/>
                  <a:gd name="connsiteY3" fmla="*/ 12282 h 98253"/>
                  <a:gd name="connsiteX4" fmla="*/ 90884 w 98253"/>
                  <a:gd name="connsiteY4" fmla="*/ 51583 h 9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253" h="98253">
                    <a:moveTo>
                      <a:pt x="90884" y="51583"/>
                    </a:moveTo>
                    <a:cubicBezTo>
                      <a:pt x="90884" y="73288"/>
                      <a:pt x="73289" y="90884"/>
                      <a:pt x="51583" y="90884"/>
                    </a:cubicBezTo>
                    <a:cubicBezTo>
                      <a:pt x="29878" y="90884"/>
                      <a:pt x="12282" y="73288"/>
                      <a:pt x="12282" y="51583"/>
                    </a:cubicBezTo>
                    <a:cubicBezTo>
                      <a:pt x="12282" y="29877"/>
                      <a:pt x="29878" y="12282"/>
                      <a:pt x="51583" y="12282"/>
                    </a:cubicBezTo>
                    <a:cubicBezTo>
                      <a:pt x="73289" y="12282"/>
                      <a:pt x="90884" y="29877"/>
                      <a:pt x="90884" y="5158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4" name="Freihandform: Form 72">
                <a:extLst>
                  <a:ext uri="{FF2B5EF4-FFF2-40B4-BE49-F238E27FC236}">
                    <a16:creationId xmlns:a16="http://schemas.microsoft.com/office/drawing/2014/main" id="{F35CB20C-8105-5ABF-2A0A-2C6AEDB573DC}"/>
                  </a:ext>
                </a:extLst>
              </p:cNvPr>
              <p:cNvSpPr/>
              <p:nvPr/>
            </p:nvSpPr>
            <p:spPr bwMode="gray">
              <a:xfrm>
                <a:off x="10304648" y="7621507"/>
                <a:ext cx="92795" cy="92795"/>
              </a:xfrm>
              <a:custGeom>
                <a:avLst/>
                <a:gdLst>
                  <a:gd name="connsiteX0" fmla="*/ 72189 w 92794"/>
                  <a:gd name="connsiteY0" fmla="*/ 22516 h 92794"/>
                  <a:gd name="connsiteX1" fmla="*/ 22516 w 92794"/>
                  <a:gd name="connsiteY1" fmla="*/ 22516 h 92794"/>
                  <a:gd name="connsiteX2" fmla="*/ 22516 w 92794"/>
                  <a:gd name="connsiteY2" fmla="*/ 72189 h 92794"/>
                  <a:gd name="connsiteX3" fmla="*/ 72189 w 92794"/>
                  <a:gd name="connsiteY3" fmla="*/ 72189 h 92794"/>
                  <a:gd name="connsiteX4" fmla="*/ 72189 w 92794"/>
                  <a:gd name="connsiteY4" fmla="*/ 22516 h 92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794" h="92794">
                    <a:moveTo>
                      <a:pt x="72189" y="22516"/>
                    </a:moveTo>
                    <a:cubicBezTo>
                      <a:pt x="58542" y="8870"/>
                      <a:pt x="36163" y="8870"/>
                      <a:pt x="22516" y="22516"/>
                    </a:cubicBezTo>
                    <a:cubicBezTo>
                      <a:pt x="8870" y="36163"/>
                      <a:pt x="8870" y="58543"/>
                      <a:pt x="22516" y="72189"/>
                    </a:cubicBezTo>
                    <a:cubicBezTo>
                      <a:pt x="36163" y="85835"/>
                      <a:pt x="58542" y="85835"/>
                      <a:pt x="72189" y="72189"/>
                    </a:cubicBezTo>
                    <a:cubicBezTo>
                      <a:pt x="85835" y="58543"/>
                      <a:pt x="85835" y="36163"/>
                      <a:pt x="72189" y="22516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1" name="Gruppieren 73">
              <a:extLst>
                <a:ext uri="{FF2B5EF4-FFF2-40B4-BE49-F238E27FC236}">
                  <a16:creationId xmlns:a16="http://schemas.microsoft.com/office/drawing/2014/main" id="{ABB9B36C-3783-A318-6B73-FAA9D6335EDF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1089361" y="1658945"/>
              <a:ext cx="409880" cy="419491"/>
              <a:chOff x="9963221" y="4066766"/>
              <a:chExt cx="630632" cy="645417"/>
            </a:xfrm>
          </p:grpSpPr>
          <p:sp>
            <p:nvSpPr>
              <p:cNvPr id="116" name="Freihandform: Form 74">
                <a:extLst>
                  <a:ext uri="{FF2B5EF4-FFF2-40B4-BE49-F238E27FC236}">
                    <a16:creationId xmlns:a16="http://schemas.microsoft.com/office/drawing/2014/main" id="{54D0EA2A-2430-277B-440F-CA1A7A33ABAC}"/>
                  </a:ext>
                </a:extLst>
              </p:cNvPr>
              <p:cNvSpPr/>
              <p:nvPr/>
            </p:nvSpPr>
            <p:spPr bwMode="gray">
              <a:xfrm>
                <a:off x="10292469" y="4184476"/>
                <a:ext cx="301384" cy="420801"/>
              </a:xfrm>
              <a:custGeom>
                <a:avLst/>
                <a:gdLst>
                  <a:gd name="connsiteX0" fmla="*/ 303601 w 431679"/>
                  <a:gd name="connsiteY0" fmla="*/ 15272 h 602722"/>
                  <a:gd name="connsiteX1" fmla="*/ 240885 w 431679"/>
                  <a:gd name="connsiteY1" fmla="*/ 77987 h 602722"/>
                  <a:gd name="connsiteX2" fmla="*/ 15272 w 431679"/>
                  <a:gd name="connsiteY2" fmla="*/ 303601 h 602722"/>
                  <a:gd name="connsiteX3" fmla="*/ 240885 w 431679"/>
                  <a:gd name="connsiteY3" fmla="*/ 529214 h 602722"/>
                  <a:gd name="connsiteX4" fmla="*/ 303601 w 431679"/>
                  <a:gd name="connsiteY4" fmla="*/ 591930 h 602722"/>
                  <a:gd name="connsiteX5" fmla="*/ 423331 w 431679"/>
                  <a:gd name="connsiteY5" fmla="*/ 303601 h 602722"/>
                  <a:gd name="connsiteX6" fmla="*/ 303601 w 431679"/>
                  <a:gd name="connsiteY6" fmla="*/ 15272 h 602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1679" h="602722">
                    <a:moveTo>
                      <a:pt x="303601" y="15272"/>
                    </a:moveTo>
                    <a:lnTo>
                      <a:pt x="240885" y="77987"/>
                    </a:lnTo>
                    <a:lnTo>
                      <a:pt x="15272" y="303601"/>
                    </a:lnTo>
                    <a:lnTo>
                      <a:pt x="240885" y="529214"/>
                    </a:lnTo>
                    <a:lnTo>
                      <a:pt x="303601" y="591930"/>
                    </a:lnTo>
                    <a:cubicBezTo>
                      <a:pt x="377719" y="517812"/>
                      <a:pt x="423331" y="416000"/>
                      <a:pt x="423331" y="303601"/>
                    </a:cubicBezTo>
                    <a:cubicBezTo>
                      <a:pt x="423331" y="190387"/>
                      <a:pt x="377719" y="88576"/>
                      <a:pt x="303601" y="15272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7" name="Freihandform: Form 75">
                <a:extLst>
                  <a:ext uri="{FF2B5EF4-FFF2-40B4-BE49-F238E27FC236}">
                    <a16:creationId xmlns:a16="http://schemas.microsoft.com/office/drawing/2014/main" id="{D662DE44-7957-F1BE-EDA5-0523BBB32430}"/>
                  </a:ext>
                </a:extLst>
              </p:cNvPr>
              <p:cNvSpPr/>
              <p:nvPr/>
            </p:nvSpPr>
            <p:spPr bwMode="gray">
              <a:xfrm>
                <a:off x="10258918" y="4066766"/>
                <a:ext cx="221774" cy="301384"/>
              </a:xfrm>
              <a:custGeom>
                <a:avLst/>
                <a:gdLst>
                  <a:gd name="connsiteX0" fmla="*/ 303601 w 317650"/>
                  <a:gd name="connsiteY0" fmla="*/ 135002 h 431679"/>
                  <a:gd name="connsiteX1" fmla="*/ 15272 w 317650"/>
                  <a:gd name="connsiteY1" fmla="*/ 15272 h 431679"/>
                  <a:gd name="connsiteX2" fmla="*/ 15272 w 317650"/>
                  <a:gd name="connsiteY2" fmla="*/ 422516 h 431679"/>
                  <a:gd name="connsiteX3" fmla="*/ 303601 w 317650"/>
                  <a:gd name="connsiteY3" fmla="*/ 135002 h 431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7650" h="431679">
                    <a:moveTo>
                      <a:pt x="303601" y="135002"/>
                    </a:moveTo>
                    <a:cubicBezTo>
                      <a:pt x="229482" y="60883"/>
                      <a:pt x="127671" y="15272"/>
                      <a:pt x="15272" y="15272"/>
                    </a:cubicBezTo>
                    <a:lnTo>
                      <a:pt x="15272" y="422516"/>
                    </a:lnTo>
                    <a:lnTo>
                      <a:pt x="303601" y="13500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8" name="Freihandform: Form 76">
                <a:extLst>
                  <a:ext uri="{FF2B5EF4-FFF2-40B4-BE49-F238E27FC236}">
                    <a16:creationId xmlns:a16="http://schemas.microsoft.com/office/drawing/2014/main" id="{8F7A7D56-F659-F905-65F8-7F950691FD32}"/>
                  </a:ext>
                </a:extLst>
              </p:cNvPr>
              <p:cNvSpPr/>
              <p:nvPr/>
            </p:nvSpPr>
            <p:spPr bwMode="gray">
              <a:xfrm>
                <a:off x="10057617" y="4067334"/>
                <a:ext cx="221774" cy="301384"/>
              </a:xfrm>
              <a:custGeom>
                <a:avLst/>
                <a:gdLst>
                  <a:gd name="connsiteX0" fmla="*/ 303601 w 317650"/>
                  <a:gd name="connsiteY0" fmla="*/ 15272 h 431679"/>
                  <a:gd name="connsiteX1" fmla="*/ 15272 w 317650"/>
                  <a:gd name="connsiteY1" fmla="*/ 135002 h 431679"/>
                  <a:gd name="connsiteX2" fmla="*/ 303601 w 317650"/>
                  <a:gd name="connsiteY2" fmla="*/ 422516 h 431679"/>
                  <a:gd name="connsiteX3" fmla="*/ 303601 w 317650"/>
                  <a:gd name="connsiteY3" fmla="*/ 15272 h 431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7650" h="431679">
                    <a:moveTo>
                      <a:pt x="303601" y="15272"/>
                    </a:moveTo>
                    <a:cubicBezTo>
                      <a:pt x="191202" y="15272"/>
                      <a:pt x="89390" y="60883"/>
                      <a:pt x="15272" y="135002"/>
                    </a:cubicBezTo>
                    <a:lnTo>
                      <a:pt x="303601" y="422516"/>
                    </a:lnTo>
                    <a:lnTo>
                      <a:pt x="303601" y="152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9" name="Freihandform: Form 77">
                <a:extLst>
                  <a:ext uri="{FF2B5EF4-FFF2-40B4-BE49-F238E27FC236}">
                    <a16:creationId xmlns:a16="http://schemas.microsoft.com/office/drawing/2014/main" id="{64987D8D-2DAE-6CBA-F404-A2C960CF20A5}"/>
                  </a:ext>
                </a:extLst>
              </p:cNvPr>
              <p:cNvSpPr/>
              <p:nvPr/>
            </p:nvSpPr>
            <p:spPr bwMode="gray">
              <a:xfrm>
                <a:off x="9963221" y="4206085"/>
                <a:ext cx="506098" cy="506098"/>
              </a:xfrm>
              <a:custGeom>
                <a:avLst/>
                <a:gdLst>
                  <a:gd name="connsiteX0" fmla="*/ 135002 w 724895"/>
                  <a:gd name="connsiteY0" fmla="*/ 15272 h 724895"/>
                  <a:gd name="connsiteX1" fmla="*/ 15272 w 724895"/>
                  <a:gd name="connsiteY1" fmla="*/ 303601 h 724895"/>
                  <a:gd name="connsiteX2" fmla="*/ 422516 w 724895"/>
                  <a:gd name="connsiteY2" fmla="*/ 710846 h 724895"/>
                  <a:gd name="connsiteX3" fmla="*/ 710845 w 724895"/>
                  <a:gd name="connsiteY3" fmla="*/ 591116 h 724895"/>
                  <a:gd name="connsiteX4" fmla="*/ 422516 w 724895"/>
                  <a:gd name="connsiteY4" fmla="*/ 302786 h 724895"/>
                  <a:gd name="connsiteX5" fmla="*/ 135002 w 724895"/>
                  <a:gd name="connsiteY5" fmla="*/ 15272 h 72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24895" h="724895">
                    <a:moveTo>
                      <a:pt x="135002" y="15272"/>
                    </a:moveTo>
                    <a:cubicBezTo>
                      <a:pt x="60883" y="89390"/>
                      <a:pt x="15272" y="191201"/>
                      <a:pt x="15272" y="303601"/>
                    </a:cubicBezTo>
                    <a:cubicBezTo>
                      <a:pt x="15272" y="528400"/>
                      <a:pt x="197717" y="710846"/>
                      <a:pt x="422516" y="710846"/>
                    </a:cubicBezTo>
                    <a:cubicBezTo>
                      <a:pt x="534916" y="710846"/>
                      <a:pt x="636727" y="665234"/>
                      <a:pt x="710845" y="591116"/>
                    </a:cubicBezTo>
                    <a:lnTo>
                      <a:pt x="422516" y="302786"/>
                    </a:lnTo>
                    <a:lnTo>
                      <a:pt x="135002" y="152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2" name="Gruppieren 113">
              <a:extLst>
                <a:ext uri="{FF2B5EF4-FFF2-40B4-BE49-F238E27FC236}">
                  <a16:creationId xmlns:a16="http://schemas.microsoft.com/office/drawing/2014/main" id="{D9242F86-0DB3-5217-BC8F-CBA94D8F08D3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804295" y="1648614"/>
              <a:ext cx="459493" cy="260893"/>
              <a:chOff x="1806086" y="4262696"/>
              <a:chExt cx="785404" cy="445939"/>
            </a:xfrm>
          </p:grpSpPr>
          <p:sp>
            <p:nvSpPr>
              <p:cNvPr id="101" name="Freihandform: Form 114">
                <a:extLst>
                  <a:ext uri="{FF2B5EF4-FFF2-40B4-BE49-F238E27FC236}">
                    <a16:creationId xmlns:a16="http://schemas.microsoft.com/office/drawing/2014/main" id="{06B9728C-DCDE-F931-F36B-43869ACD66AE}"/>
                  </a:ext>
                </a:extLst>
              </p:cNvPr>
              <p:cNvSpPr/>
              <p:nvPr/>
            </p:nvSpPr>
            <p:spPr bwMode="gray">
              <a:xfrm>
                <a:off x="2101573" y="4373664"/>
                <a:ext cx="292270" cy="163671"/>
              </a:xfrm>
              <a:custGeom>
                <a:avLst/>
                <a:gdLst>
                  <a:gd name="connsiteX0" fmla="*/ 282330 w 293320"/>
                  <a:gd name="connsiteY0" fmla="*/ 132794 h 164259"/>
                  <a:gd name="connsiteX1" fmla="*/ 129017 w 293320"/>
                  <a:gd name="connsiteY1" fmla="*/ 94633 h 164259"/>
                  <a:gd name="connsiteX2" fmla="*/ 75768 w 293320"/>
                  <a:gd name="connsiteY2" fmla="*/ 96059 h 164259"/>
                  <a:gd name="connsiteX3" fmla="*/ 22014 w 293320"/>
                  <a:gd name="connsiteY3" fmla="*/ 125320 h 164259"/>
                  <a:gd name="connsiteX4" fmla="*/ 13894 w 293320"/>
                  <a:gd name="connsiteY4" fmla="*/ 106213 h 164259"/>
                  <a:gd name="connsiteX5" fmla="*/ 24372 w 293320"/>
                  <a:gd name="connsiteY5" fmla="*/ 70246 h 164259"/>
                  <a:gd name="connsiteX6" fmla="*/ 55347 w 293320"/>
                  <a:gd name="connsiteY6" fmla="*/ 34931 h 164259"/>
                  <a:gd name="connsiteX7" fmla="*/ 94957 w 293320"/>
                  <a:gd name="connsiteY7" fmla="*/ 17495 h 164259"/>
                  <a:gd name="connsiteX8" fmla="*/ 139670 w 293320"/>
                  <a:gd name="connsiteY8" fmla="*/ 16252 h 164259"/>
                  <a:gd name="connsiteX9" fmla="*/ 242931 w 293320"/>
                  <a:gd name="connsiteY9" fmla="*/ 40703 h 164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3320" h="164259">
                    <a:moveTo>
                      <a:pt x="282330" y="132794"/>
                    </a:moveTo>
                    <a:cubicBezTo>
                      <a:pt x="194522" y="191746"/>
                      <a:pt x="129017" y="94633"/>
                      <a:pt x="129017" y="94633"/>
                    </a:cubicBezTo>
                    <a:cubicBezTo>
                      <a:pt x="97978" y="52201"/>
                      <a:pt x="75768" y="96059"/>
                      <a:pt x="75768" y="96059"/>
                    </a:cubicBezTo>
                    <a:cubicBezTo>
                      <a:pt x="59435" y="135733"/>
                      <a:pt x="35894" y="132131"/>
                      <a:pt x="22014" y="125320"/>
                    </a:cubicBezTo>
                    <a:cubicBezTo>
                      <a:pt x="15044" y="121747"/>
                      <a:pt x="11630" y="113705"/>
                      <a:pt x="13894" y="106213"/>
                    </a:cubicBezTo>
                    <a:lnTo>
                      <a:pt x="24372" y="70246"/>
                    </a:lnTo>
                    <a:cubicBezTo>
                      <a:pt x="28965" y="54477"/>
                      <a:pt x="40305" y="41542"/>
                      <a:pt x="55347" y="34931"/>
                    </a:cubicBezTo>
                    <a:lnTo>
                      <a:pt x="94957" y="17495"/>
                    </a:lnTo>
                    <a:cubicBezTo>
                      <a:pt x="109124" y="11265"/>
                      <a:pt x="122183" y="12685"/>
                      <a:pt x="139670" y="16252"/>
                    </a:cubicBezTo>
                    <a:lnTo>
                      <a:pt x="242931" y="40703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2" name="Freihandform: Form 115">
                <a:extLst>
                  <a:ext uri="{FF2B5EF4-FFF2-40B4-BE49-F238E27FC236}">
                    <a16:creationId xmlns:a16="http://schemas.microsoft.com/office/drawing/2014/main" id="{78AF550E-8476-375B-CD17-4B44F7184322}"/>
                  </a:ext>
                </a:extLst>
              </p:cNvPr>
              <p:cNvSpPr/>
              <p:nvPr/>
            </p:nvSpPr>
            <p:spPr bwMode="gray">
              <a:xfrm>
                <a:off x="2281258" y="4492830"/>
                <a:ext cx="134444" cy="93527"/>
              </a:xfrm>
              <a:custGeom>
                <a:avLst/>
                <a:gdLst>
                  <a:gd name="connsiteX0" fmla="*/ 123805 w 134927"/>
                  <a:gd name="connsiteY0" fmla="*/ 64179 h 93862"/>
                  <a:gd name="connsiteX1" fmla="*/ 55801 w 134927"/>
                  <a:gd name="connsiteY1" fmla="*/ 85791 h 93862"/>
                  <a:gd name="connsiteX2" fmla="*/ 13199 w 134927"/>
                  <a:gd name="connsiteY2" fmla="*/ 26423 h 93862"/>
                  <a:gd name="connsiteX3" fmla="*/ 101999 w 134927"/>
                  <a:gd name="connsiteY3" fmla="*/ 13199 h 93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927" h="93862">
                    <a:moveTo>
                      <a:pt x="123805" y="64179"/>
                    </a:moveTo>
                    <a:lnTo>
                      <a:pt x="55801" y="85791"/>
                    </a:lnTo>
                    <a:lnTo>
                      <a:pt x="13199" y="26423"/>
                    </a:lnTo>
                    <a:cubicBezTo>
                      <a:pt x="13199" y="26423"/>
                      <a:pt x="62935" y="47019"/>
                      <a:pt x="101999" y="13199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3" name="Freihandform: Form 116">
                <a:extLst>
                  <a:ext uri="{FF2B5EF4-FFF2-40B4-BE49-F238E27FC236}">
                    <a16:creationId xmlns:a16="http://schemas.microsoft.com/office/drawing/2014/main" id="{5569A2BB-C379-D6F8-A6C7-050C48D329F1}"/>
                  </a:ext>
                </a:extLst>
              </p:cNvPr>
              <p:cNvSpPr/>
              <p:nvPr/>
            </p:nvSpPr>
            <p:spPr bwMode="gray">
              <a:xfrm>
                <a:off x="1806086" y="4262696"/>
                <a:ext cx="192898" cy="356569"/>
              </a:xfrm>
              <a:custGeom>
                <a:avLst/>
                <a:gdLst>
                  <a:gd name="connsiteX0" fmla="*/ 13199 w 193591"/>
                  <a:gd name="connsiteY0" fmla="*/ 13199 h 357851"/>
                  <a:gd name="connsiteX1" fmla="*/ 13199 w 193591"/>
                  <a:gd name="connsiteY1" fmla="*/ 321908 h 357851"/>
                  <a:gd name="connsiteX2" fmla="*/ 73577 w 193591"/>
                  <a:gd name="connsiteY2" fmla="*/ 345825 h 357851"/>
                  <a:gd name="connsiteX3" fmla="*/ 181794 w 193591"/>
                  <a:gd name="connsiteY3" fmla="*/ 81549 h 357851"/>
                  <a:gd name="connsiteX4" fmla="*/ 13199 w 193591"/>
                  <a:gd name="connsiteY4" fmla="*/ 13199 h 357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591" h="357851">
                    <a:moveTo>
                      <a:pt x="13199" y="13199"/>
                    </a:moveTo>
                    <a:lnTo>
                      <a:pt x="13199" y="321908"/>
                    </a:lnTo>
                    <a:lnTo>
                      <a:pt x="73577" y="345825"/>
                    </a:lnTo>
                    <a:lnTo>
                      <a:pt x="181794" y="81549"/>
                    </a:lnTo>
                    <a:lnTo>
                      <a:pt x="13199" y="13199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4" name="Freihandform: Form 117">
                <a:extLst>
                  <a:ext uri="{FF2B5EF4-FFF2-40B4-BE49-F238E27FC236}">
                    <a16:creationId xmlns:a16="http://schemas.microsoft.com/office/drawing/2014/main" id="{A3F5AB5A-43E9-E393-3160-DE7CF48BB2CC}"/>
                  </a:ext>
                </a:extLst>
              </p:cNvPr>
              <p:cNvSpPr/>
              <p:nvPr/>
            </p:nvSpPr>
            <p:spPr bwMode="gray">
              <a:xfrm>
                <a:off x="1898905" y="4352078"/>
                <a:ext cx="169516" cy="216279"/>
              </a:xfrm>
              <a:custGeom>
                <a:avLst/>
                <a:gdLst>
                  <a:gd name="connsiteX0" fmla="*/ 79895 w 170126"/>
                  <a:gd name="connsiteY0" fmla="*/ 13199 h 217057"/>
                  <a:gd name="connsiteX1" fmla="*/ 156991 w 170126"/>
                  <a:gd name="connsiteY1" fmla="*/ 45664 h 217057"/>
                  <a:gd name="connsiteX2" fmla="*/ 88642 w 170126"/>
                  <a:gd name="connsiteY2" fmla="*/ 205436 h 217057"/>
                  <a:gd name="connsiteX3" fmla="*/ 13199 w 170126"/>
                  <a:gd name="connsiteY3" fmla="*/ 176086 h 21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0126" h="217057">
                    <a:moveTo>
                      <a:pt x="79895" y="13199"/>
                    </a:moveTo>
                    <a:lnTo>
                      <a:pt x="156991" y="45664"/>
                    </a:lnTo>
                    <a:lnTo>
                      <a:pt x="88642" y="205436"/>
                    </a:lnTo>
                    <a:lnTo>
                      <a:pt x="13199" y="17608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5" name="Freihandform: Form 118">
                <a:extLst>
                  <a:ext uri="{FF2B5EF4-FFF2-40B4-BE49-F238E27FC236}">
                    <a16:creationId xmlns:a16="http://schemas.microsoft.com/office/drawing/2014/main" id="{9EA39D7F-F7D7-CCCF-50F3-F09C06ADAFBC}"/>
                  </a:ext>
                </a:extLst>
              </p:cNvPr>
              <p:cNvSpPr/>
              <p:nvPr/>
            </p:nvSpPr>
            <p:spPr bwMode="gray">
              <a:xfrm>
                <a:off x="2398592" y="4279337"/>
                <a:ext cx="192898" cy="356569"/>
              </a:xfrm>
              <a:custGeom>
                <a:avLst/>
                <a:gdLst>
                  <a:gd name="connsiteX0" fmla="*/ 181788 w 193591"/>
                  <a:gd name="connsiteY0" fmla="*/ 13199 h 357851"/>
                  <a:gd name="connsiteX1" fmla="*/ 181788 w 193591"/>
                  <a:gd name="connsiteY1" fmla="*/ 321908 h 357851"/>
                  <a:gd name="connsiteX2" fmla="*/ 121417 w 193591"/>
                  <a:gd name="connsiteY2" fmla="*/ 345825 h 357851"/>
                  <a:gd name="connsiteX3" fmla="*/ 13199 w 193591"/>
                  <a:gd name="connsiteY3" fmla="*/ 81543 h 357851"/>
                  <a:gd name="connsiteX4" fmla="*/ 181788 w 193591"/>
                  <a:gd name="connsiteY4" fmla="*/ 13199 h 357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591" h="357851">
                    <a:moveTo>
                      <a:pt x="181788" y="13199"/>
                    </a:moveTo>
                    <a:lnTo>
                      <a:pt x="181788" y="321908"/>
                    </a:lnTo>
                    <a:lnTo>
                      <a:pt x="121417" y="345825"/>
                    </a:lnTo>
                    <a:lnTo>
                      <a:pt x="13199" y="81543"/>
                    </a:lnTo>
                    <a:lnTo>
                      <a:pt x="181788" y="13199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6" name="Freihandform: Form 119">
                <a:extLst>
                  <a:ext uri="{FF2B5EF4-FFF2-40B4-BE49-F238E27FC236}">
                    <a16:creationId xmlns:a16="http://schemas.microsoft.com/office/drawing/2014/main" id="{96263BEA-84A6-4BCF-291B-7C05935D0CC6}"/>
                  </a:ext>
                </a:extLst>
              </p:cNvPr>
              <p:cNvSpPr/>
              <p:nvPr/>
            </p:nvSpPr>
            <p:spPr bwMode="gray">
              <a:xfrm>
                <a:off x="2330488" y="4368720"/>
                <a:ext cx="169516" cy="216279"/>
              </a:xfrm>
              <a:custGeom>
                <a:avLst/>
                <a:gdLst>
                  <a:gd name="connsiteX0" fmla="*/ 90290 w 170126"/>
                  <a:gd name="connsiteY0" fmla="*/ 13199 h 217057"/>
                  <a:gd name="connsiteX1" fmla="*/ 13199 w 170126"/>
                  <a:gd name="connsiteY1" fmla="*/ 45664 h 217057"/>
                  <a:gd name="connsiteX2" fmla="*/ 81549 w 170126"/>
                  <a:gd name="connsiteY2" fmla="*/ 205430 h 217057"/>
                  <a:gd name="connsiteX3" fmla="*/ 156991 w 170126"/>
                  <a:gd name="connsiteY3" fmla="*/ 176086 h 21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0126" h="217057">
                    <a:moveTo>
                      <a:pt x="90290" y="13199"/>
                    </a:moveTo>
                    <a:lnTo>
                      <a:pt x="13199" y="45664"/>
                    </a:lnTo>
                    <a:lnTo>
                      <a:pt x="81549" y="205430"/>
                    </a:lnTo>
                    <a:lnTo>
                      <a:pt x="156991" y="17608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7" name="Freihandform: Form 120">
                <a:extLst>
                  <a:ext uri="{FF2B5EF4-FFF2-40B4-BE49-F238E27FC236}">
                    <a16:creationId xmlns:a16="http://schemas.microsoft.com/office/drawing/2014/main" id="{AC88278D-9FDD-A6DF-E0BD-83990EAB7E49}"/>
                  </a:ext>
                </a:extLst>
              </p:cNvPr>
              <p:cNvSpPr/>
              <p:nvPr/>
            </p:nvSpPr>
            <p:spPr bwMode="gray">
              <a:xfrm>
                <a:off x="2218110" y="4505614"/>
                <a:ext cx="146134" cy="134444"/>
              </a:xfrm>
              <a:custGeom>
                <a:avLst/>
                <a:gdLst>
                  <a:gd name="connsiteX0" fmla="*/ 71523 w 146660"/>
                  <a:gd name="connsiteY0" fmla="*/ 13199 h 134927"/>
                  <a:gd name="connsiteX1" fmla="*/ 130158 w 146660"/>
                  <a:gd name="connsiteY1" fmla="*/ 86729 h 134927"/>
                  <a:gd name="connsiteX2" fmla="*/ 133531 w 146660"/>
                  <a:gd name="connsiteY2" fmla="*/ 106681 h 134927"/>
                  <a:gd name="connsiteX3" fmla="*/ 133531 w 146660"/>
                  <a:gd name="connsiteY3" fmla="*/ 106681 h 134927"/>
                  <a:gd name="connsiteX4" fmla="*/ 103143 w 146660"/>
                  <a:gd name="connsiteY4" fmla="*/ 121265 h 134927"/>
                  <a:gd name="connsiteX5" fmla="*/ 93698 w 146660"/>
                  <a:gd name="connsiteY5" fmla="*/ 115123 h 134927"/>
                  <a:gd name="connsiteX6" fmla="*/ 13199 w 146660"/>
                  <a:gd name="connsiteY6" fmla="*/ 29702 h 134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6660" h="134927">
                    <a:moveTo>
                      <a:pt x="71523" y="13199"/>
                    </a:moveTo>
                    <a:lnTo>
                      <a:pt x="130158" y="86729"/>
                    </a:lnTo>
                    <a:cubicBezTo>
                      <a:pt x="134646" y="92355"/>
                      <a:pt x="135919" y="99893"/>
                      <a:pt x="133531" y="106681"/>
                    </a:cubicBezTo>
                    <a:lnTo>
                      <a:pt x="133531" y="106681"/>
                    </a:lnTo>
                    <a:cubicBezTo>
                      <a:pt x="129167" y="119100"/>
                      <a:pt x="115563" y="125630"/>
                      <a:pt x="103143" y="121265"/>
                    </a:cubicBezTo>
                    <a:cubicBezTo>
                      <a:pt x="99547" y="119998"/>
                      <a:pt x="96309" y="117892"/>
                      <a:pt x="93698" y="115123"/>
                    </a:cubicBezTo>
                    <a:lnTo>
                      <a:pt x="13199" y="29702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8" name="Freihandform: Form 121">
                <a:extLst>
                  <a:ext uri="{FF2B5EF4-FFF2-40B4-BE49-F238E27FC236}">
                    <a16:creationId xmlns:a16="http://schemas.microsoft.com/office/drawing/2014/main" id="{D657D4CD-7877-2332-C90C-C9122C298631}"/>
                  </a:ext>
                </a:extLst>
              </p:cNvPr>
              <p:cNvSpPr/>
              <p:nvPr/>
            </p:nvSpPr>
            <p:spPr bwMode="gray">
              <a:xfrm>
                <a:off x="2182640" y="4562075"/>
                <a:ext cx="151980" cy="105217"/>
              </a:xfrm>
              <a:custGeom>
                <a:avLst/>
                <a:gdLst>
                  <a:gd name="connsiteX0" fmla="*/ 13199 w 152526"/>
                  <a:gd name="connsiteY0" fmla="*/ 13199 h 105595"/>
                  <a:gd name="connsiteX1" fmla="*/ 80945 w 152526"/>
                  <a:gd name="connsiteY1" fmla="*/ 84066 h 105595"/>
                  <a:gd name="connsiteX2" fmla="*/ 130539 w 152526"/>
                  <a:gd name="connsiteY2" fmla="*/ 85386 h 105595"/>
                  <a:gd name="connsiteX3" fmla="*/ 139679 w 152526"/>
                  <a:gd name="connsiteY3" fmla="*/ 71043 h 105595"/>
                  <a:gd name="connsiteX4" fmla="*/ 140043 w 152526"/>
                  <a:gd name="connsiteY4" fmla="*/ 69863 h 105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526" h="105595">
                    <a:moveTo>
                      <a:pt x="13199" y="13199"/>
                    </a:moveTo>
                    <a:lnTo>
                      <a:pt x="80945" y="84066"/>
                    </a:lnTo>
                    <a:cubicBezTo>
                      <a:pt x="94279" y="98127"/>
                      <a:pt x="116483" y="98714"/>
                      <a:pt x="130539" y="85386"/>
                    </a:cubicBezTo>
                    <a:cubicBezTo>
                      <a:pt x="134716" y="81426"/>
                      <a:pt x="137855" y="76504"/>
                      <a:pt x="139679" y="71043"/>
                    </a:cubicBezTo>
                    <a:cubicBezTo>
                      <a:pt x="139803" y="70655"/>
                      <a:pt x="139926" y="70256"/>
                      <a:pt x="140043" y="69863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9" name="Freihandform: Form 122">
                <a:extLst>
                  <a:ext uri="{FF2B5EF4-FFF2-40B4-BE49-F238E27FC236}">
                    <a16:creationId xmlns:a16="http://schemas.microsoft.com/office/drawing/2014/main" id="{B87B9760-6481-A6FC-10DD-EEB61568EE1F}"/>
                  </a:ext>
                </a:extLst>
              </p:cNvPr>
              <p:cNvSpPr/>
              <p:nvPr/>
            </p:nvSpPr>
            <p:spPr bwMode="gray">
              <a:xfrm>
                <a:off x="2150292" y="4595270"/>
                <a:ext cx="140289" cy="99372"/>
              </a:xfrm>
              <a:custGeom>
                <a:avLst/>
                <a:gdLst>
                  <a:gd name="connsiteX0" fmla="*/ 13199 w 140793"/>
                  <a:gd name="connsiteY0" fmla="*/ 13199 h 99729"/>
                  <a:gd name="connsiteX1" fmla="*/ 69230 w 140793"/>
                  <a:gd name="connsiteY1" fmla="*/ 75419 h 99729"/>
                  <a:gd name="connsiteX2" fmla="*/ 93335 w 140793"/>
                  <a:gd name="connsiteY2" fmla="*/ 87592 h 99729"/>
                  <a:gd name="connsiteX3" fmla="*/ 128539 w 140793"/>
                  <a:gd name="connsiteY3" fmla="*/ 65721 h 99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793" h="99729">
                    <a:moveTo>
                      <a:pt x="13199" y="13199"/>
                    </a:moveTo>
                    <a:lnTo>
                      <a:pt x="69230" y="75419"/>
                    </a:lnTo>
                    <a:cubicBezTo>
                      <a:pt x="75342" y="82494"/>
                      <a:pt x="84007" y="86870"/>
                      <a:pt x="93335" y="87592"/>
                    </a:cubicBezTo>
                    <a:cubicBezTo>
                      <a:pt x="103906" y="88172"/>
                      <a:pt x="117293" y="84142"/>
                      <a:pt x="128539" y="6572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0" name="Freihandform: Form 123">
                <a:extLst>
                  <a:ext uri="{FF2B5EF4-FFF2-40B4-BE49-F238E27FC236}">
                    <a16:creationId xmlns:a16="http://schemas.microsoft.com/office/drawing/2014/main" id="{BAF837DB-5A4D-D8DE-B12F-A0F65B95A86A}"/>
                  </a:ext>
                </a:extLst>
              </p:cNvPr>
              <p:cNvSpPr/>
              <p:nvPr/>
            </p:nvSpPr>
            <p:spPr bwMode="gray">
              <a:xfrm>
                <a:off x="2042175" y="4383298"/>
                <a:ext cx="134444" cy="29227"/>
              </a:xfrm>
              <a:custGeom>
                <a:avLst/>
                <a:gdLst>
                  <a:gd name="connsiteX0" fmla="*/ 125213 w 134927"/>
                  <a:gd name="connsiteY0" fmla="*/ 20745 h 29332"/>
                  <a:gd name="connsiteX1" fmla="*/ 13199 w 134927"/>
                  <a:gd name="connsiteY1" fmla="*/ 14332 h 29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927" h="29332">
                    <a:moveTo>
                      <a:pt x="125213" y="20745"/>
                    </a:moveTo>
                    <a:cubicBezTo>
                      <a:pt x="74885" y="9211"/>
                      <a:pt x="13199" y="14332"/>
                      <a:pt x="13199" y="14332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1" name="Freihandform: Form 124">
                <a:extLst>
                  <a:ext uri="{FF2B5EF4-FFF2-40B4-BE49-F238E27FC236}">
                    <a16:creationId xmlns:a16="http://schemas.microsoft.com/office/drawing/2014/main" id="{B4140052-4CE8-2856-0AAB-81788C6A60A4}"/>
                  </a:ext>
                </a:extLst>
              </p:cNvPr>
              <p:cNvSpPr/>
              <p:nvPr/>
            </p:nvSpPr>
            <p:spPr bwMode="gray">
              <a:xfrm>
                <a:off x="1986001" y="4515737"/>
                <a:ext cx="251352" cy="192898"/>
              </a:xfrm>
              <a:custGeom>
                <a:avLst/>
                <a:gdLst>
                  <a:gd name="connsiteX0" fmla="*/ 13199 w 252255"/>
                  <a:gd name="connsiteY0" fmla="*/ 13199 h 193591"/>
                  <a:gd name="connsiteX1" fmla="*/ 174948 w 252255"/>
                  <a:gd name="connsiteY1" fmla="*/ 149406 h 193591"/>
                  <a:gd name="connsiteX2" fmla="*/ 201206 w 252255"/>
                  <a:gd name="connsiteY2" fmla="*/ 174614 h 193591"/>
                  <a:gd name="connsiteX3" fmla="*/ 233642 w 252255"/>
                  <a:gd name="connsiteY3" fmla="*/ 174203 h 193591"/>
                  <a:gd name="connsiteX4" fmla="*/ 239772 w 252255"/>
                  <a:gd name="connsiteY4" fmla="*/ 162388 h 193591"/>
                  <a:gd name="connsiteX5" fmla="*/ 239878 w 252255"/>
                  <a:gd name="connsiteY5" fmla="*/ 161655 h 193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2255" h="193591">
                    <a:moveTo>
                      <a:pt x="13199" y="13199"/>
                    </a:moveTo>
                    <a:cubicBezTo>
                      <a:pt x="70503" y="54429"/>
                      <a:pt x="124573" y="99964"/>
                      <a:pt x="174948" y="149406"/>
                    </a:cubicBezTo>
                    <a:lnTo>
                      <a:pt x="201206" y="174614"/>
                    </a:lnTo>
                    <a:cubicBezTo>
                      <a:pt x="210276" y="183461"/>
                      <a:pt x="224801" y="183273"/>
                      <a:pt x="233642" y="174203"/>
                    </a:cubicBezTo>
                    <a:cubicBezTo>
                      <a:pt x="236810" y="170959"/>
                      <a:pt x="238945" y="166847"/>
                      <a:pt x="239772" y="162388"/>
                    </a:cubicBezTo>
                    <a:cubicBezTo>
                      <a:pt x="239807" y="162148"/>
                      <a:pt x="239848" y="161902"/>
                      <a:pt x="239878" y="161655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2" name="Freihandform: Form 125">
                <a:extLst>
                  <a:ext uri="{FF2B5EF4-FFF2-40B4-BE49-F238E27FC236}">
                    <a16:creationId xmlns:a16="http://schemas.microsoft.com/office/drawing/2014/main" id="{D0670E56-801C-3491-3204-87E87B679F5F}"/>
                  </a:ext>
                </a:extLst>
              </p:cNvPr>
              <p:cNvSpPr/>
              <p:nvPr/>
            </p:nvSpPr>
            <p:spPr bwMode="gray">
              <a:xfrm>
                <a:off x="2018928" y="4548969"/>
                <a:ext cx="64300" cy="58454"/>
              </a:xfrm>
              <a:custGeom>
                <a:avLst/>
                <a:gdLst>
                  <a:gd name="connsiteX0" fmla="*/ 24628 w 64530"/>
                  <a:gd name="connsiteY0" fmla="*/ 13199 h 58664"/>
                  <a:gd name="connsiteX1" fmla="*/ 17723 w 64530"/>
                  <a:gd name="connsiteY1" fmla="*/ 20914 h 58664"/>
                  <a:gd name="connsiteX2" fmla="*/ 19119 w 64530"/>
                  <a:gd name="connsiteY2" fmla="*/ 45993 h 58664"/>
                  <a:gd name="connsiteX3" fmla="*/ 19712 w 64530"/>
                  <a:gd name="connsiteY3" fmla="*/ 46497 h 58664"/>
                  <a:gd name="connsiteX4" fmla="*/ 19712 w 64530"/>
                  <a:gd name="connsiteY4" fmla="*/ 46503 h 58664"/>
                  <a:gd name="connsiteX5" fmla="*/ 46985 w 64530"/>
                  <a:gd name="connsiteY5" fmla="*/ 44321 h 58664"/>
                  <a:gd name="connsiteX6" fmla="*/ 53725 w 64530"/>
                  <a:gd name="connsiteY6" fmla="*/ 36706 h 58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530" h="58664">
                    <a:moveTo>
                      <a:pt x="24628" y="13199"/>
                    </a:moveTo>
                    <a:lnTo>
                      <a:pt x="17723" y="20914"/>
                    </a:lnTo>
                    <a:cubicBezTo>
                      <a:pt x="11182" y="28229"/>
                      <a:pt x="11810" y="39458"/>
                      <a:pt x="19119" y="45993"/>
                    </a:cubicBezTo>
                    <a:cubicBezTo>
                      <a:pt x="19313" y="46169"/>
                      <a:pt x="19512" y="46339"/>
                      <a:pt x="19712" y="46497"/>
                    </a:cubicBezTo>
                    <a:lnTo>
                      <a:pt x="19712" y="46503"/>
                    </a:lnTo>
                    <a:cubicBezTo>
                      <a:pt x="27913" y="53220"/>
                      <a:pt x="39957" y="52258"/>
                      <a:pt x="46985" y="44321"/>
                    </a:cubicBezTo>
                    <a:lnTo>
                      <a:pt x="53725" y="3670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3" name="Freihandform: Form 126">
                <a:extLst>
                  <a:ext uri="{FF2B5EF4-FFF2-40B4-BE49-F238E27FC236}">
                    <a16:creationId xmlns:a16="http://schemas.microsoft.com/office/drawing/2014/main" id="{17F243A7-37C6-8F29-DEAF-F74F220ED045}"/>
                  </a:ext>
                </a:extLst>
              </p:cNvPr>
              <p:cNvSpPr/>
              <p:nvPr/>
            </p:nvSpPr>
            <p:spPr bwMode="gray">
              <a:xfrm>
                <a:off x="2041581" y="4573806"/>
                <a:ext cx="75990" cy="75990"/>
              </a:xfrm>
              <a:custGeom>
                <a:avLst/>
                <a:gdLst>
                  <a:gd name="connsiteX0" fmla="*/ 66670 w 76263"/>
                  <a:gd name="connsiteY0" fmla="*/ 42320 h 76263"/>
                  <a:gd name="connsiteX1" fmla="*/ 51534 w 76263"/>
                  <a:gd name="connsiteY1" fmla="*/ 58829 h 76263"/>
                  <a:gd name="connsiteX2" fmla="*/ 20830 w 76263"/>
                  <a:gd name="connsiteY2" fmla="*/ 60600 h 76263"/>
                  <a:gd name="connsiteX3" fmla="*/ 20830 w 76263"/>
                  <a:gd name="connsiteY3" fmla="*/ 60600 h 76263"/>
                  <a:gd name="connsiteX4" fmla="*/ 18577 w 76263"/>
                  <a:gd name="connsiteY4" fmla="*/ 29479 h 76263"/>
                  <a:gd name="connsiteX5" fmla="*/ 18600 w 76263"/>
                  <a:gd name="connsiteY5" fmla="*/ 29450 h 76263"/>
                  <a:gd name="connsiteX6" fmla="*/ 32697 w 76263"/>
                  <a:gd name="connsiteY6" fmla="*/ 13199 h 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263" h="76263">
                    <a:moveTo>
                      <a:pt x="66670" y="42320"/>
                    </a:moveTo>
                    <a:lnTo>
                      <a:pt x="51534" y="58829"/>
                    </a:lnTo>
                    <a:cubicBezTo>
                      <a:pt x="43462" y="67628"/>
                      <a:pt x="29858" y="68414"/>
                      <a:pt x="20830" y="60600"/>
                    </a:cubicBezTo>
                    <a:lnTo>
                      <a:pt x="20830" y="60600"/>
                    </a:lnTo>
                    <a:cubicBezTo>
                      <a:pt x="11613" y="52628"/>
                      <a:pt x="10604" y="38695"/>
                      <a:pt x="18577" y="29479"/>
                    </a:cubicBezTo>
                    <a:cubicBezTo>
                      <a:pt x="18583" y="29467"/>
                      <a:pt x="18588" y="29461"/>
                      <a:pt x="18600" y="29450"/>
                    </a:cubicBezTo>
                    <a:lnTo>
                      <a:pt x="32697" y="1319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4" name="Freihandform: Form 127">
                <a:extLst>
                  <a:ext uri="{FF2B5EF4-FFF2-40B4-BE49-F238E27FC236}">
                    <a16:creationId xmlns:a16="http://schemas.microsoft.com/office/drawing/2014/main" id="{D9FDD7EC-1E1A-9134-6AE6-DF29F23473CC}"/>
                  </a:ext>
                </a:extLst>
              </p:cNvPr>
              <p:cNvSpPr/>
              <p:nvPr/>
            </p:nvSpPr>
            <p:spPr bwMode="gray">
              <a:xfrm>
                <a:off x="2079365" y="4602822"/>
                <a:ext cx="70145" cy="70145"/>
              </a:xfrm>
              <a:custGeom>
                <a:avLst/>
                <a:gdLst>
                  <a:gd name="connsiteX0" fmla="*/ 28749 w 70396"/>
                  <a:gd name="connsiteY0" fmla="*/ 13199 h 70396"/>
                  <a:gd name="connsiteX1" fmla="*/ 18958 w 70396"/>
                  <a:gd name="connsiteY1" fmla="*/ 23882 h 70396"/>
                  <a:gd name="connsiteX2" fmla="*/ 20173 w 70396"/>
                  <a:gd name="connsiteY2" fmla="*/ 54716 h 70396"/>
                  <a:gd name="connsiteX3" fmla="*/ 20173 w 70396"/>
                  <a:gd name="connsiteY3" fmla="*/ 54716 h 70396"/>
                  <a:gd name="connsiteX4" fmla="*/ 51042 w 70396"/>
                  <a:gd name="connsiteY4" fmla="*/ 53707 h 70396"/>
                  <a:gd name="connsiteX5" fmla="*/ 61279 w 70396"/>
                  <a:gd name="connsiteY5" fmla="*/ 42843 h 70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396" h="70396">
                    <a:moveTo>
                      <a:pt x="28749" y="13199"/>
                    </a:moveTo>
                    <a:lnTo>
                      <a:pt x="18958" y="23882"/>
                    </a:lnTo>
                    <a:cubicBezTo>
                      <a:pt x="10828" y="32752"/>
                      <a:pt x="11373" y="46515"/>
                      <a:pt x="20173" y="54716"/>
                    </a:cubicBezTo>
                    <a:lnTo>
                      <a:pt x="20173" y="54716"/>
                    </a:lnTo>
                    <a:cubicBezTo>
                      <a:pt x="28990" y="62923"/>
                      <a:pt x="42782" y="62471"/>
                      <a:pt x="51042" y="53707"/>
                    </a:cubicBezTo>
                    <a:lnTo>
                      <a:pt x="61279" y="42843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5" name="Freihandform: Form 128">
                <a:extLst>
                  <a:ext uri="{FF2B5EF4-FFF2-40B4-BE49-F238E27FC236}">
                    <a16:creationId xmlns:a16="http://schemas.microsoft.com/office/drawing/2014/main" id="{3B805114-7A15-1FF1-90EE-48AFEDC26752}"/>
                  </a:ext>
                </a:extLst>
              </p:cNvPr>
              <p:cNvSpPr/>
              <p:nvPr/>
            </p:nvSpPr>
            <p:spPr bwMode="gray">
              <a:xfrm>
                <a:off x="2116386" y="4633855"/>
                <a:ext cx="64300" cy="64300"/>
              </a:xfrm>
              <a:custGeom>
                <a:avLst/>
                <a:gdLst>
                  <a:gd name="connsiteX0" fmla="*/ 54102 w 64530"/>
                  <a:gd name="connsiteY0" fmla="*/ 40472 h 64530"/>
                  <a:gd name="connsiteX1" fmla="*/ 48717 w 64530"/>
                  <a:gd name="connsiteY1" fmla="*/ 45981 h 64530"/>
                  <a:gd name="connsiteX2" fmla="*/ 19608 w 64530"/>
                  <a:gd name="connsiteY2" fmla="*/ 46486 h 64530"/>
                  <a:gd name="connsiteX3" fmla="*/ 19608 w 64530"/>
                  <a:gd name="connsiteY3" fmla="*/ 46486 h 64530"/>
                  <a:gd name="connsiteX4" fmla="*/ 18839 w 64530"/>
                  <a:gd name="connsiteY4" fmla="*/ 17306 h 64530"/>
                  <a:gd name="connsiteX5" fmla="*/ 22711 w 64530"/>
                  <a:gd name="connsiteY5" fmla="*/ 13199 h 64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4530" h="64530">
                    <a:moveTo>
                      <a:pt x="54102" y="40472"/>
                    </a:moveTo>
                    <a:lnTo>
                      <a:pt x="48717" y="45981"/>
                    </a:lnTo>
                    <a:cubicBezTo>
                      <a:pt x="40791" y="54094"/>
                      <a:pt x="27809" y="54317"/>
                      <a:pt x="19608" y="46486"/>
                    </a:cubicBezTo>
                    <a:lnTo>
                      <a:pt x="19608" y="46486"/>
                    </a:lnTo>
                    <a:cubicBezTo>
                      <a:pt x="11371" y="38624"/>
                      <a:pt x="11031" y="25589"/>
                      <a:pt x="18839" y="17306"/>
                    </a:cubicBezTo>
                    <a:lnTo>
                      <a:pt x="22711" y="1319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3" name="Gruppieren 129">
              <a:extLst>
                <a:ext uri="{FF2B5EF4-FFF2-40B4-BE49-F238E27FC236}">
                  <a16:creationId xmlns:a16="http://schemas.microsoft.com/office/drawing/2014/main" id="{7FF29A8C-A859-E5DE-F5DE-55A6127B7F0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6597732" y="1626303"/>
              <a:ext cx="452080" cy="452133"/>
              <a:chOff x="8113816" y="1811130"/>
              <a:chExt cx="747504" cy="747591"/>
            </a:xfrm>
          </p:grpSpPr>
          <p:sp>
            <p:nvSpPr>
              <p:cNvPr id="91" name="Freihandform: Form 130">
                <a:extLst>
                  <a:ext uri="{FF2B5EF4-FFF2-40B4-BE49-F238E27FC236}">
                    <a16:creationId xmlns:a16="http://schemas.microsoft.com/office/drawing/2014/main" id="{A9AFF495-5D1F-25F3-B97F-AD5BECFE9064}"/>
                  </a:ext>
                </a:extLst>
              </p:cNvPr>
              <p:cNvSpPr/>
              <p:nvPr/>
            </p:nvSpPr>
            <p:spPr bwMode="gray">
              <a:xfrm>
                <a:off x="8476941" y="2028444"/>
                <a:ext cx="140284" cy="280569"/>
              </a:xfrm>
              <a:custGeom>
                <a:avLst/>
                <a:gdLst>
                  <a:gd name="connsiteX0" fmla="*/ 192627 w 203622"/>
                  <a:gd name="connsiteY0" fmla="*/ 392177 h 407244"/>
                  <a:gd name="connsiteX1" fmla="*/ 173893 w 203622"/>
                  <a:gd name="connsiteY1" fmla="*/ 300139 h 407244"/>
                  <a:gd name="connsiteX2" fmla="*/ 142943 w 203622"/>
                  <a:gd name="connsiteY2" fmla="*/ 248012 h 407244"/>
                  <a:gd name="connsiteX3" fmla="*/ 112807 w 203622"/>
                  <a:gd name="connsiteY3" fmla="*/ 231722 h 407244"/>
                  <a:gd name="connsiteX4" fmla="*/ 33802 w 203622"/>
                  <a:gd name="connsiteY4" fmla="*/ 208917 h 407244"/>
                  <a:gd name="connsiteX5" fmla="*/ 28914 w 203622"/>
                  <a:gd name="connsiteY5" fmla="*/ 206473 h 407244"/>
                  <a:gd name="connsiteX6" fmla="*/ 21584 w 203622"/>
                  <a:gd name="connsiteY6" fmla="*/ 194256 h 407244"/>
                  <a:gd name="connsiteX7" fmla="*/ 18326 w 203622"/>
                  <a:gd name="connsiteY7" fmla="*/ 163305 h 407244"/>
                  <a:gd name="connsiteX8" fmla="*/ 64752 w 203622"/>
                  <a:gd name="connsiteY8" fmla="*/ 90816 h 407244"/>
                  <a:gd name="connsiteX9" fmla="*/ 90001 w 203622"/>
                  <a:gd name="connsiteY9" fmla="*/ 54164 h 407244"/>
                  <a:gd name="connsiteX10" fmla="*/ 68010 w 203622"/>
                  <a:gd name="connsiteY10" fmla="*/ 18326 h 407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3622" h="407244">
                    <a:moveTo>
                      <a:pt x="192627" y="392177"/>
                    </a:moveTo>
                    <a:lnTo>
                      <a:pt x="173893" y="300139"/>
                    </a:lnTo>
                    <a:cubicBezTo>
                      <a:pt x="169821" y="279777"/>
                      <a:pt x="158418" y="261044"/>
                      <a:pt x="142943" y="248012"/>
                    </a:cubicBezTo>
                    <a:cubicBezTo>
                      <a:pt x="132355" y="239867"/>
                      <a:pt x="122581" y="234166"/>
                      <a:pt x="112807" y="231722"/>
                    </a:cubicBezTo>
                    <a:lnTo>
                      <a:pt x="33802" y="208917"/>
                    </a:lnTo>
                    <a:cubicBezTo>
                      <a:pt x="32172" y="208102"/>
                      <a:pt x="30543" y="207288"/>
                      <a:pt x="28914" y="206473"/>
                    </a:cubicBezTo>
                    <a:cubicBezTo>
                      <a:pt x="24842" y="204030"/>
                      <a:pt x="22398" y="199143"/>
                      <a:pt x="21584" y="194256"/>
                    </a:cubicBezTo>
                    <a:lnTo>
                      <a:pt x="18326" y="163305"/>
                    </a:lnTo>
                    <a:cubicBezTo>
                      <a:pt x="40317" y="146201"/>
                      <a:pt x="56607" y="120952"/>
                      <a:pt x="64752" y="90816"/>
                    </a:cubicBezTo>
                    <a:cubicBezTo>
                      <a:pt x="78598" y="89187"/>
                      <a:pt x="90001" y="73711"/>
                      <a:pt x="90001" y="54164"/>
                    </a:cubicBezTo>
                    <a:cubicBezTo>
                      <a:pt x="90001" y="36245"/>
                      <a:pt x="81042" y="20770"/>
                      <a:pt x="6801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2" name="Freihandform: Form 131">
                <a:extLst>
                  <a:ext uri="{FF2B5EF4-FFF2-40B4-BE49-F238E27FC236}">
                    <a16:creationId xmlns:a16="http://schemas.microsoft.com/office/drawing/2014/main" id="{F321C3FF-7514-2D18-D21B-C21668EFF3E7}"/>
                  </a:ext>
                </a:extLst>
              </p:cNvPr>
              <p:cNvSpPr/>
              <p:nvPr/>
            </p:nvSpPr>
            <p:spPr bwMode="gray">
              <a:xfrm>
                <a:off x="8271564" y="2027883"/>
                <a:ext cx="140284" cy="280569"/>
              </a:xfrm>
              <a:custGeom>
                <a:avLst/>
                <a:gdLst>
                  <a:gd name="connsiteX0" fmla="*/ 142943 w 203622"/>
                  <a:gd name="connsiteY0" fmla="*/ 18326 h 407244"/>
                  <a:gd name="connsiteX1" fmla="*/ 121766 w 203622"/>
                  <a:gd name="connsiteY1" fmla="*/ 54163 h 407244"/>
                  <a:gd name="connsiteX2" fmla="*/ 146200 w 203622"/>
                  <a:gd name="connsiteY2" fmla="*/ 90816 h 407244"/>
                  <a:gd name="connsiteX3" fmla="*/ 192626 w 203622"/>
                  <a:gd name="connsiteY3" fmla="*/ 163305 h 407244"/>
                  <a:gd name="connsiteX4" fmla="*/ 189369 w 203622"/>
                  <a:gd name="connsiteY4" fmla="*/ 194256 h 407244"/>
                  <a:gd name="connsiteX5" fmla="*/ 182038 w 203622"/>
                  <a:gd name="connsiteY5" fmla="*/ 206473 h 407244"/>
                  <a:gd name="connsiteX6" fmla="*/ 177151 w 203622"/>
                  <a:gd name="connsiteY6" fmla="*/ 208916 h 407244"/>
                  <a:gd name="connsiteX7" fmla="*/ 98960 w 203622"/>
                  <a:gd name="connsiteY7" fmla="*/ 231722 h 407244"/>
                  <a:gd name="connsiteX8" fmla="*/ 68010 w 203622"/>
                  <a:gd name="connsiteY8" fmla="*/ 248012 h 407244"/>
                  <a:gd name="connsiteX9" fmla="*/ 37059 w 203622"/>
                  <a:gd name="connsiteY9" fmla="*/ 300139 h 407244"/>
                  <a:gd name="connsiteX10" fmla="*/ 18326 w 203622"/>
                  <a:gd name="connsiteY10" fmla="*/ 392177 h 407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3622" h="407244">
                    <a:moveTo>
                      <a:pt x="142943" y="18326"/>
                    </a:moveTo>
                    <a:cubicBezTo>
                      <a:pt x="130725" y="21584"/>
                      <a:pt x="121766" y="36245"/>
                      <a:pt x="121766" y="54163"/>
                    </a:cubicBezTo>
                    <a:cubicBezTo>
                      <a:pt x="121766" y="73711"/>
                      <a:pt x="132355" y="89187"/>
                      <a:pt x="146200" y="90816"/>
                    </a:cubicBezTo>
                    <a:cubicBezTo>
                      <a:pt x="154345" y="120952"/>
                      <a:pt x="170635" y="146201"/>
                      <a:pt x="192626" y="163305"/>
                    </a:cubicBezTo>
                    <a:lnTo>
                      <a:pt x="189369" y="194256"/>
                    </a:lnTo>
                    <a:cubicBezTo>
                      <a:pt x="188554" y="199143"/>
                      <a:pt x="186111" y="204029"/>
                      <a:pt x="182038" y="206473"/>
                    </a:cubicBezTo>
                    <a:cubicBezTo>
                      <a:pt x="180409" y="207288"/>
                      <a:pt x="178780" y="208102"/>
                      <a:pt x="177151" y="208916"/>
                    </a:cubicBezTo>
                    <a:lnTo>
                      <a:pt x="98960" y="231722"/>
                    </a:lnTo>
                    <a:cubicBezTo>
                      <a:pt x="89186" y="234166"/>
                      <a:pt x="78598" y="239053"/>
                      <a:pt x="68010" y="248012"/>
                    </a:cubicBezTo>
                    <a:cubicBezTo>
                      <a:pt x="51720" y="261044"/>
                      <a:pt x="41132" y="279777"/>
                      <a:pt x="37059" y="300139"/>
                    </a:cubicBezTo>
                    <a:lnTo>
                      <a:pt x="18326" y="392177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3" name="Freihandform: Form 132">
                <a:extLst>
                  <a:ext uri="{FF2B5EF4-FFF2-40B4-BE49-F238E27FC236}">
                    <a16:creationId xmlns:a16="http://schemas.microsoft.com/office/drawing/2014/main" id="{A380CDC1-3192-207F-ED2F-273D5B190CD7}"/>
                  </a:ext>
                </a:extLst>
              </p:cNvPr>
              <p:cNvSpPr/>
              <p:nvPr/>
            </p:nvSpPr>
            <p:spPr bwMode="gray">
              <a:xfrm>
                <a:off x="8357387" y="1938102"/>
                <a:ext cx="173953" cy="112228"/>
              </a:xfrm>
              <a:custGeom>
                <a:avLst/>
                <a:gdLst>
                  <a:gd name="connsiteX0" fmla="*/ 240726 w 252491"/>
                  <a:gd name="connsiteY0" fmla="*/ 148644 h 162897"/>
                  <a:gd name="connsiteX1" fmla="*/ 129956 w 252491"/>
                  <a:gd name="connsiteY1" fmla="*/ 18326 h 162897"/>
                  <a:gd name="connsiteX2" fmla="*/ 18371 w 252491"/>
                  <a:gd name="connsiteY2" fmla="*/ 149459 h 162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2491" h="162897">
                    <a:moveTo>
                      <a:pt x="240726" y="148644"/>
                    </a:moveTo>
                    <a:cubicBezTo>
                      <a:pt x="240726" y="148644"/>
                      <a:pt x="247242" y="18326"/>
                      <a:pt x="129956" y="18326"/>
                    </a:cubicBezTo>
                    <a:cubicBezTo>
                      <a:pt x="12669" y="18326"/>
                      <a:pt x="18371" y="149459"/>
                      <a:pt x="18371" y="149459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4" name="Freihandform: Form 133">
                <a:extLst>
                  <a:ext uri="{FF2B5EF4-FFF2-40B4-BE49-F238E27FC236}">
                    <a16:creationId xmlns:a16="http://schemas.microsoft.com/office/drawing/2014/main" id="{4A559CB7-AB59-D524-FAB8-9E4145275D9F}"/>
                  </a:ext>
                </a:extLst>
              </p:cNvPr>
              <p:cNvSpPr/>
              <p:nvPr/>
            </p:nvSpPr>
            <p:spPr bwMode="gray">
              <a:xfrm>
                <a:off x="8363029" y="1973403"/>
                <a:ext cx="162730" cy="44891"/>
              </a:xfrm>
              <a:custGeom>
                <a:avLst/>
                <a:gdLst>
                  <a:gd name="connsiteX0" fmla="*/ 18326 w 236201"/>
                  <a:gd name="connsiteY0" fmla="*/ 41205 h 65159"/>
                  <a:gd name="connsiteX1" fmla="*/ 41946 w 236201"/>
                  <a:gd name="connsiteY1" fmla="*/ 20843 h 65159"/>
                  <a:gd name="connsiteX2" fmla="*/ 90815 w 236201"/>
                  <a:gd name="connsiteY2" fmla="*/ 26544 h 65159"/>
                  <a:gd name="connsiteX3" fmla="*/ 157603 w 236201"/>
                  <a:gd name="connsiteY3" fmla="*/ 50979 h 65159"/>
                  <a:gd name="connsiteX4" fmla="*/ 224392 w 236201"/>
                  <a:gd name="connsiteY4" fmla="*/ 40390 h 65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6201" h="65159">
                    <a:moveTo>
                      <a:pt x="18326" y="41205"/>
                    </a:moveTo>
                    <a:cubicBezTo>
                      <a:pt x="23213" y="31431"/>
                      <a:pt x="32172" y="24915"/>
                      <a:pt x="41946" y="20843"/>
                    </a:cubicBezTo>
                    <a:cubicBezTo>
                      <a:pt x="58236" y="15141"/>
                      <a:pt x="75340" y="20028"/>
                      <a:pt x="90815" y="26544"/>
                    </a:cubicBezTo>
                    <a:cubicBezTo>
                      <a:pt x="112807" y="36318"/>
                      <a:pt x="132355" y="48535"/>
                      <a:pt x="157603" y="50979"/>
                    </a:cubicBezTo>
                    <a:cubicBezTo>
                      <a:pt x="181224" y="53422"/>
                      <a:pt x="203215" y="50979"/>
                      <a:pt x="224392" y="40390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5" name="Freihandform: Form 134">
                <a:extLst>
                  <a:ext uri="{FF2B5EF4-FFF2-40B4-BE49-F238E27FC236}">
                    <a16:creationId xmlns:a16="http://schemas.microsoft.com/office/drawing/2014/main" id="{92E3A969-0D06-03BD-7600-A20487ADCF3E}"/>
                  </a:ext>
                </a:extLst>
              </p:cNvPr>
              <p:cNvSpPr/>
              <p:nvPr/>
            </p:nvSpPr>
            <p:spPr bwMode="gray">
              <a:xfrm>
                <a:off x="8384352" y="2158068"/>
                <a:ext cx="72948" cy="72948"/>
              </a:xfrm>
              <a:custGeom>
                <a:avLst/>
                <a:gdLst>
                  <a:gd name="connsiteX0" fmla="*/ 18326 w 105883"/>
                  <a:gd name="connsiteY0" fmla="*/ 18326 h 105883"/>
                  <a:gd name="connsiteX1" fmla="*/ 90816 w 105883"/>
                  <a:gd name="connsiteY1" fmla="*/ 93259 h 10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883" h="105883">
                    <a:moveTo>
                      <a:pt x="18326" y="18326"/>
                    </a:moveTo>
                    <a:lnTo>
                      <a:pt x="90816" y="9325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6" name="Freihandform: Form 135">
                <a:extLst>
                  <a:ext uri="{FF2B5EF4-FFF2-40B4-BE49-F238E27FC236}">
                    <a16:creationId xmlns:a16="http://schemas.microsoft.com/office/drawing/2014/main" id="{839DB50C-BA45-AE58-0924-187A8BAFBC7C}"/>
                  </a:ext>
                </a:extLst>
              </p:cNvPr>
              <p:cNvSpPr/>
              <p:nvPr/>
            </p:nvSpPr>
            <p:spPr bwMode="gray">
              <a:xfrm>
                <a:off x="8434294" y="2158068"/>
                <a:ext cx="72948" cy="72948"/>
              </a:xfrm>
              <a:custGeom>
                <a:avLst/>
                <a:gdLst>
                  <a:gd name="connsiteX0" fmla="*/ 90815 w 105883"/>
                  <a:gd name="connsiteY0" fmla="*/ 18326 h 105883"/>
                  <a:gd name="connsiteX1" fmla="*/ 18326 w 105883"/>
                  <a:gd name="connsiteY1" fmla="*/ 93259 h 10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883" h="105883">
                    <a:moveTo>
                      <a:pt x="90815" y="18326"/>
                    </a:moveTo>
                    <a:lnTo>
                      <a:pt x="18326" y="9325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7" name="Freihandform: Form 136">
                <a:extLst>
                  <a:ext uri="{FF2B5EF4-FFF2-40B4-BE49-F238E27FC236}">
                    <a16:creationId xmlns:a16="http://schemas.microsoft.com/office/drawing/2014/main" id="{DB0FD39E-5378-F937-9FAC-1FAF340D4DDD}"/>
                  </a:ext>
                </a:extLst>
              </p:cNvPr>
              <p:cNvSpPr/>
              <p:nvPr/>
            </p:nvSpPr>
            <p:spPr bwMode="gray">
              <a:xfrm>
                <a:off x="8434294" y="2209693"/>
                <a:ext cx="22446" cy="56114"/>
              </a:xfrm>
              <a:custGeom>
                <a:avLst/>
                <a:gdLst>
                  <a:gd name="connsiteX0" fmla="*/ 18326 w 32579"/>
                  <a:gd name="connsiteY0" fmla="*/ 18326 h 81448"/>
                  <a:gd name="connsiteX1" fmla="*/ 18326 w 32579"/>
                  <a:gd name="connsiteY1" fmla="*/ 68010 h 81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579" h="81448">
                    <a:moveTo>
                      <a:pt x="18326" y="18326"/>
                    </a:moveTo>
                    <a:lnTo>
                      <a:pt x="18326" y="68010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8" name="Freihandform: Form 137">
                <a:extLst>
                  <a:ext uri="{FF2B5EF4-FFF2-40B4-BE49-F238E27FC236}">
                    <a16:creationId xmlns:a16="http://schemas.microsoft.com/office/drawing/2014/main" id="{D84C309A-CC8B-007E-3E4E-44C397923847}"/>
                  </a:ext>
                </a:extLst>
              </p:cNvPr>
              <p:cNvSpPr/>
              <p:nvPr/>
            </p:nvSpPr>
            <p:spPr bwMode="gray">
              <a:xfrm>
                <a:off x="8113816" y="1811130"/>
                <a:ext cx="662142" cy="662142"/>
              </a:xfrm>
              <a:custGeom>
                <a:avLst/>
                <a:gdLst>
                  <a:gd name="connsiteX0" fmla="*/ 923635 w 961097"/>
                  <a:gd name="connsiteY0" fmla="*/ 459290 h 961097"/>
                  <a:gd name="connsiteX1" fmla="*/ 508025 w 961097"/>
                  <a:gd name="connsiteY1" fmla="*/ 923635 h 961097"/>
                  <a:gd name="connsiteX2" fmla="*/ 43680 w 961097"/>
                  <a:gd name="connsiteY2" fmla="*/ 508025 h 961097"/>
                  <a:gd name="connsiteX3" fmla="*/ 459290 w 961097"/>
                  <a:gd name="connsiteY3" fmla="*/ 43679 h 961097"/>
                  <a:gd name="connsiteX4" fmla="*/ 923635 w 961097"/>
                  <a:gd name="connsiteY4" fmla="*/ 459290 h 96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1097" h="961097">
                    <a:moveTo>
                      <a:pt x="923635" y="459290"/>
                    </a:moveTo>
                    <a:cubicBezTo>
                      <a:pt x="937093" y="702283"/>
                      <a:pt x="751018" y="910177"/>
                      <a:pt x="508025" y="923635"/>
                    </a:cubicBezTo>
                    <a:cubicBezTo>
                      <a:pt x="265032" y="937093"/>
                      <a:pt x="57138" y="751018"/>
                      <a:pt x="43680" y="508025"/>
                    </a:cubicBezTo>
                    <a:cubicBezTo>
                      <a:pt x="30222" y="265032"/>
                      <a:pt x="216297" y="57137"/>
                      <a:pt x="459290" y="43679"/>
                    </a:cubicBezTo>
                    <a:cubicBezTo>
                      <a:pt x="702283" y="30222"/>
                      <a:pt x="910177" y="216297"/>
                      <a:pt x="923635" y="459290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9" name="Freihandform: Form 138">
                <a:extLst>
                  <a:ext uri="{FF2B5EF4-FFF2-40B4-BE49-F238E27FC236}">
                    <a16:creationId xmlns:a16="http://schemas.microsoft.com/office/drawing/2014/main" id="{D70630AF-3B4C-122D-EDB9-6124AE878E5C}"/>
                  </a:ext>
                </a:extLst>
              </p:cNvPr>
              <p:cNvSpPr/>
              <p:nvPr/>
            </p:nvSpPr>
            <p:spPr bwMode="gray">
              <a:xfrm>
                <a:off x="8659310" y="2356711"/>
                <a:ext cx="202010" cy="202010"/>
              </a:xfrm>
              <a:custGeom>
                <a:avLst/>
                <a:gdLst>
                  <a:gd name="connsiteX0" fmla="*/ 100589 w 293216"/>
                  <a:gd name="connsiteY0" fmla="*/ 18326 h 293216"/>
                  <a:gd name="connsiteX1" fmla="*/ 261044 w 293216"/>
                  <a:gd name="connsiteY1" fmla="*/ 178780 h 293216"/>
                  <a:gd name="connsiteX2" fmla="*/ 261044 w 293216"/>
                  <a:gd name="connsiteY2" fmla="*/ 261044 h 293216"/>
                  <a:gd name="connsiteX3" fmla="*/ 261044 w 293216"/>
                  <a:gd name="connsiteY3" fmla="*/ 261044 h 293216"/>
                  <a:gd name="connsiteX4" fmla="*/ 178780 w 293216"/>
                  <a:gd name="connsiteY4" fmla="*/ 261044 h 293216"/>
                  <a:gd name="connsiteX5" fmla="*/ 18326 w 293216"/>
                  <a:gd name="connsiteY5" fmla="*/ 100589 h 293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3216" h="293216">
                    <a:moveTo>
                      <a:pt x="100589" y="18326"/>
                    </a:moveTo>
                    <a:lnTo>
                      <a:pt x="261044" y="178780"/>
                    </a:lnTo>
                    <a:cubicBezTo>
                      <a:pt x="283849" y="201586"/>
                      <a:pt x="283849" y="238238"/>
                      <a:pt x="261044" y="261044"/>
                    </a:cubicBezTo>
                    <a:lnTo>
                      <a:pt x="261044" y="261044"/>
                    </a:lnTo>
                    <a:cubicBezTo>
                      <a:pt x="238238" y="283849"/>
                      <a:pt x="201586" y="283849"/>
                      <a:pt x="178780" y="261044"/>
                    </a:cubicBezTo>
                    <a:lnTo>
                      <a:pt x="18326" y="100589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0" name="Freihandform: Form 139">
                <a:extLst>
                  <a:ext uri="{FF2B5EF4-FFF2-40B4-BE49-F238E27FC236}">
                    <a16:creationId xmlns:a16="http://schemas.microsoft.com/office/drawing/2014/main" id="{5B461BA0-1F18-7869-73B8-6A359D0985C3}"/>
                  </a:ext>
                </a:extLst>
              </p:cNvPr>
              <p:cNvSpPr/>
              <p:nvPr/>
            </p:nvSpPr>
            <p:spPr bwMode="gray">
              <a:xfrm>
                <a:off x="8559988" y="2257391"/>
                <a:ext cx="230068" cy="230066"/>
              </a:xfrm>
              <a:custGeom>
                <a:avLst/>
                <a:gdLst>
                  <a:gd name="connsiteX0" fmla="*/ 18326 w 333940"/>
                  <a:gd name="connsiteY0" fmla="*/ 322130 h 333940"/>
                  <a:gd name="connsiteX1" fmla="*/ 322130 w 333940"/>
                  <a:gd name="connsiteY1" fmla="*/ 18326 h 333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3940" h="333940">
                    <a:moveTo>
                      <a:pt x="18326" y="322130"/>
                    </a:moveTo>
                    <a:cubicBezTo>
                      <a:pt x="159233" y="271632"/>
                      <a:pt x="270818" y="159233"/>
                      <a:pt x="32213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4" name="Gruppieren 140">
              <a:extLst>
                <a:ext uri="{FF2B5EF4-FFF2-40B4-BE49-F238E27FC236}">
                  <a16:creationId xmlns:a16="http://schemas.microsoft.com/office/drawing/2014/main" id="{84142B47-6C1B-DC56-757B-D15385B14905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921751" y="3197527"/>
              <a:ext cx="355624" cy="360952"/>
              <a:chOff x="7986064" y="5303416"/>
              <a:chExt cx="734069" cy="745069"/>
            </a:xfrm>
          </p:grpSpPr>
          <p:sp>
            <p:nvSpPr>
              <p:cNvPr id="80" name="Freihandform: Form 141">
                <a:extLst>
                  <a:ext uri="{FF2B5EF4-FFF2-40B4-BE49-F238E27FC236}">
                    <a16:creationId xmlns:a16="http://schemas.microsoft.com/office/drawing/2014/main" id="{3DB3AB1B-B5A2-A5BB-9F29-D7200199895D}"/>
                  </a:ext>
                </a:extLst>
              </p:cNvPr>
              <p:cNvSpPr/>
              <p:nvPr/>
            </p:nvSpPr>
            <p:spPr bwMode="gray">
              <a:xfrm>
                <a:off x="8383353" y="5963527"/>
                <a:ext cx="48897" cy="24449"/>
              </a:xfrm>
              <a:custGeom>
                <a:avLst/>
                <a:gdLst>
                  <a:gd name="connsiteX0" fmla="*/ 50905 w 65159"/>
                  <a:gd name="connsiteY0" fmla="*/ 18326 h 32579"/>
                  <a:gd name="connsiteX1" fmla="*/ 18326 w 65159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159" h="32579">
                    <a:moveTo>
                      <a:pt x="50905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1" name="Freihandform: Form 142">
                <a:extLst>
                  <a:ext uri="{FF2B5EF4-FFF2-40B4-BE49-F238E27FC236}">
                    <a16:creationId xmlns:a16="http://schemas.microsoft.com/office/drawing/2014/main" id="{1B19B53B-87C6-B59F-A499-EC65DB64DEE0}"/>
                  </a:ext>
                </a:extLst>
              </p:cNvPr>
              <p:cNvSpPr/>
              <p:nvPr/>
            </p:nvSpPr>
            <p:spPr bwMode="gray">
              <a:xfrm>
                <a:off x="8387632" y="5898739"/>
                <a:ext cx="61121" cy="24449"/>
              </a:xfrm>
              <a:custGeom>
                <a:avLst/>
                <a:gdLst>
                  <a:gd name="connsiteX0" fmla="*/ 67195 w 81448"/>
                  <a:gd name="connsiteY0" fmla="*/ 18326 h 32579"/>
                  <a:gd name="connsiteX1" fmla="*/ 18326 w 81448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32579">
                    <a:moveTo>
                      <a:pt x="67195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2" name="Freihandform: Form 143">
                <a:extLst>
                  <a:ext uri="{FF2B5EF4-FFF2-40B4-BE49-F238E27FC236}">
                    <a16:creationId xmlns:a16="http://schemas.microsoft.com/office/drawing/2014/main" id="{4928CFBF-B60C-B31A-45EC-7DF2540DBE2C}"/>
                  </a:ext>
                </a:extLst>
              </p:cNvPr>
              <p:cNvSpPr/>
              <p:nvPr/>
            </p:nvSpPr>
            <p:spPr bwMode="gray">
              <a:xfrm>
                <a:off x="8392522" y="5833950"/>
                <a:ext cx="67234" cy="24449"/>
              </a:xfrm>
              <a:custGeom>
                <a:avLst/>
                <a:gdLst>
                  <a:gd name="connsiteX0" fmla="*/ 76969 w 89593"/>
                  <a:gd name="connsiteY0" fmla="*/ 18326 h 32579"/>
                  <a:gd name="connsiteX1" fmla="*/ 18326 w 89593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32579">
                    <a:moveTo>
                      <a:pt x="76969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3" name="Freihandform: Form 144">
                <a:extLst>
                  <a:ext uri="{FF2B5EF4-FFF2-40B4-BE49-F238E27FC236}">
                    <a16:creationId xmlns:a16="http://schemas.microsoft.com/office/drawing/2014/main" id="{1E06BC50-0327-5D61-15EA-59398085EC79}"/>
                  </a:ext>
                </a:extLst>
              </p:cNvPr>
              <p:cNvSpPr/>
              <p:nvPr/>
            </p:nvSpPr>
            <p:spPr bwMode="gray">
              <a:xfrm>
                <a:off x="7986064" y="5755102"/>
                <a:ext cx="134467" cy="293383"/>
              </a:xfrm>
              <a:custGeom>
                <a:avLst/>
                <a:gdLst>
                  <a:gd name="connsiteX0" fmla="*/ 18326 w 179187"/>
                  <a:gd name="connsiteY0" fmla="*/ 375072 h 390954"/>
                  <a:gd name="connsiteX1" fmla="*/ 150273 w 179187"/>
                  <a:gd name="connsiteY1" fmla="*/ 375072 h 390954"/>
                  <a:gd name="connsiteX2" fmla="*/ 168192 w 179187"/>
                  <a:gd name="connsiteY2" fmla="*/ 357154 h 390954"/>
                  <a:gd name="connsiteX3" fmla="*/ 168192 w 179187"/>
                  <a:gd name="connsiteY3" fmla="*/ 36245 h 390954"/>
                  <a:gd name="connsiteX4" fmla="*/ 150273 w 179187"/>
                  <a:gd name="connsiteY4" fmla="*/ 18326 h 390954"/>
                  <a:gd name="connsiteX5" fmla="*/ 18326 w 179187"/>
                  <a:gd name="connsiteY5" fmla="*/ 18326 h 390954"/>
                  <a:gd name="connsiteX6" fmla="*/ 18326 w 179187"/>
                  <a:gd name="connsiteY6" fmla="*/ 375072 h 39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9187" h="390954">
                    <a:moveTo>
                      <a:pt x="18326" y="375072"/>
                    </a:moveTo>
                    <a:lnTo>
                      <a:pt x="150273" y="375072"/>
                    </a:lnTo>
                    <a:cubicBezTo>
                      <a:pt x="160047" y="375072"/>
                      <a:pt x="168192" y="366928"/>
                      <a:pt x="168192" y="357154"/>
                    </a:cubicBezTo>
                    <a:lnTo>
                      <a:pt x="168192" y="36245"/>
                    </a:lnTo>
                    <a:cubicBezTo>
                      <a:pt x="168192" y="26471"/>
                      <a:pt x="160047" y="18326"/>
                      <a:pt x="150273" y="18326"/>
                    </a:cubicBezTo>
                    <a:lnTo>
                      <a:pt x="18326" y="18326"/>
                    </a:lnTo>
                    <a:lnTo>
                      <a:pt x="18326" y="3750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4" name="Freihandform: Form 145">
                <a:extLst>
                  <a:ext uri="{FF2B5EF4-FFF2-40B4-BE49-F238E27FC236}">
                    <a16:creationId xmlns:a16="http://schemas.microsoft.com/office/drawing/2014/main" id="{CD338184-DF7F-8991-A6D0-66469A309032}"/>
                  </a:ext>
                </a:extLst>
              </p:cNvPr>
              <p:cNvSpPr/>
              <p:nvPr/>
            </p:nvSpPr>
            <p:spPr bwMode="gray">
              <a:xfrm>
                <a:off x="8099139" y="5768549"/>
                <a:ext cx="409514" cy="275046"/>
              </a:xfrm>
              <a:custGeom>
                <a:avLst/>
                <a:gdLst>
                  <a:gd name="connsiteX0" fmla="*/ 299325 w 545707"/>
                  <a:gd name="connsiteY0" fmla="*/ 18326 h 366520"/>
                  <a:gd name="connsiteX1" fmla="*/ 489915 w 545707"/>
                  <a:gd name="connsiteY1" fmla="*/ 18326 h 366520"/>
                  <a:gd name="connsiteX2" fmla="*/ 533083 w 545707"/>
                  <a:gd name="connsiteY2" fmla="*/ 63123 h 366520"/>
                  <a:gd name="connsiteX3" fmla="*/ 488286 w 545707"/>
                  <a:gd name="connsiteY3" fmla="*/ 104662 h 366520"/>
                  <a:gd name="connsiteX4" fmla="*/ 470368 w 545707"/>
                  <a:gd name="connsiteY4" fmla="*/ 104662 h 366520"/>
                  <a:gd name="connsiteX5" fmla="*/ 513536 w 545707"/>
                  <a:gd name="connsiteY5" fmla="*/ 149459 h 366520"/>
                  <a:gd name="connsiteX6" fmla="*/ 468739 w 545707"/>
                  <a:gd name="connsiteY6" fmla="*/ 190998 h 366520"/>
                  <a:gd name="connsiteX7" fmla="*/ 450820 w 545707"/>
                  <a:gd name="connsiteY7" fmla="*/ 190998 h 366520"/>
                  <a:gd name="connsiteX8" fmla="*/ 493988 w 545707"/>
                  <a:gd name="connsiteY8" fmla="*/ 235795 h 366520"/>
                  <a:gd name="connsiteX9" fmla="*/ 449191 w 545707"/>
                  <a:gd name="connsiteY9" fmla="*/ 277334 h 366520"/>
                  <a:gd name="connsiteX10" fmla="*/ 431272 w 545707"/>
                  <a:gd name="connsiteY10" fmla="*/ 277334 h 366520"/>
                  <a:gd name="connsiteX11" fmla="*/ 474440 w 545707"/>
                  <a:gd name="connsiteY11" fmla="*/ 316429 h 366520"/>
                  <a:gd name="connsiteX12" fmla="*/ 429643 w 545707"/>
                  <a:gd name="connsiteY12" fmla="*/ 355525 h 366520"/>
                  <a:gd name="connsiteX13" fmla="*/ 158418 w 545707"/>
                  <a:gd name="connsiteY13" fmla="*/ 312357 h 366520"/>
                  <a:gd name="connsiteX14" fmla="*/ 68010 w 545707"/>
                  <a:gd name="connsiteY14" fmla="*/ 303397 h 366520"/>
                  <a:gd name="connsiteX15" fmla="*/ 18326 w 545707"/>
                  <a:gd name="connsiteY15" fmla="*/ 315615 h 366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45707" h="366520">
                    <a:moveTo>
                      <a:pt x="299325" y="18326"/>
                    </a:moveTo>
                    <a:lnTo>
                      <a:pt x="489915" y="18326"/>
                    </a:lnTo>
                    <a:cubicBezTo>
                      <a:pt x="514350" y="18326"/>
                      <a:pt x="533898" y="38688"/>
                      <a:pt x="533083" y="63123"/>
                    </a:cubicBezTo>
                    <a:cubicBezTo>
                      <a:pt x="532269" y="85929"/>
                      <a:pt x="511092" y="104662"/>
                      <a:pt x="488286" y="104662"/>
                    </a:cubicBezTo>
                    <a:lnTo>
                      <a:pt x="470368" y="104662"/>
                    </a:lnTo>
                    <a:cubicBezTo>
                      <a:pt x="494802" y="104662"/>
                      <a:pt x="514350" y="125024"/>
                      <a:pt x="513536" y="149459"/>
                    </a:cubicBezTo>
                    <a:cubicBezTo>
                      <a:pt x="512721" y="172264"/>
                      <a:pt x="491545" y="190998"/>
                      <a:pt x="468739" y="190998"/>
                    </a:cubicBezTo>
                    <a:lnTo>
                      <a:pt x="450820" y="190998"/>
                    </a:lnTo>
                    <a:cubicBezTo>
                      <a:pt x="475255" y="190998"/>
                      <a:pt x="494802" y="211360"/>
                      <a:pt x="493988" y="235795"/>
                    </a:cubicBezTo>
                    <a:cubicBezTo>
                      <a:pt x="493174" y="258600"/>
                      <a:pt x="471997" y="277334"/>
                      <a:pt x="449191" y="277334"/>
                    </a:cubicBezTo>
                    <a:lnTo>
                      <a:pt x="431272" y="277334"/>
                    </a:lnTo>
                    <a:cubicBezTo>
                      <a:pt x="455707" y="277334"/>
                      <a:pt x="474440" y="294438"/>
                      <a:pt x="474440" y="316429"/>
                    </a:cubicBezTo>
                    <a:cubicBezTo>
                      <a:pt x="474440" y="343307"/>
                      <a:pt x="452449" y="355525"/>
                      <a:pt x="429643" y="355525"/>
                    </a:cubicBezTo>
                    <a:cubicBezTo>
                      <a:pt x="283035" y="355525"/>
                      <a:pt x="200772" y="331090"/>
                      <a:pt x="158418" y="312357"/>
                    </a:cubicBezTo>
                    <a:cubicBezTo>
                      <a:pt x="129911" y="299325"/>
                      <a:pt x="98146" y="296067"/>
                      <a:pt x="68010" y="303397"/>
                    </a:cubicBezTo>
                    <a:lnTo>
                      <a:pt x="18326" y="315615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5" name="Freihandform: Form 146">
                <a:extLst>
                  <a:ext uri="{FF2B5EF4-FFF2-40B4-BE49-F238E27FC236}">
                    <a16:creationId xmlns:a16="http://schemas.microsoft.com/office/drawing/2014/main" id="{C6C11467-A220-1C52-4CCD-91F8C77F33F6}"/>
                  </a:ext>
                </a:extLst>
              </p:cNvPr>
              <p:cNvSpPr/>
              <p:nvPr/>
            </p:nvSpPr>
            <p:spPr bwMode="gray">
              <a:xfrm>
                <a:off x="8098527" y="5676867"/>
                <a:ext cx="262822" cy="122243"/>
              </a:xfrm>
              <a:custGeom>
                <a:avLst/>
                <a:gdLst>
                  <a:gd name="connsiteX0" fmla="*/ 18326 w 350230"/>
                  <a:gd name="connsiteY0" fmla="*/ 149459 h 162897"/>
                  <a:gd name="connsiteX1" fmla="*/ 121766 w 350230"/>
                  <a:gd name="connsiteY1" fmla="*/ 149459 h 162897"/>
                  <a:gd name="connsiteX2" fmla="*/ 179595 w 350230"/>
                  <a:gd name="connsiteY2" fmla="*/ 149459 h 162897"/>
                  <a:gd name="connsiteX3" fmla="*/ 338420 w 350230"/>
                  <a:gd name="connsiteY3" fmla="*/ 18326 h 162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0230" h="162897">
                    <a:moveTo>
                      <a:pt x="18326" y="149459"/>
                    </a:moveTo>
                    <a:lnTo>
                      <a:pt x="121766" y="149459"/>
                    </a:lnTo>
                    <a:lnTo>
                      <a:pt x="179595" y="149459"/>
                    </a:lnTo>
                    <a:cubicBezTo>
                      <a:pt x="179595" y="149459"/>
                      <a:pt x="186925" y="44390"/>
                      <a:pt x="33842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6" name="Freihandform: Form 147">
                <a:extLst>
                  <a:ext uri="{FF2B5EF4-FFF2-40B4-BE49-F238E27FC236}">
                    <a16:creationId xmlns:a16="http://schemas.microsoft.com/office/drawing/2014/main" id="{03D12D90-6236-4F72-73BB-13DBF1B667B0}"/>
                  </a:ext>
                </a:extLst>
              </p:cNvPr>
              <p:cNvSpPr/>
              <p:nvPr/>
            </p:nvSpPr>
            <p:spPr bwMode="gray">
              <a:xfrm>
                <a:off x="8124809" y="5326642"/>
                <a:ext cx="537869" cy="140580"/>
              </a:xfrm>
              <a:custGeom>
                <a:avLst/>
                <a:gdLst>
                  <a:gd name="connsiteX0" fmla="*/ 705755 w 716750"/>
                  <a:gd name="connsiteY0" fmla="*/ 18326 h 187332"/>
                  <a:gd name="connsiteX1" fmla="*/ 323759 w 716750"/>
                  <a:gd name="connsiteY1" fmla="*/ 155160 h 187332"/>
                  <a:gd name="connsiteX2" fmla="*/ 18326 w 716750"/>
                  <a:gd name="connsiteY2" fmla="*/ 163305 h 187332"/>
                  <a:gd name="connsiteX3" fmla="*/ 18326 w 716750"/>
                  <a:gd name="connsiteY3" fmla="*/ 163305 h 187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6750" h="187332">
                    <a:moveTo>
                      <a:pt x="705755" y="18326"/>
                    </a:moveTo>
                    <a:cubicBezTo>
                      <a:pt x="551816" y="92445"/>
                      <a:pt x="421498" y="133169"/>
                      <a:pt x="323759" y="155160"/>
                    </a:cubicBezTo>
                    <a:cubicBezTo>
                      <a:pt x="223577" y="177966"/>
                      <a:pt x="120137" y="180409"/>
                      <a:pt x="18326" y="163305"/>
                    </a:cubicBezTo>
                    <a:lnTo>
                      <a:pt x="18326" y="163305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7" name="Freihandform: Form 148">
                <a:extLst>
                  <a:ext uri="{FF2B5EF4-FFF2-40B4-BE49-F238E27FC236}">
                    <a16:creationId xmlns:a16="http://schemas.microsoft.com/office/drawing/2014/main" id="{6A78075A-9A5C-F443-3903-82F1DDA7828A}"/>
                  </a:ext>
                </a:extLst>
              </p:cNvPr>
              <p:cNvSpPr/>
              <p:nvPr/>
            </p:nvSpPr>
            <p:spPr bwMode="gray">
              <a:xfrm>
                <a:off x="8338735" y="5596798"/>
                <a:ext cx="97794" cy="195589"/>
              </a:xfrm>
              <a:custGeom>
                <a:avLst/>
                <a:gdLst>
                  <a:gd name="connsiteX0" fmla="*/ 117694 w 130318"/>
                  <a:gd name="connsiteY0" fmla="*/ 42761 h 260636"/>
                  <a:gd name="connsiteX1" fmla="*/ 117694 w 130318"/>
                  <a:gd name="connsiteY1" fmla="*/ 247198 h 260636"/>
                  <a:gd name="connsiteX2" fmla="*/ 18326 w 130318"/>
                  <a:gd name="connsiteY2" fmla="*/ 247198 h 260636"/>
                  <a:gd name="connsiteX3" fmla="*/ 18326 w 130318"/>
                  <a:gd name="connsiteY3" fmla="*/ 18326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260636">
                    <a:moveTo>
                      <a:pt x="117694" y="42761"/>
                    </a:moveTo>
                    <a:lnTo>
                      <a:pt x="117694" y="247198"/>
                    </a:lnTo>
                    <a:lnTo>
                      <a:pt x="18326" y="247198"/>
                    </a:ln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8" name="Freihandform: Form 149">
                <a:extLst>
                  <a:ext uri="{FF2B5EF4-FFF2-40B4-BE49-F238E27FC236}">
                    <a16:creationId xmlns:a16="http://schemas.microsoft.com/office/drawing/2014/main" id="{9895C9B3-25D4-B3B2-D0DE-B1E4A9C1A954}"/>
                  </a:ext>
                </a:extLst>
              </p:cNvPr>
              <p:cNvSpPr/>
              <p:nvPr/>
            </p:nvSpPr>
            <p:spPr bwMode="gray">
              <a:xfrm>
                <a:off x="8640675" y="5303416"/>
                <a:ext cx="79458" cy="446186"/>
              </a:xfrm>
              <a:custGeom>
                <a:avLst/>
                <a:gdLst>
                  <a:gd name="connsiteX0" fmla="*/ 61494 w 105883"/>
                  <a:gd name="connsiteY0" fmla="*/ 581953 h 594577"/>
                  <a:gd name="connsiteX1" fmla="*/ 18326 w 105883"/>
                  <a:gd name="connsiteY1" fmla="*/ 581953 h 594577"/>
                  <a:gd name="connsiteX2" fmla="*/ 18326 w 105883"/>
                  <a:gd name="connsiteY2" fmla="*/ 18326 h 594577"/>
                  <a:gd name="connsiteX3" fmla="*/ 61494 w 105883"/>
                  <a:gd name="connsiteY3" fmla="*/ 18326 h 594577"/>
                  <a:gd name="connsiteX4" fmla="*/ 94073 w 105883"/>
                  <a:gd name="connsiteY4" fmla="*/ 50906 h 594577"/>
                  <a:gd name="connsiteX5" fmla="*/ 94073 w 105883"/>
                  <a:gd name="connsiteY5" fmla="*/ 549373 h 594577"/>
                  <a:gd name="connsiteX6" fmla="*/ 61494 w 105883"/>
                  <a:gd name="connsiteY6" fmla="*/ 581953 h 594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5883" h="594577">
                    <a:moveTo>
                      <a:pt x="61494" y="581953"/>
                    </a:moveTo>
                    <a:lnTo>
                      <a:pt x="18326" y="581953"/>
                    </a:lnTo>
                    <a:lnTo>
                      <a:pt x="18326" y="18326"/>
                    </a:lnTo>
                    <a:lnTo>
                      <a:pt x="61494" y="18326"/>
                    </a:lnTo>
                    <a:cubicBezTo>
                      <a:pt x="79413" y="18326"/>
                      <a:pt x="94073" y="32987"/>
                      <a:pt x="94073" y="50906"/>
                    </a:cubicBezTo>
                    <a:lnTo>
                      <a:pt x="94073" y="549373"/>
                    </a:lnTo>
                    <a:cubicBezTo>
                      <a:pt x="94073" y="567292"/>
                      <a:pt x="79413" y="581953"/>
                      <a:pt x="61494" y="58195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9" name="Freihandform: Form 150">
                <a:extLst>
                  <a:ext uri="{FF2B5EF4-FFF2-40B4-BE49-F238E27FC236}">
                    <a16:creationId xmlns:a16="http://schemas.microsoft.com/office/drawing/2014/main" id="{2D6FD5AF-ABF4-E8B4-3BF2-ED86C82376B8}"/>
                  </a:ext>
                </a:extLst>
              </p:cNvPr>
              <p:cNvSpPr/>
              <p:nvPr/>
            </p:nvSpPr>
            <p:spPr bwMode="gray">
              <a:xfrm>
                <a:off x="8125421" y="5585273"/>
                <a:ext cx="537869" cy="140580"/>
              </a:xfrm>
              <a:custGeom>
                <a:avLst/>
                <a:gdLst>
                  <a:gd name="connsiteX0" fmla="*/ 704940 w 716750"/>
                  <a:gd name="connsiteY0" fmla="*/ 174591 h 187332"/>
                  <a:gd name="connsiteX1" fmla="*/ 331904 w 716750"/>
                  <a:gd name="connsiteY1" fmla="*/ 39386 h 187332"/>
                  <a:gd name="connsiteX2" fmla="*/ 18326 w 716750"/>
                  <a:gd name="connsiteY2" fmla="*/ 28797 h 187332"/>
                  <a:gd name="connsiteX3" fmla="*/ 18326 w 716750"/>
                  <a:gd name="connsiteY3" fmla="*/ 28797 h 187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6750" h="187332">
                    <a:moveTo>
                      <a:pt x="704940" y="174591"/>
                    </a:moveTo>
                    <a:cubicBezTo>
                      <a:pt x="555074" y="102101"/>
                      <a:pt x="428014" y="62191"/>
                      <a:pt x="331904" y="39386"/>
                    </a:cubicBezTo>
                    <a:cubicBezTo>
                      <a:pt x="229278" y="15765"/>
                      <a:pt x="122581" y="11693"/>
                      <a:pt x="18326" y="28797"/>
                    </a:cubicBezTo>
                    <a:lnTo>
                      <a:pt x="18326" y="28797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0" name="Freihandform: Form 151">
                <a:extLst>
                  <a:ext uri="{FF2B5EF4-FFF2-40B4-BE49-F238E27FC236}">
                    <a16:creationId xmlns:a16="http://schemas.microsoft.com/office/drawing/2014/main" id="{595D3152-1BFF-70FD-6F67-BEF62724CF11}"/>
                  </a:ext>
                </a:extLst>
              </p:cNvPr>
              <p:cNvSpPr/>
              <p:nvPr/>
            </p:nvSpPr>
            <p:spPr bwMode="gray">
              <a:xfrm>
                <a:off x="8071634" y="5415267"/>
                <a:ext cx="79458" cy="226149"/>
              </a:xfrm>
              <a:custGeom>
                <a:avLst/>
                <a:gdLst>
                  <a:gd name="connsiteX0" fmla="*/ 89187 w 105883"/>
                  <a:gd name="connsiteY0" fmla="*/ 283035 h 301361"/>
                  <a:gd name="connsiteX1" fmla="*/ 52535 w 105883"/>
                  <a:gd name="connsiteY1" fmla="*/ 283035 h 301361"/>
                  <a:gd name="connsiteX2" fmla="*/ 18326 w 105883"/>
                  <a:gd name="connsiteY2" fmla="*/ 248827 h 301361"/>
                  <a:gd name="connsiteX3" fmla="*/ 18326 w 105883"/>
                  <a:gd name="connsiteY3" fmla="*/ 52535 h 301361"/>
                  <a:gd name="connsiteX4" fmla="*/ 52535 w 105883"/>
                  <a:gd name="connsiteY4" fmla="*/ 18326 h 301361"/>
                  <a:gd name="connsiteX5" fmla="*/ 89187 w 105883"/>
                  <a:gd name="connsiteY5" fmla="*/ 18326 h 301361"/>
                  <a:gd name="connsiteX6" fmla="*/ 89187 w 105883"/>
                  <a:gd name="connsiteY6" fmla="*/ 283035 h 301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5883" h="301361">
                    <a:moveTo>
                      <a:pt x="89187" y="283035"/>
                    </a:moveTo>
                    <a:lnTo>
                      <a:pt x="52535" y="283035"/>
                    </a:lnTo>
                    <a:cubicBezTo>
                      <a:pt x="33802" y="283035"/>
                      <a:pt x="18326" y="267560"/>
                      <a:pt x="18326" y="248827"/>
                    </a:cubicBezTo>
                    <a:lnTo>
                      <a:pt x="18326" y="52535"/>
                    </a:lnTo>
                    <a:cubicBezTo>
                      <a:pt x="18326" y="33801"/>
                      <a:pt x="33802" y="18326"/>
                      <a:pt x="52535" y="18326"/>
                    </a:cubicBezTo>
                    <a:lnTo>
                      <a:pt x="89187" y="18326"/>
                    </a:lnTo>
                    <a:lnTo>
                      <a:pt x="89187" y="283035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5" name="Gruppieren 152">
              <a:extLst>
                <a:ext uri="{FF2B5EF4-FFF2-40B4-BE49-F238E27FC236}">
                  <a16:creationId xmlns:a16="http://schemas.microsoft.com/office/drawing/2014/main" id="{8872F882-AA25-4F42-700A-300D1E880F5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4363116" y="1676645"/>
              <a:ext cx="442498" cy="390279"/>
              <a:chOff x="8797658" y="7629428"/>
              <a:chExt cx="712335" cy="628274"/>
            </a:xfrm>
          </p:grpSpPr>
          <p:sp>
            <p:nvSpPr>
              <p:cNvPr id="61" name="Freihandform: Form 153">
                <a:extLst>
                  <a:ext uri="{FF2B5EF4-FFF2-40B4-BE49-F238E27FC236}">
                    <a16:creationId xmlns:a16="http://schemas.microsoft.com/office/drawing/2014/main" id="{25319030-2B7E-580C-FDB2-F491361149F3}"/>
                  </a:ext>
                </a:extLst>
              </p:cNvPr>
              <p:cNvSpPr/>
              <p:nvPr/>
            </p:nvSpPr>
            <p:spPr bwMode="gray">
              <a:xfrm>
                <a:off x="9030736" y="7823205"/>
                <a:ext cx="92795" cy="141921"/>
              </a:xfrm>
              <a:custGeom>
                <a:avLst/>
                <a:gdLst>
                  <a:gd name="connsiteX0" fmla="*/ 12282 w 92794"/>
                  <a:gd name="connsiteY0" fmla="*/ 132369 h 141921"/>
                  <a:gd name="connsiteX1" fmla="*/ 12282 w 92794"/>
                  <a:gd name="connsiteY1" fmla="*/ 12282 h 141921"/>
                  <a:gd name="connsiteX2" fmla="*/ 82150 w 92794"/>
                  <a:gd name="connsiteY2" fmla="*/ 12282 h 141921"/>
                  <a:gd name="connsiteX3" fmla="*/ 82150 w 92794"/>
                  <a:gd name="connsiteY3" fmla="*/ 132369 h 141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794" h="141921">
                    <a:moveTo>
                      <a:pt x="12282" y="132369"/>
                    </a:moveTo>
                    <a:lnTo>
                      <a:pt x="12282" y="12282"/>
                    </a:lnTo>
                    <a:lnTo>
                      <a:pt x="82150" y="12282"/>
                    </a:lnTo>
                    <a:lnTo>
                      <a:pt x="82150" y="13236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2" name="Freihandform: Form 154">
                <a:extLst>
                  <a:ext uri="{FF2B5EF4-FFF2-40B4-BE49-F238E27FC236}">
                    <a16:creationId xmlns:a16="http://schemas.microsoft.com/office/drawing/2014/main" id="{235C5CF7-484A-CA36-78DA-0B7B94F45AB3}"/>
                  </a:ext>
                </a:extLst>
              </p:cNvPr>
              <p:cNvSpPr/>
              <p:nvPr/>
            </p:nvSpPr>
            <p:spPr bwMode="gray">
              <a:xfrm>
                <a:off x="9065671" y="7823205"/>
                <a:ext cx="21834" cy="174672"/>
              </a:xfrm>
              <a:custGeom>
                <a:avLst/>
                <a:gdLst>
                  <a:gd name="connsiteX0" fmla="*/ 12282 w 21834"/>
                  <a:gd name="connsiteY0" fmla="*/ 12282 h 174672"/>
                  <a:gd name="connsiteX1" fmla="*/ 12282 w 21834"/>
                  <a:gd name="connsiteY1" fmla="*/ 165120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174672">
                    <a:moveTo>
                      <a:pt x="12282" y="12282"/>
                    </a:moveTo>
                    <a:lnTo>
                      <a:pt x="12282" y="165120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3" name="Freihandform: Form 155">
                <a:extLst>
                  <a:ext uri="{FF2B5EF4-FFF2-40B4-BE49-F238E27FC236}">
                    <a16:creationId xmlns:a16="http://schemas.microsoft.com/office/drawing/2014/main" id="{B355B21C-B0BD-D60C-2C96-5002D7824A09}"/>
                  </a:ext>
                </a:extLst>
              </p:cNvPr>
              <p:cNvSpPr/>
              <p:nvPr/>
            </p:nvSpPr>
            <p:spPr bwMode="gray">
              <a:xfrm>
                <a:off x="9043836" y="7656720"/>
                <a:ext cx="65502" cy="65502"/>
              </a:xfrm>
              <a:custGeom>
                <a:avLst/>
                <a:gdLst>
                  <a:gd name="connsiteX0" fmla="*/ 55950 w 65502"/>
                  <a:gd name="connsiteY0" fmla="*/ 34116 h 65502"/>
                  <a:gd name="connsiteX1" fmla="*/ 34116 w 65502"/>
                  <a:gd name="connsiteY1" fmla="*/ 55950 h 65502"/>
                  <a:gd name="connsiteX2" fmla="*/ 12282 w 65502"/>
                  <a:gd name="connsiteY2" fmla="*/ 34116 h 65502"/>
                  <a:gd name="connsiteX3" fmla="*/ 34116 w 65502"/>
                  <a:gd name="connsiteY3" fmla="*/ 12282 h 65502"/>
                  <a:gd name="connsiteX4" fmla="*/ 55950 w 65502"/>
                  <a:gd name="connsiteY4" fmla="*/ 34116 h 65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502" h="65502">
                    <a:moveTo>
                      <a:pt x="55950" y="34116"/>
                    </a:moveTo>
                    <a:cubicBezTo>
                      <a:pt x="55950" y="46124"/>
                      <a:pt x="46124" y="55950"/>
                      <a:pt x="34116" y="55950"/>
                    </a:cubicBezTo>
                    <a:cubicBezTo>
                      <a:pt x="22107" y="55950"/>
                      <a:pt x="12282" y="46124"/>
                      <a:pt x="12282" y="34116"/>
                    </a:cubicBezTo>
                    <a:cubicBezTo>
                      <a:pt x="12282" y="22107"/>
                      <a:pt x="22107" y="12282"/>
                      <a:pt x="34116" y="12282"/>
                    </a:cubicBezTo>
                    <a:cubicBezTo>
                      <a:pt x="46124" y="12282"/>
                      <a:pt x="55950" y="22107"/>
                      <a:pt x="55950" y="34116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4" name="Freihandform: Form 156">
                <a:extLst>
                  <a:ext uri="{FF2B5EF4-FFF2-40B4-BE49-F238E27FC236}">
                    <a16:creationId xmlns:a16="http://schemas.microsoft.com/office/drawing/2014/main" id="{EA834B4A-DC92-BC1B-C4B0-ABDD36303C87}"/>
                  </a:ext>
                </a:extLst>
              </p:cNvPr>
              <p:cNvSpPr/>
              <p:nvPr/>
            </p:nvSpPr>
            <p:spPr bwMode="gray">
              <a:xfrm>
                <a:off x="9065671" y="7726043"/>
                <a:ext cx="21834" cy="87336"/>
              </a:xfrm>
              <a:custGeom>
                <a:avLst/>
                <a:gdLst>
                  <a:gd name="connsiteX0" fmla="*/ 12282 w 21834"/>
                  <a:gd name="connsiteY0" fmla="*/ 12282 h 87336"/>
                  <a:gd name="connsiteX1" fmla="*/ 12282 w 21834"/>
                  <a:gd name="connsiteY1" fmla="*/ 78875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87336">
                    <a:moveTo>
                      <a:pt x="12282" y="12282"/>
                    </a:moveTo>
                    <a:lnTo>
                      <a:pt x="12282" y="78875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5" name="Freihandform: Form 157">
                <a:extLst>
                  <a:ext uri="{FF2B5EF4-FFF2-40B4-BE49-F238E27FC236}">
                    <a16:creationId xmlns:a16="http://schemas.microsoft.com/office/drawing/2014/main" id="{BD4CE683-062A-C30C-5C7F-BA60B2448AEF}"/>
                  </a:ext>
                </a:extLst>
              </p:cNvPr>
              <p:cNvSpPr/>
              <p:nvPr/>
            </p:nvSpPr>
            <p:spPr bwMode="gray">
              <a:xfrm>
                <a:off x="9030736" y="7770803"/>
                <a:ext cx="92795" cy="76419"/>
              </a:xfrm>
              <a:custGeom>
                <a:avLst/>
                <a:gdLst>
                  <a:gd name="connsiteX0" fmla="*/ 12282 w 92794"/>
                  <a:gd name="connsiteY0" fmla="*/ 12282 h 76419"/>
                  <a:gd name="connsiteX1" fmla="*/ 12282 w 92794"/>
                  <a:gd name="connsiteY1" fmla="*/ 64683 h 76419"/>
                  <a:gd name="connsiteX2" fmla="*/ 82150 w 92794"/>
                  <a:gd name="connsiteY2" fmla="*/ 64683 h 76419"/>
                  <a:gd name="connsiteX3" fmla="*/ 82150 w 92794"/>
                  <a:gd name="connsiteY3" fmla="*/ 12282 h 76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794" h="76419">
                    <a:moveTo>
                      <a:pt x="12282" y="12282"/>
                    </a:moveTo>
                    <a:lnTo>
                      <a:pt x="12282" y="64683"/>
                    </a:lnTo>
                    <a:lnTo>
                      <a:pt x="82150" y="64683"/>
                    </a:lnTo>
                    <a:lnTo>
                      <a:pt x="82150" y="12282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6" name="Freihandform: Form 158">
                <a:extLst>
                  <a:ext uri="{FF2B5EF4-FFF2-40B4-BE49-F238E27FC236}">
                    <a16:creationId xmlns:a16="http://schemas.microsoft.com/office/drawing/2014/main" id="{01888448-A7B1-4F7E-A7DD-DFE88E5F0B24}"/>
                  </a:ext>
                </a:extLst>
              </p:cNvPr>
              <p:cNvSpPr/>
              <p:nvPr/>
            </p:nvSpPr>
            <p:spPr bwMode="gray">
              <a:xfrm>
                <a:off x="8957592" y="7682375"/>
                <a:ext cx="169214" cy="87336"/>
              </a:xfrm>
              <a:custGeom>
                <a:avLst/>
                <a:gdLst>
                  <a:gd name="connsiteX0" fmla="*/ 158570 w 169213"/>
                  <a:gd name="connsiteY0" fmla="*/ 55950 h 87336"/>
                  <a:gd name="connsiteX1" fmla="*/ 101801 w 169213"/>
                  <a:gd name="connsiteY1" fmla="*/ 55950 h 87336"/>
                  <a:gd name="connsiteX2" fmla="*/ 66867 w 169213"/>
                  <a:gd name="connsiteY2" fmla="*/ 69596 h 87336"/>
                  <a:gd name="connsiteX3" fmla="*/ 66867 w 169213"/>
                  <a:gd name="connsiteY3" fmla="*/ 69596 h 87336"/>
                  <a:gd name="connsiteX4" fmla="*/ 32478 w 169213"/>
                  <a:gd name="connsiteY4" fmla="*/ 61954 h 87336"/>
                  <a:gd name="connsiteX5" fmla="*/ 12282 w 169213"/>
                  <a:gd name="connsiteY5" fmla="*/ 12282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9213" h="87336">
                    <a:moveTo>
                      <a:pt x="158570" y="55950"/>
                    </a:moveTo>
                    <a:lnTo>
                      <a:pt x="101801" y="55950"/>
                    </a:lnTo>
                    <a:cubicBezTo>
                      <a:pt x="88701" y="55950"/>
                      <a:pt x="76146" y="60862"/>
                      <a:pt x="66867" y="69596"/>
                    </a:cubicBezTo>
                    <a:lnTo>
                      <a:pt x="66867" y="69596"/>
                    </a:lnTo>
                    <a:cubicBezTo>
                      <a:pt x="55950" y="79967"/>
                      <a:pt x="37937" y="76146"/>
                      <a:pt x="32478" y="61954"/>
                    </a:cubicBezTo>
                    <a:lnTo>
                      <a:pt x="12282" y="12282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7" name="Freihandform: Form 159">
                <a:extLst>
                  <a:ext uri="{FF2B5EF4-FFF2-40B4-BE49-F238E27FC236}">
                    <a16:creationId xmlns:a16="http://schemas.microsoft.com/office/drawing/2014/main" id="{564B1CCB-583D-84D2-C1FF-45BB85D1DC13}"/>
                  </a:ext>
                </a:extLst>
              </p:cNvPr>
              <p:cNvSpPr/>
              <p:nvPr/>
            </p:nvSpPr>
            <p:spPr bwMode="gray">
              <a:xfrm>
                <a:off x="9103880" y="7726043"/>
                <a:ext cx="49127" cy="120087"/>
              </a:xfrm>
              <a:custGeom>
                <a:avLst/>
                <a:gdLst>
                  <a:gd name="connsiteX0" fmla="*/ 12282 w 49126"/>
                  <a:gd name="connsiteY0" fmla="*/ 12282 h 120087"/>
                  <a:gd name="connsiteX1" fmla="*/ 12282 w 49126"/>
                  <a:gd name="connsiteY1" fmla="*/ 12282 h 120087"/>
                  <a:gd name="connsiteX2" fmla="*/ 36845 w 49126"/>
                  <a:gd name="connsiteY2" fmla="*/ 41758 h 120087"/>
                  <a:gd name="connsiteX3" fmla="*/ 36845 w 49126"/>
                  <a:gd name="connsiteY3" fmla="*/ 109443 h 120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126" h="120087">
                    <a:moveTo>
                      <a:pt x="12282" y="12282"/>
                    </a:moveTo>
                    <a:lnTo>
                      <a:pt x="12282" y="12282"/>
                    </a:lnTo>
                    <a:cubicBezTo>
                      <a:pt x="28657" y="12282"/>
                      <a:pt x="36845" y="25382"/>
                      <a:pt x="36845" y="41758"/>
                    </a:cubicBezTo>
                    <a:lnTo>
                      <a:pt x="36845" y="109443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8" name="Freihandform: Form 160">
                <a:extLst>
                  <a:ext uri="{FF2B5EF4-FFF2-40B4-BE49-F238E27FC236}">
                    <a16:creationId xmlns:a16="http://schemas.microsoft.com/office/drawing/2014/main" id="{8EE81A2F-EED7-2CCE-648C-8670F3F7301B}"/>
                  </a:ext>
                </a:extLst>
              </p:cNvPr>
              <p:cNvSpPr/>
              <p:nvPr/>
            </p:nvSpPr>
            <p:spPr bwMode="gray">
              <a:xfrm>
                <a:off x="8797658" y="7900170"/>
                <a:ext cx="447597" cy="262008"/>
              </a:xfrm>
              <a:custGeom>
                <a:avLst/>
                <a:gdLst>
                  <a:gd name="connsiteX0" fmla="*/ 12282 w 447597"/>
                  <a:gd name="connsiteY0" fmla="*/ 189137 h 262008"/>
                  <a:gd name="connsiteX1" fmla="*/ 204967 w 447597"/>
                  <a:gd name="connsiteY1" fmla="*/ 12282 h 262008"/>
                  <a:gd name="connsiteX2" fmla="*/ 438045 w 447597"/>
                  <a:gd name="connsiteY2" fmla="*/ 253548 h 262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7597" h="262008">
                    <a:moveTo>
                      <a:pt x="12282" y="189137"/>
                    </a:moveTo>
                    <a:lnTo>
                      <a:pt x="204967" y="12282"/>
                    </a:lnTo>
                    <a:lnTo>
                      <a:pt x="438045" y="253548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9" name="Freihandform: Form 161">
                <a:extLst>
                  <a:ext uri="{FF2B5EF4-FFF2-40B4-BE49-F238E27FC236}">
                    <a16:creationId xmlns:a16="http://schemas.microsoft.com/office/drawing/2014/main" id="{D8A54E3A-8205-253A-EC04-BFB7218B9BA3}"/>
                  </a:ext>
                </a:extLst>
              </p:cNvPr>
              <p:cNvSpPr/>
              <p:nvPr/>
            </p:nvSpPr>
            <p:spPr bwMode="gray">
              <a:xfrm>
                <a:off x="9062396" y="7779537"/>
                <a:ext cx="447597" cy="251091"/>
              </a:xfrm>
              <a:custGeom>
                <a:avLst/>
                <a:gdLst>
                  <a:gd name="connsiteX0" fmla="*/ 12282 w 447597"/>
                  <a:gd name="connsiteY0" fmla="*/ 211517 h 251091"/>
                  <a:gd name="connsiteX1" fmla="*/ 222980 w 447597"/>
                  <a:gd name="connsiteY1" fmla="*/ 12282 h 251091"/>
                  <a:gd name="connsiteX2" fmla="*/ 438591 w 447597"/>
                  <a:gd name="connsiteY2" fmla="*/ 242085 h 251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7597" h="251091">
                    <a:moveTo>
                      <a:pt x="12282" y="211517"/>
                    </a:moveTo>
                    <a:lnTo>
                      <a:pt x="222980" y="12282"/>
                    </a:lnTo>
                    <a:lnTo>
                      <a:pt x="438591" y="24208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0" name="Freihandform: Form 162">
                <a:extLst>
                  <a:ext uri="{FF2B5EF4-FFF2-40B4-BE49-F238E27FC236}">
                    <a16:creationId xmlns:a16="http://schemas.microsoft.com/office/drawing/2014/main" id="{38A1A52F-A498-8E31-72B0-AA762EB7C947}"/>
                  </a:ext>
                </a:extLst>
              </p:cNvPr>
              <p:cNvSpPr/>
              <p:nvPr/>
            </p:nvSpPr>
            <p:spPr bwMode="gray">
              <a:xfrm>
                <a:off x="9223421" y="7924733"/>
                <a:ext cx="21834" cy="332969"/>
              </a:xfrm>
              <a:custGeom>
                <a:avLst/>
                <a:gdLst>
                  <a:gd name="connsiteX0" fmla="*/ 12282 w 21834"/>
                  <a:gd name="connsiteY0" fmla="*/ 12282 h 332968"/>
                  <a:gd name="connsiteX1" fmla="*/ 12282 w 21834"/>
                  <a:gd name="connsiteY1" fmla="*/ 325054 h 332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32968">
                    <a:moveTo>
                      <a:pt x="12282" y="12282"/>
                    </a:moveTo>
                    <a:lnTo>
                      <a:pt x="12282" y="325054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1" name="Freihandform: Form 163">
                <a:extLst>
                  <a:ext uri="{FF2B5EF4-FFF2-40B4-BE49-F238E27FC236}">
                    <a16:creationId xmlns:a16="http://schemas.microsoft.com/office/drawing/2014/main" id="{5BFBA4E4-2B5A-8435-51DD-AE5AC4B3A67C}"/>
                  </a:ext>
                </a:extLst>
              </p:cNvPr>
              <p:cNvSpPr/>
              <p:nvPr/>
            </p:nvSpPr>
            <p:spPr bwMode="gray">
              <a:xfrm>
                <a:off x="9308574" y="7924733"/>
                <a:ext cx="21834" cy="332969"/>
              </a:xfrm>
              <a:custGeom>
                <a:avLst/>
                <a:gdLst>
                  <a:gd name="connsiteX0" fmla="*/ 12282 w 21834"/>
                  <a:gd name="connsiteY0" fmla="*/ 12282 h 332968"/>
                  <a:gd name="connsiteX1" fmla="*/ 12282 w 21834"/>
                  <a:gd name="connsiteY1" fmla="*/ 325054 h 332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32968">
                    <a:moveTo>
                      <a:pt x="12282" y="12282"/>
                    </a:moveTo>
                    <a:lnTo>
                      <a:pt x="12282" y="325054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2" name="Freihandform: Form 164">
                <a:extLst>
                  <a:ext uri="{FF2B5EF4-FFF2-40B4-BE49-F238E27FC236}">
                    <a16:creationId xmlns:a16="http://schemas.microsoft.com/office/drawing/2014/main" id="{09880B39-BD16-8CE0-6528-8952C9EEBF3D}"/>
                  </a:ext>
                </a:extLst>
              </p:cNvPr>
              <p:cNvSpPr/>
              <p:nvPr/>
            </p:nvSpPr>
            <p:spPr bwMode="gray">
              <a:xfrm>
                <a:off x="9227788" y="7962943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3" name="Freihandform: Form 165">
                <a:extLst>
                  <a:ext uri="{FF2B5EF4-FFF2-40B4-BE49-F238E27FC236}">
                    <a16:creationId xmlns:a16="http://schemas.microsoft.com/office/drawing/2014/main" id="{295AC6F2-68CB-62E9-F456-E8FD8EA4249D}"/>
                  </a:ext>
                </a:extLst>
              </p:cNvPr>
              <p:cNvSpPr/>
              <p:nvPr/>
            </p:nvSpPr>
            <p:spPr bwMode="gray">
              <a:xfrm>
                <a:off x="9227788" y="8021894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4" name="Freihandform: Form 166">
                <a:extLst>
                  <a:ext uri="{FF2B5EF4-FFF2-40B4-BE49-F238E27FC236}">
                    <a16:creationId xmlns:a16="http://schemas.microsoft.com/office/drawing/2014/main" id="{45B0FAB3-68B4-8E26-9797-562ED89CFAD3}"/>
                  </a:ext>
                </a:extLst>
              </p:cNvPr>
              <p:cNvSpPr/>
              <p:nvPr/>
            </p:nvSpPr>
            <p:spPr bwMode="gray">
              <a:xfrm>
                <a:off x="9227788" y="8080846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5" name="Freihandform: Form 167">
                <a:extLst>
                  <a:ext uri="{FF2B5EF4-FFF2-40B4-BE49-F238E27FC236}">
                    <a16:creationId xmlns:a16="http://schemas.microsoft.com/office/drawing/2014/main" id="{A608F61F-A41E-5644-A6F4-E2782D0E93A4}"/>
                  </a:ext>
                </a:extLst>
              </p:cNvPr>
              <p:cNvSpPr/>
              <p:nvPr/>
            </p:nvSpPr>
            <p:spPr bwMode="gray">
              <a:xfrm>
                <a:off x="9227788" y="8140344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6" name="Freihandform: Form 168">
                <a:extLst>
                  <a:ext uri="{FF2B5EF4-FFF2-40B4-BE49-F238E27FC236}">
                    <a16:creationId xmlns:a16="http://schemas.microsoft.com/office/drawing/2014/main" id="{CCB4D8FA-2EC8-BC00-65D1-503D353BD989}"/>
                  </a:ext>
                </a:extLst>
              </p:cNvPr>
              <p:cNvSpPr/>
              <p:nvPr/>
            </p:nvSpPr>
            <p:spPr bwMode="gray">
              <a:xfrm>
                <a:off x="9227788" y="8199296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7" name="Freihandform: Form 169">
                <a:extLst>
                  <a:ext uri="{FF2B5EF4-FFF2-40B4-BE49-F238E27FC236}">
                    <a16:creationId xmlns:a16="http://schemas.microsoft.com/office/drawing/2014/main" id="{36FF92CC-1531-DA0A-4DD3-C1C0227A921A}"/>
                  </a:ext>
                </a:extLst>
              </p:cNvPr>
              <p:cNvSpPr/>
              <p:nvPr/>
            </p:nvSpPr>
            <p:spPr bwMode="gray">
              <a:xfrm>
                <a:off x="9273094" y="7629428"/>
                <a:ext cx="98253" cy="87336"/>
              </a:xfrm>
              <a:custGeom>
                <a:avLst/>
                <a:gdLst>
                  <a:gd name="connsiteX0" fmla="*/ 12282 w 98253"/>
                  <a:gd name="connsiteY0" fmla="*/ 12282 h 87336"/>
                  <a:gd name="connsiteX1" fmla="*/ 89246 w 98253"/>
                  <a:gd name="connsiteY1" fmla="*/ 12282 h 87336"/>
                  <a:gd name="connsiteX2" fmla="*/ 89246 w 98253"/>
                  <a:gd name="connsiteY2" fmla="*/ 79967 h 87336"/>
                  <a:gd name="connsiteX3" fmla="*/ 12282 w 98253"/>
                  <a:gd name="connsiteY3" fmla="*/ 79967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53" h="87336">
                    <a:moveTo>
                      <a:pt x="12282" y="12282"/>
                    </a:moveTo>
                    <a:lnTo>
                      <a:pt x="89246" y="12282"/>
                    </a:lnTo>
                    <a:lnTo>
                      <a:pt x="89246" y="79967"/>
                    </a:lnTo>
                    <a:lnTo>
                      <a:pt x="12282" y="7996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8" name="Freihandform: Form 170">
                <a:extLst>
                  <a:ext uri="{FF2B5EF4-FFF2-40B4-BE49-F238E27FC236}">
                    <a16:creationId xmlns:a16="http://schemas.microsoft.com/office/drawing/2014/main" id="{301B466A-9F17-AC7E-8F7A-0DD6657DB3BD}"/>
                  </a:ext>
                </a:extLst>
              </p:cNvPr>
              <p:cNvSpPr/>
              <p:nvPr/>
            </p:nvSpPr>
            <p:spPr bwMode="gray">
              <a:xfrm>
                <a:off x="9350059" y="7663271"/>
                <a:ext cx="98253" cy="87336"/>
              </a:xfrm>
              <a:custGeom>
                <a:avLst/>
                <a:gdLst>
                  <a:gd name="connsiteX0" fmla="*/ 12282 w 98253"/>
                  <a:gd name="connsiteY0" fmla="*/ 12282 h 87336"/>
                  <a:gd name="connsiteX1" fmla="*/ 89247 w 98253"/>
                  <a:gd name="connsiteY1" fmla="*/ 12282 h 87336"/>
                  <a:gd name="connsiteX2" fmla="*/ 89247 w 98253"/>
                  <a:gd name="connsiteY2" fmla="*/ 79967 h 87336"/>
                  <a:gd name="connsiteX3" fmla="*/ 12282 w 98253"/>
                  <a:gd name="connsiteY3" fmla="*/ 79967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53" h="87336">
                    <a:moveTo>
                      <a:pt x="12282" y="12282"/>
                    </a:moveTo>
                    <a:lnTo>
                      <a:pt x="89247" y="12282"/>
                    </a:lnTo>
                    <a:lnTo>
                      <a:pt x="89247" y="79967"/>
                    </a:lnTo>
                    <a:lnTo>
                      <a:pt x="12282" y="7996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9" name="Freihandform: Form 171">
                <a:extLst>
                  <a:ext uri="{FF2B5EF4-FFF2-40B4-BE49-F238E27FC236}">
                    <a16:creationId xmlns:a16="http://schemas.microsoft.com/office/drawing/2014/main" id="{DE6E8ED5-4098-B867-A25C-5884D17FB746}"/>
                  </a:ext>
                </a:extLst>
              </p:cNvPr>
              <p:cNvSpPr/>
              <p:nvPr/>
            </p:nvSpPr>
            <p:spPr bwMode="gray">
              <a:xfrm>
                <a:off x="9273094" y="7629428"/>
                <a:ext cx="21834" cy="174672"/>
              </a:xfrm>
              <a:custGeom>
                <a:avLst/>
                <a:gdLst>
                  <a:gd name="connsiteX0" fmla="*/ 12282 w 21834"/>
                  <a:gd name="connsiteY0" fmla="*/ 162390 h 174672"/>
                  <a:gd name="connsiteX1" fmla="*/ 12282 w 21834"/>
                  <a:gd name="connsiteY1" fmla="*/ 12282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174672">
                    <a:moveTo>
                      <a:pt x="12282" y="162390"/>
                    </a:moveTo>
                    <a:lnTo>
                      <a:pt x="12282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6" name="Gruppieren 174">
              <a:extLst>
                <a:ext uri="{FF2B5EF4-FFF2-40B4-BE49-F238E27FC236}">
                  <a16:creationId xmlns:a16="http://schemas.microsoft.com/office/drawing/2014/main" id="{286DA8C0-E6E1-8BFC-B825-E353CDB1D4B3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1006530" y="4761255"/>
              <a:ext cx="474967" cy="430310"/>
              <a:chOff x="8663730" y="8525169"/>
              <a:chExt cx="716156" cy="648821"/>
            </a:xfrm>
          </p:grpSpPr>
          <p:sp>
            <p:nvSpPr>
              <p:cNvPr id="48" name="Freihandform: Form 175">
                <a:extLst>
                  <a:ext uri="{FF2B5EF4-FFF2-40B4-BE49-F238E27FC236}">
                    <a16:creationId xmlns:a16="http://schemas.microsoft.com/office/drawing/2014/main" id="{2C1F0C23-2E13-2A0C-287B-3C4F0EDB1C90}"/>
                  </a:ext>
                </a:extLst>
              </p:cNvPr>
              <p:cNvSpPr/>
              <p:nvPr/>
            </p:nvSpPr>
            <p:spPr bwMode="gray">
              <a:xfrm>
                <a:off x="8855869" y="8911268"/>
                <a:ext cx="360261" cy="114629"/>
              </a:xfrm>
              <a:custGeom>
                <a:avLst/>
                <a:gdLst>
                  <a:gd name="connsiteX0" fmla="*/ 205708 w 360261"/>
                  <a:gd name="connsiteY0" fmla="*/ 107623 h 114628"/>
                  <a:gd name="connsiteX1" fmla="*/ 239005 w 360261"/>
                  <a:gd name="connsiteY1" fmla="*/ 107623 h 114628"/>
                  <a:gd name="connsiteX2" fmla="*/ 327978 w 360261"/>
                  <a:gd name="connsiteY2" fmla="*/ 80331 h 114628"/>
                  <a:gd name="connsiteX3" fmla="*/ 352541 w 360261"/>
                  <a:gd name="connsiteY3" fmla="*/ 63955 h 114628"/>
                  <a:gd name="connsiteX4" fmla="*/ 355271 w 360261"/>
                  <a:gd name="connsiteY4" fmla="*/ 51946 h 114628"/>
                  <a:gd name="connsiteX5" fmla="*/ 341078 w 360261"/>
                  <a:gd name="connsiteY5" fmla="*/ 38846 h 114628"/>
                  <a:gd name="connsiteX6" fmla="*/ 302323 w 360261"/>
                  <a:gd name="connsiteY6" fmla="*/ 38300 h 114628"/>
                  <a:gd name="connsiteX7" fmla="*/ 217171 w 360261"/>
                  <a:gd name="connsiteY7" fmla="*/ 41576 h 114628"/>
                  <a:gd name="connsiteX8" fmla="*/ 175140 w 360261"/>
                  <a:gd name="connsiteY8" fmla="*/ 19741 h 114628"/>
                  <a:gd name="connsiteX9" fmla="*/ 7018 w 360261"/>
                  <a:gd name="connsiteY9" fmla="*/ 40483 h 114628"/>
                  <a:gd name="connsiteX10" fmla="*/ 7018 w 360261"/>
                  <a:gd name="connsiteY10" fmla="*/ 40483 h 11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0261" h="114628">
                    <a:moveTo>
                      <a:pt x="205708" y="107623"/>
                    </a:moveTo>
                    <a:lnTo>
                      <a:pt x="239005" y="107623"/>
                    </a:lnTo>
                    <a:cubicBezTo>
                      <a:pt x="270664" y="107623"/>
                      <a:pt x="301777" y="98343"/>
                      <a:pt x="327978" y="80331"/>
                    </a:cubicBezTo>
                    <a:lnTo>
                      <a:pt x="352541" y="63955"/>
                    </a:lnTo>
                    <a:cubicBezTo>
                      <a:pt x="356362" y="61226"/>
                      <a:pt x="358000" y="55768"/>
                      <a:pt x="355271" y="51946"/>
                    </a:cubicBezTo>
                    <a:cubicBezTo>
                      <a:pt x="351450" y="45942"/>
                      <a:pt x="346537" y="42121"/>
                      <a:pt x="341078" y="38846"/>
                    </a:cubicBezTo>
                    <a:cubicBezTo>
                      <a:pt x="329070" y="31750"/>
                      <a:pt x="314332" y="32296"/>
                      <a:pt x="302323" y="38300"/>
                    </a:cubicBezTo>
                    <a:cubicBezTo>
                      <a:pt x="257018" y="60134"/>
                      <a:pt x="217171" y="41576"/>
                      <a:pt x="217171" y="41576"/>
                    </a:cubicBezTo>
                    <a:cubicBezTo>
                      <a:pt x="202433" y="32296"/>
                      <a:pt x="188786" y="25200"/>
                      <a:pt x="175140" y="19741"/>
                    </a:cubicBezTo>
                    <a:cubicBezTo>
                      <a:pt x="119463" y="-3185"/>
                      <a:pt x="55599" y="5549"/>
                      <a:pt x="7018" y="40483"/>
                    </a:cubicBezTo>
                    <a:lnTo>
                      <a:pt x="7018" y="40483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9" name="Freihandform: Form 176">
                <a:extLst>
                  <a:ext uri="{FF2B5EF4-FFF2-40B4-BE49-F238E27FC236}">
                    <a16:creationId xmlns:a16="http://schemas.microsoft.com/office/drawing/2014/main" id="{2FCA1D6E-F1A4-7384-7056-3913E5F75F2E}"/>
                  </a:ext>
                </a:extLst>
              </p:cNvPr>
              <p:cNvSpPr/>
              <p:nvPr/>
            </p:nvSpPr>
            <p:spPr bwMode="gray">
              <a:xfrm>
                <a:off x="8855869" y="8898661"/>
                <a:ext cx="524017" cy="174672"/>
              </a:xfrm>
              <a:custGeom>
                <a:avLst/>
                <a:gdLst>
                  <a:gd name="connsiteX0" fmla="*/ 7018 w 524016"/>
                  <a:gd name="connsiteY0" fmla="*/ 169902 h 174672"/>
                  <a:gd name="connsiteX1" fmla="*/ 213895 w 524016"/>
                  <a:gd name="connsiteY1" fmla="*/ 162806 h 174672"/>
                  <a:gd name="connsiteX2" fmla="*/ 313786 w 524016"/>
                  <a:gd name="connsiteY2" fmla="*/ 140972 h 174672"/>
                  <a:gd name="connsiteX3" fmla="*/ 514113 w 524016"/>
                  <a:gd name="connsiteY3" fmla="*/ 35077 h 174672"/>
                  <a:gd name="connsiteX4" fmla="*/ 516842 w 524016"/>
                  <a:gd name="connsiteY4" fmla="*/ 23068 h 174672"/>
                  <a:gd name="connsiteX5" fmla="*/ 460620 w 524016"/>
                  <a:gd name="connsiteY5" fmla="*/ 9967 h 174672"/>
                  <a:gd name="connsiteX6" fmla="*/ 449703 w 524016"/>
                  <a:gd name="connsiteY6" fmla="*/ 13789 h 174672"/>
                  <a:gd name="connsiteX7" fmla="*/ 348720 w 524016"/>
                  <a:gd name="connsiteY7" fmla="*/ 56911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4016" h="174672">
                    <a:moveTo>
                      <a:pt x="7018" y="169902"/>
                    </a:moveTo>
                    <a:cubicBezTo>
                      <a:pt x="7018" y="169902"/>
                      <a:pt x="82345" y="155164"/>
                      <a:pt x="213895" y="162806"/>
                    </a:cubicBezTo>
                    <a:cubicBezTo>
                      <a:pt x="248830" y="164989"/>
                      <a:pt x="283218" y="156801"/>
                      <a:pt x="313786" y="140972"/>
                    </a:cubicBezTo>
                    <a:lnTo>
                      <a:pt x="514113" y="35077"/>
                    </a:lnTo>
                    <a:cubicBezTo>
                      <a:pt x="518480" y="32894"/>
                      <a:pt x="519572" y="26889"/>
                      <a:pt x="516842" y="23068"/>
                    </a:cubicBezTo>
                    <a:cubicBezTo>
                      <a:pt x="509746" y="13789"/>
                      <a:pt x="493371" y="1234"/>
                      <a:pt x="460620" y="9967"/>
                    </a:cubicBezTo>
                    <a:cubicBezTo>
                      <a:pt x="456799" y="11059"/>
                      <a:pt x="453524" y="12151"/>
                      <a:pt x="449703" y="13789"/>
                    </a:cubicBezTo>
                    <a:lnTo>
                      <a:pt x="348720" y="56911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0" name="Freihandform: Form 177">
                <a:extLst>
                  <a:ext uri="{FF2B5EF4-FFF2-40B4-BE49-F238E27FC236}">
                    <a16:creationId xmlns:a16="http://schemas.microsoft.com/office/drawing/2014/main" id="{53B74D0C-FE90-397B-49C4-A1B6B67483AC}"/>
                  </a:ext>
                </a:extLst>
              </p:cNvPr>
              <p:cNvSpPr/>
              <p:nvPr/>
            </p:nvSpPr>
            <p:spPr bwMode="gray">
              <a:xfrm>
                <a:off x="8779996" y="8918533"/>
                <a:ext cx="87336" cy="201965"/>
              </a:xfrm>
              <a:custGeom>
                <a:avLst/>
                <a:gdLst>
                  <a:gd name="connsiteX0" fmla="*/ 7018 w 87336"/>
                  <a:gd name="connsiteY0" fmla="*/ 198066 h 201964"/>
                  <a:gd name="connsiteX1" fmla="*/ 80708 w 87336"/>
                  <a:gd name="connsiteY1" fmla="*/ 198066 h 201964"/>
                  <a:gd name="connsiteX2" fmla="*/ 80708 w 87336"/>
                  <a:gd name="connsiteY2" fmla="*/ 7018 h 201964"/>
                  <a:gd name="connsiteX3" fmla="*/ 7018 w 87336"/>
                  <a:gd name="connsiteY3" fmla="*/ 7018 h 201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7336" h="201964">
                    <a:moveTo>
                      <a:pt x="7018" y="198066"/>
                    </a:moveTo>
                    <a:lnTo>
                      <a:pt x="80708" y="198066"/>
                    </a:lnTo>
                    <a:lnTo>
                      <a:pt x="80708" y="7018"/>
                    </a:lnTo>
                    <a:lnTo>
                      <a:pt x="7018" y="7018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1" name="Freihandform: Form 178">
                <a:extLst>
                  <a:ext uri="{FF2B5EF4-FFF2-40B4-BE49-F238E27FC236}">
                    <a16:creationId xmlns:a16="http://schemas.microsoft.com/office/drawing/2014/main" id="{16C34792-1994-48E2-F244-70B3A0605D5E}"/>
                  </a:ext>
                </a:extLst>
              </p:cNvPr>
              <p:cNvSpPr/>
              <p:nvPr/>
            </p:nvSpPr>
            <p:spPr bwMode="gray">
              <a:xfrm>
                <a:off x="8663730" y="8862855"/>
                <a:ext cx="125546" cy="311135"/>
              </a:xfrm>
              <a:custGeom>
                <a:avLst/>
                <a:gdLst>
                  <a:gd name="connsiteX0" fmla="*/ 7018 w 125545"/>
                  <a:gd name="connsiteY0" fmla="*/ 304507 h 311134"/>
                  <a:gd name="connsiteX1" fmla="*/ 123284 w 125545"/>
                  <a:gd name="connsiteY1" fmla="*/ 304507 h 311134"/>
                  <a:gd name="connsiteX2" fmla="*/ 123284 w 125545"/>
                  <a:gd name="connsiteY2" fmla="*/ 7018 h 311134"/>
                  <a:gd name="connsiteX3" fmla="*/ 7018 w 125545"/>
                  <a:gd name="connsiteY3" fmla="*/ 7018 h 311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5545" h="311134">
                    <a:moveTo>
                      <a:pt x="7018" y="304507"/>
                    </a:moveTo>
                    <a:lnTo>
                      <a:pt x="123284" y="304507"/>
                    </a:lnTo>
                    <a:lnTo>
                      <a:pt x="123284" y="7018"/>
                    </a:lnTo>
                    <a:lnTo>
                      <a:pt x="7018" y="7018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2" name="Freihandform: Form 179">
                <a:extLst>
                  <a:ext uri="{FF2B5EF4-FFF2-40B4-BE49-F238E27FC236}">
                    <a16:creationId xmlns:a16="http://schemas.microsoft.com/office/drawing/2014/main" id="{1FBA7514-9694-B559-D0BA-352095D8E010}"/>
                  </a:ext>
                </a:extLst>
              </p:cNvPr>
              <p:cNvSpPr/>
              <p:nvPr/>
            </p:nvSpPr>
            <p:spPr bwMode="gray">
              <a:xfrm>
                <a:off x="9052024" y="8745147"/>
                <a:ext cx="87336" cy="147380"/>
              </a:xfrm>
              <a:custGeom>
                <a:avLst/>
                <a:gdLst>
                  <a:gd name="connsiteX0" fmla="*/ 12282 w 87336"/>
                  <a:gd name="connsiteY0" fmla="*/ 107260 h 147379"/>
                  <a:gd name="connsiteX1" fmla="*/ 43941 w 87336"/>
                  <a:gd name="connsiteY1" fmla="*/ 138919 h 147379"/>
                  <a:gd name="connsiteX2" fmla="*/ 75601 w 87336"/>
                  <a:gd name="connsiteY2" fmla="*/ 107260 h 147379"/>
                  <a:gd name="connsiteX3" fmla="*/ 43941 w 87336"/>
                  <a:gd name="connsiteY3" fmla="*/ 75600 h 147379"/>
                  <a:gd name="connsiteX4" fmla="*/ 12282 w 87336"/>
                  <a:gd name="connsiteY4" fmla="*/ 43941 h 147379"/>
                  <a:gd name="connsiteX5" fmla="*/ 43941 w 87336"/>
                  <a:gd name="connsiteY5" fmla="*/ 12282 h 147379"/>
                  <a:gd name="connsiteX6" fmla="*/ 75601 w 87336"/>
                  <a:gd name="connsiteY6" fmla="*/ 43941 h 14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7336" h="147379">
                    <a:moveTo>
                      <a:pt x="12282" y="107260"/>
                    </a:moveTo>
                    <a:cubicBezTo>
                      <a:pt x="12282" y="124727"/>
                      <a:pt x="26474" y="138919"/>
                      <a:pt x="43941" y="138919"/>
                    </a:cubicBezTo>
                    <a:cubicBezTo>
                      <a:pt x="61408" y="138919"/>
                      <a:pt x="75601" y="124727"/>
                      <a:pt x="75601" y="107260"/>
                    </a:cubicBezTo>
                    <a:cubicBezTo>
                      <a:pt x="75601" y="89792"/>
                      <a:pt x="62500" y="81604"/>
                      <a:pt x="43941" y="75600"/>
                    </a:cubicBezTo>
                    <a:cubicBezTo>
                      <a:pt x="27565" y="70142"/>
                      <a:pt x="12282" y="61408"/>
                      <a:pt x="12282" y="43941"/>
                    </a:cubicBezTo>
                    <a:cubicBezTo>
                      <a:pt x="12282" y="26474"/>
                      <a:pt x="26474" y="12282"/>
                      <a:pt x="43941" y="12282"/>
                    </a:cubicBezTo>
                    <a:cubicBezTo>
                      <a:pt x="61408" y="12282"/>
                      <a:pt x="75601" y="26474"/>
                      <a:pt x="75601" y="4394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3" name="Freihandform: Form 180">
                <a:extLst>
                  <a:ext uri="{FF2B5EF4-FFF2-40B4-BE49-F238E27FC236}">
                    <a16:creationId xmlns:a16="http://schemas.microsoft.com/office/drawing/2014/main" id="{5378908A-3CD7-C218-E24B-66C8DAE0DD3F}"/>
                  </a:ext>
                </a:extLst>
              </p:cNvPr>
              <p:cNvSpPr/>
              <p:nvPr/>
            </p:nvSpPr>
            <p:spPr bwMode="gray">
              <a:xfrm>
                <a:off x="9083684" y="8727134"/>
                <a:ext cx="21834" cy="38210"/>
              </a:xfrm>
              <a:custGeom>
                <a:avLst/>
                <a:gdLst>
                  <a:gd name="connsiteX0" fmla="*/ 12282 w 21834"/>
                  <a:gd name="connsiteY0" fmla="*/ 12281 h 38209"/>
                  <a:gd name="connsiteX1" fmla="*/ 12282 w 21834"/>
                  <a:gd name="connsiteY1" fmla="*/ 30295 h 3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8209">
                    <a:moveTo>
                      <a:pt x="12282" y="12281"/>
                    </a:moveTo>
                    <a:lnTo>
                      <a:pt x="12282" y="3029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4" name="Freihandform: Form 181">
                <a:extLst>
                  <a:ext uri="{FF2B5EF4-FFF2-40B4-BE49-F238E27FC236}">
                    <a16:creationId xmlns:a16="http://schemas.microsoft.com/office/drawing/2014/main" id="{13B0C4FF-803B-28E0-E847-1C9AA02F20F8}"/>
                  </a:ext>
                </a:extLst>
              </p:cNvPr>
              <p:cNvSpPr/>
              <p:nvPr/>
            </p:nvSpPr>
            <p:spPr bwMode="gray">
              <a:xfrm>
                <a:off x="9083684" y="8871784"/>
                <a:ext cx="21834" cy="38210"/>
              </a:xfrm>
              <a:custGeom>
                <a:avLst/>
                <a:gdLst>
                  <a:gd name="connsiteX0" fmla="*/ 12282 w 21834"/>
                  <a:gd name="connsiteY0" fmla="*/ 12281 h 38209"/>
                  <a:gd name="connsiteX1" fmla="*/ 12282 w 21834"/>
                  <a:gd name="connsiteY1" fmla="*/ 29749 h 3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8209">
                    <a:moveTo>
                      <a:pt x="12282" y="12281"/>
                    </a:moveTo>
                    <a:lnTo>
                      <a:pt x="12282" y="2974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5" name="Freihandform: Form 182">
                <a:extLst>
                  <a:ext uri="{FF2B5EF4-FFF2-40B4-BE49-F238E27FC236}">
                    <a16:creationId xmlns:a16="http://schemas.microsoft.com/office/drawing/2014/main" id="{3D0AC06F-7936-238E-CC89-14ECA6136DA1}"/>
                  </a:ext>
                </a:extLst>
              </p:cNvPr>
              <p:cNvSpPr/>
              <p:nvPr/>
            </p:nvSpPr>
            <p:spPr bwMode="gray">
              <a:xfrm>
                <a:off x="9198858" y="8709121"/>
                <a:ext cx="103712" cy="229257"/>
              </a:xfrm>
              <a:custGeom>
                <a:avLst/>
                <a:gdLst>
                  <a:gd name="connsiteX0" fmla="*/ 64137 w 103711"/>
                  <a:gd name="connsiteY0" fmla="*/ 221888 h 229257"/>
                  <a:gd name="connsiteX1" fmla="*/ 85425 w 103711"/>
                  <a:gd name="connsiteY1" fmla="*/ 94705 h 229257"/>
                  <a:gd name="connsiteX2" fmla="*/ 12282 w 103711"/>
                  <a:gd name="connsiteY2" fmla="*/ 12282 h 229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3711" h="229257">
                    <a:moveTo>
                      <a:pt x="64137" y="221888"/>
                    </a:moveTo>
                    <a:cubicBezTo>
                      <a:pt x="87609" y="193504"/>
                      <a:pt x="108351" y="140011"/>
                      <a:pt x="85425" y="94705"/>
                    </a:cubicBezTo>
                    <a:cubicBezTo>
                      <a:pt x="70688" y="65775"/>
                      <a:pt x="47216" y="36845"/>
                      <a:pt x="12282" y="1228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6" name="Freihandform: Form 183">
                <a:extLst>
                  <a:ext uri="{FF2B5EF4-FFF2-40B4-BE49-F238E27FC236}">
                    <a16:creationId xmlns:a16="http://schemas.microsoft.com/office/drawing/2014/main" id="{4FBFF65C-FB3C-EC76-F17C-E16B054A1B36}"/>
                  </a:ext>
                </a:extLst>
              </p:cNvPr>
              <p:cNvSpPr/>
              <p:nvPr/>
            </p:nvSpPr>
            <p:spPr bwMode="gray">
              <a:xfrm>
                <a:off x="8883582" y="8708575"/>
                <a:ext cx="109170" cy="223799"/>
              </a:xfrm>
              <a:custGeom>
                <a:avLst/>
                <a:gdLst>
                  <a:gd name="connsiteX0" fmla="*/ 97209 w 109170"/>
                  <a:gd name="connsiteY0" fmla="*/ 12282 h 223798"/>
                  <a:gd name="connsiteX1" fmla="*/ 24065 w 109170"/>
                  <a:gd name="connsiteY1" fmla="*/ 94705 h 223798"/>
                  <a:gd name="connsiteX2" fmla="*/ 39895 w 109170"/>
                  <a:gd name="connsiteY2" fmla="*/ 214792 h 223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170" h="223798">
                    <a:moveTo>
                      <a:pt x="97209" y="12282"/>
                    </a:moveTo>
                    <a:cubicBezTo>
                      <a:pt x="61729" y="36845"/>
                      <a:pt x="38803" y="65775"/>
                      <a:pt x="24065" y="94705"/>
                    </a:cubicBezTo>
                    <a:cubicBezTo>
                      <a:pt x="2231" y="136735"/>
                      <a:pt x="12602" y="187500"/>
                      <a:pt x="39895" y="21479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7" name="Freihandform: Form 184">
                <a:extLst>
                  <a:ext uri="{FF2B5EF4-FFF2-40B4-BE49-F238E27FC236}">
                    <a16:creationId xmlns:a16="http://schemas.microsoft.com/office/drawing/2014/main" id="{8C6E00CB-1ED1-241B-EACC-B33DE9B81184}"/>
                  </a:ext>
                </a:extLst>
              </p:cNvPr>
              <p:cNvSpPr/>
              <p:nvPr/>
            </p:nvSpPr>
            <p:spPr bwMode="gray">
              <a:xfrm>
                <a:off x="8920474" y="8619055"/>
                <a:ext cx="349344" cy="114629"/>
              </a:xfrm>
              <a:custGeom>
                <a:avLst/>
                <a:gdLst>
                  <a:gd name="connsiteX0" fmla="*/ 12282 w 349344"/>
                  <a:gd name="connsiteY0" fmla="*/ 107260 h 114628"/>
                  <a:gd name="connsiteX1" fmla="*/ 12282 w 349344"/>
                  <a:gd name="connsiteY1" fmla="*/ 68504 h 114628"/>
                  <a:gd name="connsiteX2" fmla="*/ 68504 w 349344"/>
                  <a:gd name="connsiteY2" fmla="*/ 12282 h 114628"/>
                  <a:gd name="connsiteX3" fmla="*/ 281932 w 349344"/>
                  <a:gd name="connsiteY3" fmla="*/ 12282 h 114628"/>
                  <a:gd name="connsiteX4" fmla="*/ 338155 w 349344"/>
                  <a:gd name="connsiteY4" fmla="*/ 68504 h 114628"/>
                  <a:gd name="connsiteX5" fmla="*/ 338155 w 349344"/>
                  <a:gd name="connsiteY5" fmla="*/ 107260 h 11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9344" h="114628">
                    <a:moveTo>
                      <a:pt x="12282" y="107260"/>
                    </a:moveTo>
                    <a:lnTo>
                      <a:pt x="12282" y="68504"/>
                    </a:lnTo>
                    <a:cubicBezTo>
                      <a:pt x="12282" y="37391"/>
                      <a:pt x="37391" y="12282"/>
                      <a:pt x="68504" y="12282"/>
                    </a:cubicBezTo>
                    <a:lnTo>
                      <a:pt x="281932" y="12282"/>
                    </a:lnTo>
                    <a:cubicBezTo>
                      <a:pt x="313045" y="12282"/>
                      <a:pt x="338155" y="37391"/>
                      <a:pt x="338155" y="68504"/>
                    </a:cubicBezTo>
                    <a:lnTo>
                      <a:pt x="338155" y="10726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8" name="Freihandform: Form 185">
                <a:extLst>
                  <a:ext uri="{FF2B5EF4-FFF2-40B4-BE49-F238E27FC236}">
                    <a16:creationId xmlns:a16="http://schemas.microsoft.com/office/drawing/2014/main" id="{C0FD4CFA-44AF-109A-F6A6-B5DD4EC6FB80}"/>
                  </a:ext>
                </a:extLst>
              </p:cNvPr>
              <p:cNvSpPr/>
              <p:nvPr/>
            </p:nvSpPr>
            <p:spPr bwMode="gray">
              <a:xfrm>
                <a:off x="9030736" y="8525169"/>
                <a:ext cx="81878" cy="81878"/>
              </a:xfrm>
              <a:custGeom>
                <a:avLst/>
                <a:gdLst>
                  <a:gd name="connsiteX0" fmla="*/ 71234 w 81877"/>
                  <a:gd name="connsiteY0" fmla="*/ 41757 h 81877"/>
                  <a:gd name="connsiteX1" fmla="*/ 41758 w 81877"/>
                  <a:gd name="connsiteY1" fmla="*/ 71234 h 81877"/>
                  <a:gd name="connsiteX2" fmla="*/ 12281 w 81877"/>
                  <a:gd name="connsiteY2" fmla="*/ 41757 h 81877"/>
                  <a:gd name="connsiteX3" fmla="*/ 41758 w 81877"/>
                  <a:gd name="connsiteY3" fmla="*/ 12281 h 81877"/>
                  <a:gd name="connsiteX4" fmla="*/ 71234 w 81877"/>
                  <a:gd name="connsiteY4" fmla="*/ 41757 h 81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877" h="81877">
                    <a:moveTo>
                      <a:pt x="71234" y="41757"/>
                    </a:moveTo>
                    <a:cubicBezTo>
                      <a:pt x="71234" y="58036"/>
                      <a:pt x="58037" y="71234"/>
                      <a:pt x="41758" y="71234"/>
                    </a:cubicBezTo>
                    <a:cubicBezTo>
                      <a:pt x="25478" y="71234"/>
                      <a:pt x="12281" y="58037"/>
                      <a:pt x="12281" y="41757"/>
                    </a:cubicBezTo>
                    <a:cubicBezTo>
                      <a:pt x="12281" y="25479"/>
                      <a:pt x="25478" y="12281"/>
                      <a:pt x="41758" y="12281"/>
                    </a:cubicBezTo>
                    <a:cubicBezTo>
                      <a:pt x="58037" y="12281"/>
                      <a:pt x="71234" y="25478"/>
                      <a:pt x="71234" y="41757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9" name="Freihandform: Form 186">
                <a:extLst>
                  <a:ext uri="{FF2B5EF4-FFF2-40B4-BE49-F238E27FC236}">
                    <a16:creationId xmlns:a16="http://schemas.microsoft.com/office/drawing/2014/main" id="{131B7C5F-B3F2-6AC7-752E-5D9FFF694C9F}"/>
                  </a:ext>
                </a:extLst>
              </p:cNvPr>
              <p:cNvSpPr/>
              <p:nvPr/>
            </p:nvSpPr>
            <p:spPr bwMode="gray">
              <a:xfrm>
                <a:off x="9107155" y="8525169"/>
                <a:ext cx="49127" cy="81878"/>
              </a:xfrm>
              <a:custGeom>
                <a:avLst/>
                <a:gdLst>
                  <a:gd name="connsiteX0" fmla="*/ 12282 w 49126"/>
                  <a:gd name="connsiteY0" fmla="*/ 12282 h 81877"/>
                  <a:gd name="connsiteX1" fmla="*/ 41757 w 49126"/>
                  <a:gd name="connsiteY1" fmla="*/ 41758 h 81877"/>
                  <a:gd name="connsiteX2" fmla="*/ 12282 w 49126"/>
                  <a:gd name="connsiteY2" fmla="*/ 71234 h 81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126" h="81877">
                    <a:moveTo>
                      <a:pt x="12282" y="12282"/>
                    </a:moveTo>
                    <a:cubicBezTo>
                      <a:pt x="28657" y="12282"/>
                      <a:pt x="41757" y="25382"/>
                      <a:pt x="41757" y="41758"/>
                    </a:cubicBezTo>
                    <a:cubicBezTo>
                      <a:pt x="41757" y="58133"/>
                      <a:pt x="28657" y="71234"/>
                      <a:pt x="12282" y="71234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0" name="Freihandform: Form 187">
                <a:extLst>
                  <a:ext uri="{FF2B5EF4-FFF2-40B4-BE49-F238E27FC236}">
                    <a16:creationId xmlns:a16="http://schemas.microsoft.com/office/drawing/2014/main" id="{27B08D01-A4E2-B7EE-C6BD-32BB2313D96A}"/>
                  </a:ext>
                </a:extLst>
              </p:cNvPr>
              <p:cNvSpPr/>
              <p:nvPr/>
            </p:nvSpPr>
            <p:spPr bwMode="gray">
              <a:xfrm>
                <a:off x="8971784" y="8668728"/>
                <a:ext cx="245633" cy="21834"/>
              </a:xfrm>
              <a:custGeom>
                <a:avLst/>
                <a:gdLst>
                  <a:gd name="connsiteX0" fmla="*/ 12282 w 245632"/>
                  <a:gd name="connsiteY0" fmla="*/ 12282 h 21834"/>
                  <a:gd name="connsiteX1" fmla="*/ 236080 w 245632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632" h="21834">
                    <a:moveTo>
                      <a:pt x="12282" y="12282"/>
                    </a:moveTo>
                    <a:lnTo>
                      <a:pt x="236080" y="12282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7" name="Gruppieren 188">
              <a:extLst>
                <a:ext uri="{FF2B5EF4-FFF2-40B4-BE49-F238E27FC236}">
                  <a16:creationId xmlns:a16="http://schemas.microsoft.com/office/drawing/2014/main" id="{E5004FEF-1CB9-75AE-521A-250C7EEA12F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5505450" y="4751731"/>
              <a:ext cx="429848" cy="500110"/>
              <a:chOff x="3034366" y="4089085"/>
              <a:chExt cx="619260" cy="720479"/>
            </a:xfrm>
          </p:grpSpPr>
          <p:sp>
            <p:nvSpPr>
              <p:cNvPr id="28" name="Freihandform: Form 189">
                <a:extLst>
                  <a:ext uri="{FF2B5EF4-FFF2-40B4-BE49-F238E27FC236}">
                    <a16:creationId xmlns:a16="http://schemas.microsoft.com/office/drawing/2014/main" id="{72F8F7BA-E28E-ABA6-B7EB-E63B84C6EAAE}"/>
                  </a:ext>
                </a:extLst>
              </p:cNvPr>
              <p:cNvSpPr/>
              <p:nvPr/>
            </p:nvSpPr>
            <p:spPr bwMode="gray">
              <a:xfrm>
                <a:off x="3136154" y="4089085"/>
                <a:ext cx="420801" cy="420801"/>
              </a:xfrm>
              <a:custGeom>
                <a:avLst/>
                <a:gdLst>
                  <a:gd name="connsiteX0" fmla="*/ 585211 w 602722"/>
                  <a:gd name="connsiteY0" fmla="*/ 301768 h 602722"/>
                  <a:gd name="connsiteX1" fmla="*/ 301768 w 602722"/>
                  <a:gd name="connsiteY1" fmla="*/ 585211 h 602722"/>
                  <a:gd name="connsiteX2" fmla="*/ 18326 w 602722"/>
                  <a:gd name="connsiteY2" fmla="*/ 301768 h 602722"/>
                  <a:gd name="connsiteX3" fmla="*/ 301768 w 602722"/>
                  <a:gd name="connsiteY3" fmla="*/ 18326 h 602722"/>
                  <a:gd name="connsiteX4" fmla="*/ 585211 w 602722"/>
                  <a:gd name="connsiteY4" fmla="*/ 301768 h 602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2722" h="602722">
                    <a:moveTo>
                      <a:pt x="585211" y="301768"/>
                    </a:moveTo>
                    <a:cubicBezTo>
                      <a:pt x="585211" y="458309"/>
                      <a:pt x="458309" y="585211"/>
                      <a:pt x="301768" y="585211"/>
                    </a:cubicBezTo>
                    <a:cubicBezTo>
                      <a:pt x="145228" y="585211"/>
                      <a:pt x="18326" y="458309"/>
                      <a:pt x="18326" y="301768"/>
                    </a:cubicBezTo>
                    <a:cubicBezTo>
                      <a:pt x="18326" y="145227"/>
                      <a:pt x="145228" y="18326"/>
                      <a:pt x="301768" y="18326"/>
                    </a:cubicBezTo>
                    <a:cubicBezTo>
                      <a:pt x="458309" y="18326"/>
                      <a:pt x="585211" y="145227"/>
                      <a:pt x="585211" y="301768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9" name="Freihandform: Form 190">
                <a:extLst>
                  <a:ext uri="{FF2B5EF4-FFF2-40B4-BE49-F238E27FC236}">
                    <a16:creationId xmlns:a16="http://schemas.microsoft.com/office/drawing/2014/main" id="{9CDF5512-B185-06AD-4E3D-8F384B0E58B2}"/>
                  </a:ext>
                </a:extLst>
              </p:cNvPr>
              <p:cNvSpPr/>
              <p:nvPr/>
            </p:nvSpPr>
            <p:spPr bwMode="gray">
              <a:xfrm>
                <a:off x="3334045" y="4130028"/>
                <a:ext cx="181968" cy="181968"/>
              </a:xfrm>
              <a:custGeom>
                <a:avLst/>
                <a:gdLst>
                  <a:gd name="connsiteX0" fmla="*/ 243125 w 260636"/>
                  <a:gd name="connsiteY0" fmla="*/ 243125 h 260636"/>
                  <a:gd name="connsiteX1" fmla="*/ 18326 w 260636"/>
                  <a:gd name="connsiteY1" fmla="*/ 18326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0636" h="260636">
                    <a:moveTo>
                      <a:pt x="243125" y="243125"/>
                    </a:moveTo>
                    <a:cubicBezTo>
                      <a:pt x="243125" y="118508"/>
                      <a:pt x="142128" y="18326"/>
                      <a:pt x="18326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0" name="Freihandform: Form 191">
                <a:extLst>
                  <a:ext uri="{FF2B5EF4-FFF2-40B4-BE49-F238E27FC236}">
                    <a16:creationId xmlns:a16="http://schemas.microsoft.com/office/drawing/2014/main" id="{2343172D-0C97-9A4B-1DED-674410A0B3EF}"/>
                  </a:ext>
                </a:extLst>
              </p:cNvPr>
              <p:cNvSpPr/>
              <p:nvPr/>
            </p:nvSpPr>
            <p:spPr bwMode="gray">
              <a:xfrm>
                <a:off x="3305043" y="4484297"/>
                <a:ext cx="79611" cy="96670"/>
              </a:xfrm>
              <a:custGeom>
                <a:avLst/>
                <a:gdLst>
                  <a:gd name="connsiteX0" fmla="*/ 18326 w 114028"/>
                  <a:gd name="connsiteY0" fmla="*/ 18326 h 138463"/>
                  <a:gd name="connsiteX1" fmla="*/ 18326 w 114028"/>
                  <a:gd name="connsiteY1" fmla="*/ 121766 h 138463"/>
                  <a:gd name="connsiteX2" fmla="*/ 100589 w 114028"/>
                  <a:gd name="connsiteY2" fmla="*/ 121766 h 138463"/>
                  <a:gd name="connsiteX3" fmla="*/ 100589 w 114028"/>
                  <a:gd name="connsiteY3" fmla="*/ 18326 h 13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028" h="138463">
                    <a:moveTo>
                      <a:pt x="18326" y="18326"/>
                    </a:moveTo>
                    <a:lnTo>
                      <a:pt x="18326" y="121766"/>
                    </a:lnTo>
                    <a:lnTo>
                      <a:pt x="100589" y="121766"/>
                    </a:lnTo>
                    <a:lnTo>
                      <a:pt x="100589" y="1832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1" name="Freihandform: Form 192">
                <a:extLst>
                  <a:ext uri="{FF2B5EF4-FFF2-40B4-BE49-F238E27FC236}">
                    <a16:creationId xmlns:a16="http://schemas.microsoft.com/office/drawing/2014/main" id="{11CAEDF4-8D33-677C-7EF5-CC7CE800DD32}"/>
                  </a:ext>
                </a:extLst>
              </p:cNvPr>
              <p:cNvSpPr/>
              <p:nvPr/>
            </p:nvSpPr>
            <p:spPr bwMode="gray">
              <a:xfrm>
                <a:off x="3228844" y="4263661"/>
                <a:ext cx="90984" cy="119417"/>
              </a:xfrm>
              <a:custGeom>
                <a:avLst/>
                <a:gdLst>
                  <a:gd name="connsiteX0" fmla="*/ 18326 w 130318"/>
                  <a:gd name="connsiteY0" fmla="*/ 18326 h 171042"/>
                  <a:gd name="connsiteX1" fmla="*/ 118508 w 130318"/>
                  <a:gd name="connsiteY1" fmla="*/ 18326 h 171042"/>
                  <a:gd name="connsiteX2" fmla="*/ 118508 w 130318"/>
                  <a:gd name="connsiteY2" fmla="*/ 153531 h 171042"/>
                  <a:gd name="connsiteX3" fmla="*/ 18326 w 130318"/>
                  <a:gd name="connsiteY3" fmla="*/ 153531 h 17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171042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153531"/>
                    </a:lnTo>
                    <a:lnTo>
                      <a:pt x="18326" y="153531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2" name="Freihandform: Form 193">
                <a:extLst>
                  <a:ext uri="{FF2B5EF4-FFF2-40B4-BE49-F238E27FC236}">
                    <a16:creationId xmlns:a16="http://schemas.microsoft.com/office/drawing/2014/main" id="{F2C9E232-02AA-2DA4-F8F2-6365ABC0F283}"/>
                  </a:ext>
                </a:extLst>
              </p:cNvPr>
              <p:cNvSpPr/>
              <p:nvPr/>
            </p:nvSpPr>
            <p:spPr bwMode="gray">
              <a:xfrm>
                <a:off x="3298788" y="4215325"/>
                <a:ext cx="90984" cy="164909"/>
              </a:xfrm>
              <a:custGeom>
                <a:avLst/>
                <a:gdLst>
                  <a:gd name="connsiteX0" fmla="*/ 18326 w 130318"/>
                  <a:gd name="connsiteY0" fmla="*/ 18326 h 236201"/>
                  <a:gd name="connsiteX1" fmla="*/ 118508 w 130318"/>
                  <a:gd name="connsiteY1" fmla="*/ 18326 h 236201"/>
                  <a:gd name="connsiteX2" fmla="*/ 118508 w 130318"/>
                  <a:gd name="connsiteY2" fmla="*/ 221948 h 236201"/>
                  <a:gd name="connsiteX3" fmla="*/ 18326 w 130318"/>
                  <a:gd name="connsiteY3" fmla="*/ 221948 h 236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236201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221948"/>
                    </a:lnTo>
                    <a:lnTo>
                      <a:pt x="18326" y="221948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3" name="Freihandform: Form 194">
                <a:extLst>
                  <a:ext uri="{FF2B5EF4-FFF2-40B4-BE49-F238E27FC236}">
                    <a16:creationId xmlns:a16="http://schemas.microsoft.com/office/drawing/2014/main" id="{B9FC8572-16EA-F290-574B-6FE2E863EB33}"/>
                  </a:ext>
                </a:extLst>
              </p:cNvPr>
              <p:cNvSpPr/>
              <p:nvPr/>
            </p:nvSpPr>
            <p:spPr bwMode="gray">
              <a:xfrm>
                <a:off x="3368732" y="4263661"/>
                <a:ext cx="90984" cy="119417"/>
              </a:xfrm>
              <a:custGeom>
                <a:avLst/>
                <a:gdLst>
                  <a:gd name="connsiteX0" fmla="*/ 18326 w 130318"/>
                  <a:gd name="connsiteY0" fmla="*/ 18326 h 171042"/>
                  <a:gd name="connsiteX1" fmla="*/ 118508 w 130318"/>
                  <a:gd name="connsiteY1" fmla="*/ 18326 h 171042"/>
                  <a:gd name="connsiteX2" fmla="*/ 118508 w 130318"/>
                  <a:gd name="connsiteY2" fmla="*/ 153531 h 171042"/>
                  <a:gd name="connsiteX3" fmla="*/ 18326 w 130318"/>
                  <a:gd name="connsiteY3" fmla="*/ 153531 h 17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171042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153531"/>
                    </a:lnTo>
                    <a:lnTo>
                      <a:pt x="18326" y="153531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4" name="Freihandform: Form 195">
                <a:extLst>
                  <a:ext uri="{FF2B5EF4-FFF2-40B4-BE49-F238E27FC236}">
                    <a16:creationId xmlns:a16="http://schemas.microsoft.com/office/drawing/2014/main" id="{0900DC53-3944-D6C4-2848-0E08AEBBC72C}"/>
                  </a:ext>
                </a:extLst>
              </p:cNvPr>
              <p:cNvSpPr/>
              <p:nvPr/>
            </p:nvSpPr>
            <p:spPr bwMode="gray">
              <a:xfrm>
                <a:off x="3074740" y="4629302"/>
                <a:ext cx="56865" cy="62552"/>
              </a:xfrm>
              <a:custGeom>
                <a:avLst/>
                <a:gdLst>
                  <a:gd name="connsiteX0" fmla="*/ 69639 w 81448"/>
                  <a:gd name="connsiteY0" fmla="*/ 18326 h 89593"/>
                  <a:gd name="connsiteX1" fmla="*/ 18326 w 81448"/>
                  <a:gd name="connsiteY1" fmla="*/ 72897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69639" y="18326"/>
                    </a:moveTo>
                    <a:lnTo>
                      <a:pt x="18326" y="72897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5" name="Freihandform: Form 196">
                <a:extLst>
                  <a:ext uri="{FF2B5EF4-FFF2-40B4-BE49-F238E27FC236}">
                    <a16:creationId xmlns:a16="http://schemas.microsoft.com/office/drawing/2014/main" id="{EEC04866-8488-C1EF-9757-2E57FF6C13EC}"/>
                  </a:ext>
                </a:extLst>
              </p:cNvPr>
              <p:cNvSpPr/>
              <p:nvPr/>
            </p:nvSpPr>
            <p:spPr bwMode="gray">
              <a:xfrm>
                <a:off x="3143547" y="4629302"/>
                <a:ext cx="56865" cy="62552"/>
              </a:xfrm>
              <a:custGeom>
                <a:avLst/>
                <a:gdLst>
                  <a:gd name="connsiteX0" fmla="*/ 69639 w 81448"/>
                  <a:gd name="connsiteY0" fmla="*/ 72897 h 89593"/>
                  <a:gd name="connsiteX1" fmla="*/ 18326 w 81448"/>
                  <a:gd name="connsiteY1" fmla="*/ 18326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69639" y="72897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6" name="Freihandform: Form 197">
                <a:extLst>
                  <a:ext uri="{FF2B5EF4-FFF2-40B4-BE49-F238E27FC236}">
                    <a16:creationId xmlns:a16="http://schemas.microsoft.com/office/drawing/2014/main" id="{EADB51F9-8B32-68BF-6426-D6D59E515B47}"/>
                  </a:ext>
                </a:extLst>
              </p:cNvPr>
              <p:cNvSpPr/>
              <p:nvPr/>
            </p:nvSpPr>
            <p:spPr bwMode="gray">
              <a:xfrm>
                <a:off x="3212353" y="4627027"/>
                <a:ext cx="62552" cy="62552"/>
              </a:xfrm>
              <a:custGeom>
                <a:avLst/>
                <a:gdLst>
                  <a:gd name="connsiteX0" fmla="*/ 73711 w 89593"/>
                  <a:gd name="connsiteY0" fmla="*/ 18326 h 89593"/>
                  <a:gd name="connsiteX1" fmla="*/ 18326 w 89593"/>
                  <a:gd name="connsiteY1" fmla="*/ 76155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89593">
                    <a:moveTo>
                      <a:pt x="73711" y="18326"/>
                    </a:moveTo>
                    <a:lnTo>
                      <a:pt x="18326" y="7615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7" name="Freihandform: Form 198">
                <a:extLst>
                  <a:ext uri="{FF2B5EF4-FFF2-40B4-BE49-F238E27FC236}">
                    <a16:creationId xmlns:a16="http://schemas.microsoft.com/office/drawing/2014/main" id="{1EF7EDC9-6770-6D0B-71B1-9E2BE7B5327A}"/>
                  </a:ext>
                </a:extLst>
              </p:cNvPr>
              <p:cNvSpPr/>
              <p:nvPr/>
            </p:nvSpPr>
            <p:spPr bwMode="gray">
              <a:xfrm>
                <a:off x="3034366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4 w 97738"/>
                  <a:gd name="connsiteY1" fmla="*/ 86743 h 97738"/>
                  <a:gd name="connsiteX2" fmla="*/ 18326 w 97738"/>
                  <a:gd name="connsiteY2" fmla="*/ 52535 h 97738"/>
                  <a:gd name="connsiteX3" fmla="*/ 52534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4" y="86743"/>
                    </a:cubicBezTo>
                    <a:cubicBezTo>
                      <a:pt x="33641" y="86743"/>
                      <a:pt x="18326" y="71427"/>
                      <a:pt x="18326" y="52535"/>
                    </a:cubicBezTo>
                    <a:cubicBezTo>
                      <a:pt x="18326" y="33642"/>
                      <a:pt x="33641" y="18326"/>
                      <a:pt x="52534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8" name="Freihandform: Form 199">
                <a:extLst>
                  <a:ext uri="{FF2B5EF4-FFF2-40B4-BE49-F238E27FC236}">
                    <a16:creationId xmlns:a16="http://schemas.microsoft.com/office/drawing/2014/main" id="{C3183271-AB83-07D4-C2E5-E928AE7F49FD}"/>
                  </a:ext>
                </a:extLst>
              </p:cNvPr>
              <p:cNvSpPr/>
              <p:nvPr/>
            </p:nvSpPr>
            <p:spPr bwMode="gray">
              <a:xfrm>
                <a:off x="3103172" y="4588359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9" name="Freihandform: Form 200">
                <a:extLst>
                  <a:ext uri="{FF2B5EF4-FFF2-40B4-BE49-F238E27FC236}">
                    <a16:creationId xmlns:a16="http://schemas.microsoft.com/office/drawing/2014/main" id="{2D9F1285-D86D-07CA-7A2C-6CF98AD820F5}"/>
                  </a:ext>
                </a:extLst>
              </p:cNvPr>
              <p:cNvSpPr/>
              <p:nvPr/>
            </p:nvSpPr>
            <p:spPr bwMode="gray">
              <a:xfrm>
                <a:off x="3172548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18326 h 97738"/>
                  <a:gd name="connsiteX2" fmla="*/ 18326 w 97738"/>
                  <a:gd name="connsiteY2" fmla="*/ 52535 h 97738"/>
                  <a:gd name="connsiteX3" fmla="*/ 52535 w 97738"/>
                  <a:gd name="connsiteY3" fmla="*/ 86743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33801"/>
                      <a:pt x="71268" y="18326"/>
                      <a:pt x="52535" y="18326"/>
                    </a:cubicBezTo>
                    <a:cubicBezTo>
                      <a:pt x="33801" y="18326"/>
                      <a:pt x="18326" y="33801"/>
                      <a:pt x="18326" y="52535"/>
                    </a:cubicBezTo>
                    <a:cubicBezTo>
                      <a:pt x="18326" y="71268"/>
                      <a:pt x="33801" y="86743"/>
                      <a:pt x="52535" y="86743"/>
                    </a:cubicBezTo>
                    <a:cubicBezTo>
                      <a:pt x="71268" y="87558"/>
                      <a:pt x="86743" y="7208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0" name="Freihandform: Form 201">
                <a:extLst>
                  <a:ext uri="{FF2B5EF4-FFF2-40B4-BE49-F238E27FC236}">
                    <a16:creationId xmlns:a16="http://schemas.microsoft.com/office/drawing/2014/main" id="{E646A08B-1033-EBC5-790E-43BA5FCD94EA}"/>
                  </a:ext>
                </a:extLst>
              </p:cNvPr>
              <p:cNvSpPr/>
              <p:nvPr/>
            </p:nvSpPr>
            <p:spPr bwMode="gray">
              <a:xfrm>
                <a:off x="3283434" y="4556515"/>
                <a:ext cx="125103" cy="181968"/>
              </a:xfrm>
              <a:custGeom>
                <a:avLst/>
                <a:gdLst>
                  <a:gd name="connsiteX0" fmla="*/ 162491 w 179187"/>
                  <a:gd name="connsiteY0" fmla="*/ 242311 h 260636"/>
                  <a:gd name="connsiteX1" fmla="*/ 162491 w 179187"/>
                  <a:gd name="connsiteY1" fmla="*/ 44390 h 260636"/>
                  <a:gd name="connsiteX2" fmla="*/ 136427 w 179187"/>
                  <a:gd name="connsiteY2" fmla="*/ 18326 h 260636"/>
                  <a:gd name="connsiteX3" fmla="*/ 44390 w 179187"/>
                  <a:gd name="connsiteY3" fmla="*/ 18326 h 260636"/>
                  <a:gd name="connsiteX4" fmla="*/ 18326 w 179187"/>
                  <a:gd name="connsiteY4" fmla="*/ 44390 h 260636"/>
                  <a:gd name="connsiteX5" fmla="*/ 18326 w 179187"/>
                  <a:gd name="connsiteY5" fmla="*/ 242311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187" h="260636">
                    <a:moveTo>
                      <a:pt x="162491" y="242311"/>
                    </a:moveTo>
                    <a:lnTo>
                      <a:pt x="162491" y="44390"/>
                    </a:lnTo>
                    <a:cubicBezTo>
                      <a:pt x="162491" y="29729"/>
                      <a:pt x="151088" y="18326"/>
                      <a:pt x="136427" y="18326"/>
                    </a:cubicBezTo>
                    <a:lnTo>
                      <a:pt x="44390" y="18326"/>
                    </a:lnTo>
                    <a:cubicBezTo>
                      <a:pt x="29729" y="18326"/>
                      <a:pt x="18326" y="29729"/>
                      <a:pt x="18326" y="44390"/>
                    </a:cubicBezTo>
                    <a:lnTo>
                      <a:pt x="18326" y="242311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1" name="Freihandform: Form 202">
                <a:extLst>
                  <a:ext uri="{FF2B5EF4-FFF2-40B4-BE49-F238E27FC236}">
                    <a16:creationId xmlns:a16="http://schemas.microsoft.com/office/drawing/2014/main" id="{C283D8C7-B5E0-1406-382D-50B18E01D644}"/>
                  </a:ext>
                </a:extLst>
              </p:cNvPr>
              <p:cNvSpPr/>
              <p:nvPr/>
            </p:nvSpPr>
            <p:spPr bwMode="gray">
              <a:xfrm>
                <a:off x="3283434" y="4712894"/>
                <a:ext cx="125103" cy="96670"/>
              </a:xfrm>
              <a:custGeom>
                <a:avLst/>
                <a:gdLst>
                  <a:gd name="connsiteX0" fmla="*/ 18326 w 179187"/>
                  <a:gd name="connsiteY0" fmla="*/ 18326 h 138463"/>
                  <a:gd name="connsiteX1" fmla="*/ 18326 w 179187"/>
                  <a:gd name="connsiteY1" fmla="*/ 99775 h 138463"/>
                  <a:gd name="connsiteX2" fmla="*/ 44390 w 179187"/>
                  <a:gd name="connsiteY2" fmla="*/ 125839 h 138463"/>
                  <a:gd name="connsiteX3" fmla="*/ 136427 w 179187"/>
                  <a:gd name="connsiteY3" fmla="*/ 125839 h 138463"/>
                  <a:gd name="connsiteX4" fmla="*/ 162491 w 179187"/>
                  <a:gd name="connsiteY4" fmla="*/ 99775 h 138463"/>
                  <a:gd name="connsiteX5" fmla="*/ 162491 w 179187"/>
                  <a:gd name="connsiteY5" fmla="*/ 18326 h 13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187" h="138463">
                    <a:moveTo>
                      <a:pt x="18326" y="18326"/>
                    </a:moveTo>
                    <a:lnTo>
                      <a:pt x="18326" y="99775"/>
                    </a:lnTo>
                    <a:cubicBezTo>
                      <a:pt x="18326" y="114436"/>
                      <a:pt x="29729" y="125839"/>
                      <a:pt x="44390" y="125839"/>
                    </a:cubicBezTo>
                    <a:lnTo>
                      <a:pt x="136427" y="125839"/>
                    </a:lnTo>
                    <a:cubicBezTo>
                      <a:pt x="151088" y="125839"/>
                      <a:pt x="162491" y="114436"/>
                      <a:pt x="162491" y="99775"/>
                    </a:cubicBezTo>
                    <a:lnTo>
                      <a:pt x="162491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2" name="Freihandform: Form 203">
                <a:extLst>
                  <a:ext uri="{FF2B5EF4-FFF2-40B4-BE49-F238E27FC236}">
                    <a16:creationId xmlns:a16="http://schemas.microsoft.com/office/drawing/2014/main" id="{FA69EA19-FDF8-0603-CDED-9932D7F2EC60}"/>
                  </a:ext>
                </a:extLst>
              </p:cNvPr>
              <p:cNvSpPr/>
              <p:nvPr/>
            </p:nvSpPr>
            <p:spPr bwMode="gray">
              <a:xfrm>
                <a:off x="3556955" y="4629302"/>
                <a:ext cx="56865" cy="62552"/>
              </a:xfrm>
              <a:custGeom>
                <a:avLst/>
                <a:gdLst>
                  <a:gd name="connsiteX0" fmla="*/ 18326 w 81448"/>
                  <a:gd name="connsiteY0" fmla="*/ 18326 h 89593"/>
                  <a:gd name="connsiteX1" fmla="*/ 69639 w 81448"/>
                  <a:gd name="connsiteY1" fmla="*/ 72897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18326" y="18326"/>
                    </a:moveTo>
                    <a:lnTo>
                      <a:pt x="69639" y="72897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3" name="Freihandform: Form 204">
                <a:extLst>
                  <a:ext uri="{FF2B5EF4-FFF2-40B4-BE49-F238E27FC236}">
                    <a16:creationId xmlns:a16="http://schemas.microsoft.com/office/drawing/2014/main" id="{BC03D6E7-D08D-B45C-D28C-7CF8BA03C999}"/>
                  </a:ext>
                </a:extLst>
              </p:cNvPr>
              <p:cNvSpPr/>
              <p:nvPr/>
            </p:nvSpPr>
            <p:spPr bwMode="gray">
              <a:xfrm>
                <a:off x="3488148" y="4629302"/>
                <a:ext cx="56865" cy="62552"/>
              </a:xfrm>
              <a:custGeom>
                <a:avLst/>
                <a:gdLst>
                  <a:gd name="connsiteX0" fmla="*/ 18326 w 81448"/>
                  <a:gd name="connsiteY0" fmla="*/ 72897 h 89593"/>
                  <a:gd name="connsiteX1" fmla="*/ 69639 w 81448"/>
                  <a:gd name="connsiteY1" fmla="*/ 18326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18326" y="72897"/>
                    </a:moveTo>
                    <a:lnTo>
                      <a:pt x="69639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4" name="Freihandform: Form 205">
                <a:extLst>
                  <a:ext uri="{FF2B5EF4-FFF2-40B4-BE49-F238E27FC236}">
                    <a16:creationId xmlns:a16="http://schemas.microsoft.com/office/drawing/2014/main" id="{4AFE3C38-E252-EC11-E2CB-6E0D2B373E55}"/>
                  </a:ext>
                </a:extLst>
              </p:cNvPr>
              <p:cNvSpPr/>
              <p:nvPr/>
            </p:nvSpPr>
            <p:spPr bwMode="gray">
              <a:xfrm>
                <a:off x="3417067" y="4627027"/>
                <a:ext cx="62552" cy="62552"/>
              </a:xfrm>
              <a:custGeom>
                <a:avLst/>
                <a:gdLst>
                  <a:gd name="connsiteX0" fmla="*/ 18326 w 89593"/>
                  <a:gd name="connsiteY0" fmla="*/ 18326 h 89593"/>
                  <a:gd name="connsiteX1" fmla="*/ 72897 w 89593"/>
                  <a:gd name="connsiteY1" fmla="*/ 76155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89593">
                    <a:moveTo>
                      <a:pt x="18326" y="18326"/>
                    </a:moveTo>
                    <a:lnTo>
                      <a:pt x="72897" y="7615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5" name="Freihandform: Form 206">
                <a:extLst>
                  <a:ext uri="{FF2B5EF4-FFF2-40B4-BE49-F238E27FC236}">
                    <a16:creationId xmlns:a16="http://schemas.microsoft.com/office/drawing/2014/main" id="{FCC2BEEE-CC1F-E8BC-1B4F-F4E9B5949F5E}"/>
                  </a:ext>
                </a:extLst>
              </p:cNvPr>
              <p:cNvSpPr/>
              <p:nvPr/>
            </p:nvSpPr>
            <p:spPr bwMode="gray">
              <a:xfrm>
                <a:off x="3585388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6" name="Freihandform: Form 207">
                <a:extLst>
                  <a:ext uri="{FF2B5EF4-FFF2-40B4-BE49-F238E27FC236}">
                    <a16:creationId xmlns:a16="http://schemas.microsoft.com/office/drawing/2014/main" id="{7A16A5F0-0CCF-3BB3-A0A1-F92A40FA9A73}"/>
                  </a:ext>
                </a:extLst>
              </p:cNvPr>
              <p:cNvSpPr/>
              <p:nvPr/>
            </p:nvSpPr>
            <p:spPr bwMode="gray">
              <a:xfrm>
                <a:off x="3516581" y="4588359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7" name="Freihandform: Form 208">
                <a:extLst>
                  <a:ext uri="{FF2B5EF4-FFF2-40B4-BE49-F238E27FC236}">
                    <a16:creationId xmlns:a16="http://schemas.microsoft.com/office/drawing/2014/main" id="{353352E0-0648-06D3-1FB2-D72B4219458B}"/>
                  </a:ext>
                </a:extLst>
              </p:cNvPr>
              <p:cNvSpPr/>
              <p:nvPr/>
            </p:nvSpPr>
            <p:spPr bwMode="gray">
              <a:xfrm>
                <a:off x="3447774" y="4660578"/>
                <a:ext cx="68238" cy="68238"/>
              </a:xfrm>
              <a:custGeom>
                <a:avLst/>
                <a:gdLst>
                  <a:gd name="connsiteX0" fmla="*/ 18326 w 97738"/>
                  <a:gd name="connsiteY0" fmla="*/ 52535 h 97738"/>
                  <a:gd name="connsiteX1" fmla="*/ 52535 w 97738"/>
                  <a:gd name="connsiteY1" fmla="*/ 18326 h 97738"/>
                  <a:gd name="connsiteX2" fmla="*/ 86743 w 97738"/>
                  <a:gd name="connsiteY2" fmla="*/ 52535 h 97738"/>
                  <a:gd name="connsiteX3" fmla="*/ 52535 w 97738"/>
                  <a:gd name="connsiteY3" fmla="*/ 86743 h 97738"/>
                  <a:gd name="connsiteX4" fmla="*/ 18326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18326" y="52535"/>
                    </a:moveTo>
                    <a:cubicBezTo>
                      <a:pt x="18326" y="33801"/>
                      <a:pt x="33801" y="18326"/>
                      <a:pt x="52535" y="18326"/>
                    </a:cubicBezTo>
                    <a:cubicBezTo>
                      <a:pt x="71268" y="18326"/>
                      <a:pt x="86743" y="33801"/>
                      <a:pt x="86743" y="52535"/>
                    </a:cubicBezTo>
                    <a:cubicBezTo>
                      <a:pt x="86743" y="71268"/>
                      <a:pt x="71268" y="86743"/>
                      <a:pt x="52535" y="86743"/>
                    </a:cubicBezTo>
                    <a:cubicBezTo>
                      <a:pt x="32987" y="87558"/>
                      <a:pt x="18326" y="72082"/>
                      <a:pt x="18326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</p:grpSp>
      <p:sp>
        <p:nvSpPr>
          <p:cNvPr id="254" name="Gefaltete Ecke 50">
            <a:extLst>
              <a:ext uri="{FF2B5EF4-FFF2-40B4-BE49-F238E27FC236}">
                <a16:creationId xmlns:a16="http://schemas.microsoft.com/office/drawing/2014/main" id="{CB42A211-8E9A-E190-0313-140DE1F5E18E}"/>
              </a:ext>
            </a:extLst>
          </p:cNvPr>
          <p:cNvSpPr/>
          <p:nvPr/>
        </p:nvSpPr>
        <p:spPr bwMode="gray">
          <a:xfrm rot="21420000">
            <a:off x="7350127" y="1868979"/>
            <a:ext cx="958324" cy="665014"/>
          </a:xfrm>
          <a:prstGeom prst="foldedCorner">
            <a:avLst/>
          </a:prstGeom>
          <a:solidFill>
            <a:srgbClr val="37AADC">
              <a:alpha val="50196"/>
            </a:srgbClr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o is paying? Who is using?</a:t>
            </a:r>
          </a:p>
        </p:txBody>
      </p:sp>
      <p:sp>
        <p:nvSpPr>
          <p:cNvPr id="255" name="Gefaltete Ecke 52">
            <a:extLst>
              <a:ext uri="{FF2B5EF4-FFF2-40B4-BE49-F238E27FC236}">
                <a16:creationId xmlns:a16="http://schemas.microsoft.com/office/drawing/2014/main" id="{6CC2F115-F322-EF8D-9603-0DAEA4B64358}"/>
              </a:ext>
            </a:extLst>
          </p:cNvPr>
          <p:cNvSpPr/>
          <p:nvPr/>
        </p:nvSpPr>
        <p:spPr bwMode="gray">
          <a:xfrm rot="21420000">
            <a:off x="3925681" y="1866306"/>
            <a:ext cx="958324" cy="665014"/>
          </a:xfrm>
          <a:prstGeom prst="foldedCorner">
            <a:avLst/>
          </a:prstGeom>
          <a:solidFill>
            <a:srgbClr val="37AADC">
              <a:alpha val="50196"/>
            </a:srgbClr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at you 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offer to users and paying customers</a:t>
            </a:r>
          </a:p>
        </p:txBody>
      </p:sp>
      <p:sp>
        <p:nvSpPr>
          <p:cNvPr id="3" name="Gefaltete Ecke 47">
            <a:extLst>
              <a:ext uri="{FF2B5EF4-FFF2-40B4-BE49-F238E27FC236}">
                <a16:creationId xmlns:a16="http://schemas.microsoft.com/office/drawing/2014/main" id="{8E1C6438-AF0E-FD71-74BE-863750830B0C}"/>
              </a:ext>
            </a:extLst>
          </p:cNvPr>
          <p:cNvSpPr/>
          <p:nvPr/>
        </p:nvSpPr>
        <p:spPr bwMode="gray">
          <a:xfrm rot="21420000">
            <a:off x="1699361" y="3934130"/>
            <a:ext cx="1042880" cy="416334"/>
          </a:xfrm>
          <a:prstGeom prst="foldedCorner">
            <a:avLst>
              <a:gd name="adj" fmla="val 26113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at do you have to pay for</a:t>
            </a:r>
          </a:p>
        </p:txBody>
      </p:sp>
      <p:sp>
        <p:nvSpPr>
          <p:cNvPr id="5" name="Gefaltete Ecke 46">
            <a:extLst>
              <a:ext uri="{FF2B5EF4-FFF2-40B4-BE49-F238E27FC236}">
                <a16:creationId xmlns:a16="http://schemas.microsoft.com/office/drawing/2014/main" id="{DDC974CC-3926-C78F-34C0-0A11178B86B2}"/>
              </a:ext>
            </a:extLst>
          </p:cNvPr>
          <p:cNvSpPr/>
          <p:nvPr/>
        </p:nvSpPr>
        <p:spPr bwMode="gray">
          <a:xfrm rot="21420000">
            <a:off x="5882553" y="3899048"/>
            <a:ext cx="958323" cy="416334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at you get paid for</a:t>
            </a:r>
          </a:p>
        </p:txBody>
      </p:sp>
      <p:sp>
        <p:nvSpPr>
          <p:cNvPr id="6" name="Gefaltete Ecke 46">
            <a:extLst>
              <a:ext uri="{FF2B5EF4-FFF2-40B4-BE49-F238E27FC236}">
                <a16:creationId xmlns:a16="http://schemas.microsoft.com/office/drawing/2014/main" id="{D94F3E3D-7DC7-177E-0A5D-FF211680B9AE}"/>
              </a:ext>
            </a:extLst>
          </p:cNvPr>
          <p:cNvSpPr/>
          <p:nvPr/>
        </p:nvSpPr>
        <p:spPr bwMode="gray">
          <a:xfrm rot="21420000">
            <a:off x="5735753" y="2712494"/>
            <a:ext cx="958323" cy="416334"/>
          </a:xfrm>
          <a:prstGeom prst="foldedCorner">
            <a:avLst>
              <a:gd name="adj" fmla="val 29261"/>
            </a:avLst>
          </a:prstGeom>
          <a:solidFill>
            <a:srgbClr val="37AADC">
              <a:alpha val="50196"/>
            </a:srgbClr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How you deliver</a:t>
            </a:r>
          </a:p>
        </p:txBody>
      </p:sp>
      <p:sp>
        <p:nvSpPr>
          <p:cNvPr id="122" name="Gefaltete Ecke 46">
            <a:extLst>
              <a:ext uri="{FF2B5EF4-FFF2-40B4-BE49-F238E27FC236}">
                <a16:creationId xmlns:a16="http://schemas.microsoft.com/office/drawing/2014/main" id="{C65F0DFC-6CA8-536F-7251-FF6AEF580FA9}"/>
              </a:ext>
            </a:extLst>
          </p:cNvPr>
          <p:cNvSpPr/>
          <p:nvPr/>
        </p:nvSpPr>
        <p:spPr bwMode="gray">
          <a:xfrm rot="21420000">
            <a:off x="5683730" y="1363496"/>
            <a:ext cx="958323" cy="657529"/>
          </a:xfrm>
          <a:prstGeom prst="foldedCorner">
            <a:avLst>
              <a:gd name="adj" fmla="val 29261"/>
            </a:avLst>
          </a:prstGeom>
          <a:solidFill>
            <a:srgbClr val="37AADC">
              <a:alpha val="50196"/>
            </a:srgbClr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How you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handle relationship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4B4B4B">
                  <a:lumMod val="60000"/>
                  <a:lumOff val="40000"/>
                </a:srgbClr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124" name="Gefaltete Ecke 46">
            <a:extLst>
              <a:ext uri="{FF2B5EF4-FFF2-40B4-BE49-F238E27FC236}">
                <a16:creationId xmlns:a16="http://schemas.microsoft.com/office/drawing/2014/main" id="{B3F45379-AD54-0C8F-68D7-888B6D4D717A}"/>
              </a:ext>
            </a:extLst>
          </p:cNvPr>
          <p:cNvSpPr/>
          <p:nvPr/>
        </p:nvSpPr>
        <p:spPr bwMode="gray">
          <a:xfrm rot="21420000">
            <a:off x="2165209" y="2800283"/>
            <a:ext cx="958323" cy="416334"/>
          </a:xfrm>
          <a:prstGeom prst="foldedCorner">
            <a:avLst>
              <a:gd name="adj" fmla="val 29261"/>
            </a:avLst>
          </a:prstGeom>
          <a:solidFill>
            <a:srgbClr val="37AADC">
              <a:alpha val="50196"/>
            </a:srgbClr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at assets do you have</a:t>
            </a:r>
          </a:p>
        </p:txBody>
      </p:sp>
      <p:sp>
        <p:nvSpPr>
          <p:cNvPr id="125" name="Gefaltete Ecke 46">
            <a:extLst>
              <a:ext uri="{FF2B5EF4-FFF2-40B4-BE49-F238E27FC236}">
                <a16:creationId xmlns:a16="http://schemas.microsoft.com/office/drawing/2014/main" id="{80F882A5-2F77-0066-2E70-9BE9C8FD6E78}"/>
              </a:ext>
            </a:extLst>
          </p:cNvPr>
          <p:cNvSpPr/>
          <p:nvPr/>
        </p:nvSpPr>
        <p:spPr bwMode="gray">
          <a:xfrm rot="21420000">
            <a:off x="2230637" y="1449024"/>
            <a:ext cx="958323" cy="416334"/>
          </a:xfrm>
          <a:prstGeom prst="foldedCorner">
            <a:avLst>
              <a:gd name="adj" fmla="val 29261"/>
            </a:avLst>
          </a:prstGeom>
          <a:solidFill>
            <a:srgbClr val="37AADC">
              <a:alpha val="50196"/>
            </a:srgbClr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at you do yourself</a:t>
            </a:r>
          </a:p>
        </p:txBody>
      </p:sp>
      <p:sp>
        <p:nvSpPr>
          <p:cNvPr id="126" name="Gefaltete Ecke 46">
            <a:extLst>
              <a:ext uri="{FF2B5EF4-FFF2-40B4-BE49-F238E27FC236}">
                <a16:creationId xmlns:a16="http://schemas.microsoft.com/office/drawing/2014/main" id="{013074A3-985A-BC7D-60CB-34AE42FF98A2}"/>
              </a:ext>
            </a:extLst>
          </p:cNvPr>
          <p:cNvSpPr/>
          <p:nvPr/>
        </p:nvSpPr>
        <p:spPr bwMode="gray">
          <a:xfrm rot="21420000">
            <a:off x="493164" y="1609290"/>
            <a:ext cx="958323" cy="416334"/>
          </a:xfrm>
          <a:prstGeom prst="foldedCorner">
            <a:avLst>
              <a:gd name="adj" fmla="val 29261"/>
            </a:avLst>
          </a:prstGeom>
          <a:solidFill>
            <a:srgbClr val="37AADC">
              <a:alpha val="50196"/>
            </a:srgbClr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B4B4B">
                    <a:lumMod val="60000"/>
                    <a:lumOff val="4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o help you with that</a:t>
            </a:r>
          </a:p>
        </p:txBody>
      </p:sp>
      <p:sp>
        <p:nvSpPr>
          <p:cNvPr id="16" name="Stern: 5 Zacken 11">
            <a:extLst>
              <a:ext uri="{FF2B5EF4-FFF2-40B4-BE49-F238E27FC236}">
                <a16:creationId xmlns:a16="http://schemas.microsoft.com/office/drawing/2014/main" id="{308C0C12-9B90-C64B-8671-5657415ADFA4}"/>
              </a:ext>
            </a:extLst>
          </p:cNvPr>
          <p:cNvSpPr/>
          <p:nvPr/>
        </p:nvSpPr>
        <p:spPr>
          <a:xfrm>
            <a:off x="3990134" y="3599519"/>
            <a:ext cx="1991643" cy="1512950"/>
          </a:xfrm>
          <a:prstGeom prst="star5">
            <a:avLst/>
          </a:prstGeom>
          <a:solidFill>
            <a:srgbClr val="FC684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42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3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EARN</a:t>
            </a:r>
          </a:p>
        </p:txBody>
      </p:sp>
      <p:sp>
        <p:nvSpPr>
          <p:cNvPr id="153" name="Freeform 8">
            <a:extLst>
              <a:ext uri="{FF2B5EF4-FFF2-40B4-BE49-F238E27FC236}">
                <a16:creationId xmlns:a16="http://schemas.microsoft.com/office/drawing/2014/main" id="{94DB444E-F85D-4650-B117-8500AB4D5F69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sp>
        <p:nvSpPr>
          <p:cNvPr id="123" name="Freeform 7">
            <a:extLst>
              <a:ext uri="{FF2B5EF4-FFF2-40B4-BE49-F238E27FC236}">
                <a16:creationId xmlns:a16="http://schemas.microsoft.com/office/drawing/2014/main" id="{61D646AB-7AE7-2D8E-A8AE-526B80CF8551}"/>
              </a:ext>
            </a:extLst>
          </p:cNvPr>
          <p:cNvSpPr/>
          <p:nvPr/>
        </p:nvSpPr>
        <p:spPr>
          <a:xfrm>
            <a:off x="6110909" y="460258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95445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402797"/>
              </p:ext>
            </p:extLst>
          </p:nvPr>
        </p:nvGraphicFramePr>
        <p:xfrm>
          <a:off x="2844" y="119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1" imgH="298" progId="TCLayout.ActiveDocument.1">
                  <p:embed/>
                </p:oleObj>
              </mc:Choice>
              <mc:Fallback>
                <p:oleObj name="think-cell Folie" r:id="rId4" imgW="301" imgH="29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44" y="119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 vert="horz" lIns="81619" tIns="40809" rIns="81619" bIns="40809" rtlCol="0" anchor="ctr" anchorCtr="0">
            <a:noAutofit/>
          </a:bodyPr>
          <a:lstStyle/>
          <a:p>
            <a:r>
              <a:rPr lang="en-GB" dirty="0">
                <a:latin typeface="Titillium Web" panose="00000500000000000000" pitchFamily="2" charset="0"/>
              </a:rPr>
              <a:t>Business modelling </a:t>
            </a:r>
          </a:p>
        </p:txBody>
      </p:sp>
      <p:grpSp>
        <p:nvGrpSpPr>
          <p:cNvPr id="7" name="Gruppieren 3">
            <a:extLst>
              <a:ext uri="{FF2B5EF4-FFF2-40B4-BE49-F238E27FC236}">
                <a16:creationId xmlns:a16="http://schemas.microsoft.com/office/drawing/2014/main" id="{2998ECC9-6620-0DF6-9458-F552575E687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52520" y="951945"/>
            <a:ext cx="8457909" cy="3642387"/>
            <a:chOff x="540001" y="1520825"/>
            <a:chExt cx="11109600" cy="4291189"/>
          </a:xfrm>
        </p:grpSpPr>
        <p:grpSp>
          <p:nvGrpSpPr>
            <p:cNvPr id="8" name="Gruppieren 42">
              <a:extLst>
                <a:ext uri="{FF2B5EF4-FFF2-40B4-BE49-F238E27FC236}">
                  <a16:creationId xmlns:a16="http://schemas.microsoft.com/office/drawing/2014/main" id="{BB61760B-2FE6-E903-AC4F-3F35416B8C7B}"/>
                </a:ext>
              </a:extLst>
            </p:cNvPr>
            <p:cNvGrpSpPr/>
            <p:nvPr/>
          </p:nvGrpSpPr>
          <p:grpSpPr bwMode="gray">
            <a:xfrm>
              <a:off x="540001" y="1520825"/>
              <a:ext cx="11109600" cy="4291189"/>
              <a:chOff x="540001" y="1520825"/>
              <a:chExt cx="11109600" cy="4291189"/>
            </a:xfrm>
          </p:grpSpPr>
          <p:sp>
            <p:nvSpPr>
              <p:cNvPr id="245" name="Rechteck 5">
                <a:extLst>
                  <a:ext uri="{FF2B5EF4-FFF2-40B4-BE49-F238E27FC236}">
                    <a16:creationId xmlns:a16="http://schemas.microsoft.com/office/drawing/2014/main" id="{29B99679-6A38-D2C8-6F13-A59B8E004371}"/>
                  </a:ext>
                </a:extLst>
              </p:cNvPr>
              <p:cNvSpPr/>
              <p:nvPr/>
            </p:nvSpPr>
            <p:spPr bwMode="gray">
              <a:xfrm>
                <a:off x="540001" y="1520827"/>
                <a:ext cx="2221920" cy="311584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6" name="Rechteck 6">
                <a:extLst>
                  <a:ext uri="{FF2B5EF4-FFF2-40B4-BE49-F238E27FC236}">
                    <a16:creationId xmlns:a16="http://schemas.microsoft.com/office/drawing/2014/main" id="{4543FDA3-43A9-4963-1214-E1AF0BB60BAC}"/>
                  </a:ext>
                </a:extLst>
              </p:cNvPr>
              <p:cNvSpPr/>
              <p:nvPr/>
            </p:nvSpPr>
            <p:spPr bwMode="gray">
              <a:xfrm>
                <a:off x="2761921" y="1520825"/>
                <a:ext cx="2221920" cy="1561497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7" name="Rechteck 7">
                <a:extLst>
                  <a:ext uri="{FF2B5EF4-FFF2-40B4-BE49-F238E27FC236}">
                    <a16:creationId xmlns:a16="http://schemas.microsoft.com/office/drawing/2014/main" id="{A4D87EF9-57A9-A2CF-205A-687EAEB1FA6A}"/>
                  </a:ext>
                </a:extLst>
              </p:cNvPr>
              <p:cNvSpPr/>
              <p:nvPr/>
            </p:nvSpPr>
            <p:spPr bwMode="gray">
              <a:xfrm>
                <a:off x="4983841" y="1520827"/>
                <a:ext cx="2221920" cy="3122991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8" name="Rechteck 8">
                <a:extLst>
                  <a:ext uri="{FF2B5EF4-FFF2-40B4-BE49-F238E27FC236}">
                    <a16:creationId xmlns:a16="http://schemas.microsoft.com/office/drawing/2014/main" id="{334A4B3B-E0C1-04DD-A956-1444910D32F5}"/>
                  </a:ext>
                </a:extLst>
              </p:cNvPr>
              <p:cNvSpPr/>
              <p:nvPr/>
            </p:nvSpPr>
            <p:spPr bwMode="gray">
              <a:xfrm>
                <a:off x="7205761" y="1520826"/>
                <a:ext cx="2221920" cy="156149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9" name="Rechteck 9">
                <a:extLst>
                  <a:ext uri="{FF2B5EF4-FFF2-40B4-BE49-F238E27FC236}">
                    <a16:creationId xmlns:a16="http://schemas.microsoft.com/office/drawing/2014/main" id="{3D3F8EA2-E5FE-4937-9CCB-55F416702B35}"/>
                  </a:ext>
                </a:extLst>
              </p:cNvPr>
              <p:cNvSpPr/>
              <p:nvPr/>
            </p:nvSpPr>
            <p:spPr bwMode="gray">
              <a:xfrm>
                <a:off x="2761918" y="3075176"/>
                <a:ext cx="2221920" cy="15686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0" name="Rechteck 10">
                <a:extLst>
                  <a:ext uri="{FF2B5EF4-FFF2-40B4-BE49-F238E27FC236}">
                    <a16:creationId xmlns:a16="http://schemas.microsoft.com/office/drawing/2014/main" id="{D5A5CD0C-5BDC-8846-EFD0-303083E4BEBD}"/>
                  </a:ext>
                </a:extLst>
              </p:cNvPr>
              <p:cNvSpPr/>
              <p:nvPr/>
            </p:nvSpPr>
            <p:spPr bwMode="gray">
              <a:xfrm>
                <a:off x="7205758" y="3075177"/>
                <a:ext cx="2221920" cy="1568641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b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7D7D7D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rPr>
                </a:b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1" name="Rechteck 11">
                <a:extLst>
                  <a:ext uri="{FF2B5EF4-FFF2-40B4-BE49-F238E27FC236}">
                    <a16:creationId xmlns:a16="http://schemas.microsoft.com/office/drawing/2014/main" id="{B89F1EBA-0A30-A68B-30F0-B588955E310F}"/>
                  </a:ext>
                </a:extLst>
              </p:cNvPr>
              <p:cNvSpPr/>
              <p:nvPr/>
            </p:nvSpPr>
            <p:spPr bwMode="gray">
              <a:xfrm>
                <a:off x="540001" y="4636672"/>
                <a:ext cx="5554796" cy="11753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2" name="Rechteck 12">
                <a:extLst>
                  <a:ext uri="{FF2B5EF4-FFF2-40B4-BE49-F238E27FC236}">
                    <a16:creationId xmlns:a16="http://schemas.microsoft.com/office/drawing/2014/main" id="{75FF3B54-D1D2-F839-F9BD-73BADFC07F04}"/>
                  </a:ext>
                </a:extLst>
              </p:cNvPr>
              <p:cNvSpPr/>
              <p:nvPr/>
            </p:nvSpPr>
            <p:spPr bwMode="gray">
              <a:xfrm>
                <a:off x="6094797" y="4636672"/>
                <a:ext cx="5554801" cy="11753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3" name="Rechteck 13">
                <a:extLst>
                  <a:ext uri="{FF2B5EF4-FFF2-40B4-BE49-F238E27FC236}">
                    <a16:creationId xmlns:a16="http://schemas.microsoft.com/office/drawing/2014/main" id="{2194A16D-8AE3-E215-1ADA-0B10D563845B}"/>
                  </a:ext>
                </a:extLst>
              </p:cNvPr>
              <p:cNvSpPr/>
              <p:nvPr/>
            </p:nvSpPr>
            <p:spPr bwMode="gray">
              <a:xfrm>
                <a:off x="9427681" y="1520825"/>
                <a:ext cx="2221920" cy="311584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sp>
          <p:nvSpPr>
            <p:cNvPr id="9" name="Rechteck 14">
              <a:extLst>
                <a:ext uri="{FF2B5EF4-FFF2-40B4-BE49-F238E27FC236}">
                  <a16:creationId xmlns:a16="http://schemas.microsoft.com/office/drawing/2014/main" id="{BD079CB0-E2A2-DA0B-5EB1-B95D100BAA82}"/>
                </a:ext>
              </a:extLst>
            </p:cNvPr>
            <p:cNvSpPr/>
            <p:nvPr/>
          </p:nvSpPr>
          <p:spPr bwMode="gray">
            <a:xfrm>
              <a:off x="2761918" y="3145019"/>
              <a:ext cx="14490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sources</a:t>
              </a:r>
            </a:p>
          </p:txBody>
        </p:sp>
        <p:sp>
          <p:nvSpPr>
            <p:cNvPr id="10" name="Rechteck 15">
              <a:extLst>
                <a:ext uri="{FF2B5EF4-FFF2-40B4-BE49-F238E27FC236}">
                  <a16:creationId xmlns:a16="http://schemas.microsoft.com/office/drawing/2014/main" id="{7BA8856D-5420-C368-7DD9-C47ADEAA5B1D}"/>
                </a:ext>
              </a:extLst>
            </p:cNvPr>
            <p:cNvSpPr/>
            <p:nvPr/>
          </p:nvSpPr>
          <p:spPr bwMode="gray">
            <a:xfrm>
              <a:off x="7205761" y="3145019"/>
              <a:ext cx="22219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hannels</a:t>
              </a:r>
            </a:p>
          </p:txBody>
        </p:sp>
        <p:sp>
          <p:nvSpPr>
            <p:cNvPr id="11" name="Rechteck 16">
              <a:extLst>
                <a:ext uri="{FF2B5EF4-FFF2-40B4-BE49-F238E27FC236}">
                  <a16:creationId xmlns:a16="http://schemas.microsoft.com/office/drawing/2014/main" id="{86F38D2B-FEF3-2625-8B0C-03A629D8C28F}"/>
                </a:ext>
              </a:extLst>
            </p:cNvPr>
            <p:cNvSpPr/>
            <p:nvPr/>
          </p:nvSpPr>
          <p:spPr bwMode="gray">
            <a:xfrm>
              <a:off x="540001" y="4699369"/>
              <a:ext cx="3940021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ost Structure</a:t>
              </a:r>
            </a:p>
          </p:txBody>
        </p:sp>
        <p:sp>
          <p:nvSpPr>
            <p:cNvPr id="12" name="Rechteck 17">
              <a:extLst>
                <a:ext uri="{FF2B5EF4-FFF2-40B4-BE49-F238E27FC236}">
                  <a16:creationId xmlns:a16="http://schemas.microsoft.com/office/drawing/2014/main" id="{8ED892FD-4591-51FB-E3F1-417C2404E242}"/>
                </a:ext>
              </a:extLst>
            </p:cNvPr>
            <p:cNvSpPr/>
            <p:nvPr/>
          </p:nvSpPr>
          <p:spPr bwMode="gray">
            <a:xfrm>
              <a:off x="540002" y="1681114"/>
              <a:ext cx="2221916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Partners</a:t>
              </a:r>
            </a:p>
          </p:txBody>
        </p:sp>
        <p:sp>
          <p:nvSpPr>
            <p:cNvPr id="13" name="Rechteck 18">
              <a:extLst>
                <a:ext uri="{FF2B5EF4-FFF2-40B4-BE49-F238E27FC236}">
                  <a16:creationId xmlns:a16="http://schemas.microsoft.com/office/drawing/2014/main" id="{AF3E3F5C-930B-B240-F48A-D0CA0A93C48A}"/>
                </a:ext>
              </a:extLst>
            </p:cNvPr>
            <p:cNvSpPr/>
            <p:nvPr/>
          </p:nvSpPr>
          <p:spPr bwMode="gray">
            <a:xfrm>
              <a:off x="2761922" y="1583524"/>
              <a:ext cx="171810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Activities</a:t>
              </a:r>
            </a:p>
          </p:txBody>
        </p:sp>
        <p:sp>
          <p:nvSpPr>
            <p:cNvPr id="14" name="Rechteck 36">
              <a:extLst>
                <a:ext uri="{FF2B5EF4-FFF2-40B4-BE49-F238E27FC236}">
                  <a16:creationId xmlns:a16="http://schemas.microsoft.com/office/drawing/2014/main" id="{3CDFEA71-8802-F28D-E415-258278335315}"/>
                </a:ext>
              </a:extLst>
            </p:cNvPr>
            <p:cNvSpPr/>
            <p:nvPr/>
          </p:nvSpPr>
          <p:spPr bwMode="gray">
            <a:xfrm>
              <a:off x="4983841" y="1583524"/>
              <a:ext cx="22219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Value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Proposition</a:t>
              </a:r>
            </a:p>
          </p:txBody>
        </p:sp>
        <p:sp>
          <p:nvSpPr>
            <p:cNvPr id="15" name="Rechteck 37">
              <a:extLst>
                <a:ext uri="{FF2B5EF4-FFF2-40B4-BE49-F238E27FC236}">
                  <a16:creationId xmlns:a16="http://schemas.microsoft.com/office/drawing/2014/main" id="{CB0FA039-C2BC-0F6A-B730-E151A08EB6C0}"/>
                </a:ext>
              </a:extLst>
            </p:cNvPr>
            <p:cNvSpPr/>
            <p:nvPr/>
          </p:nvSpPr>
          <p:spPr bwMode="gray">
            <a:xfrm>
              <a:off x="7205756" y="1593050"/>
              <a:ext cx="1870749" cy="425427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ustomer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lationships</a:t>
              </a:r>
            </a:p>
          </p:txBody>
        </p:sp>
        <p:sp>
          <p:nvSpPr>
            <p:cNvPr id="17" name="Rechteck 38">
              <a:extLst>
                <a:ext uri="{FF2B5EF4-FFF2-40B4-BE49-F238E27FC236}">
                  <a16:creationId xmlns:a16="http://schemas.microsoft.com/office/drawing/2014/main" id="{4C0631B0-48F3-EA53-7C65-99A10796C55A}"/>
                </a:ext>
              </a:extLst>
            </p:cNvPr>
            <p:cNvSpPr/>
            <p:nvPr/>
          </p:nvSpPr>
          <p:spPr bwMode="gray">
            <a:xfrm>
              <a:off x="9427677" y="1583525"/>
              <a:ext cx="1726278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ustomer Segments</a:t>
              </a:r>
            </a:p>
          </p:txBody>
        </p:sp>
        <p:sp>
          <p:nvSpPr>
            <p:cNvPr id="18" name="Rechteck 40">
              <a:extLst>
                <a:ext uri="{FF2B5EF4-FFF2-40B4-BE49-F238E27FC236}">
                  <a16:creationId xmlns:a16="http://schemas.microsoft.com/office/drawing/2014/main" id="{2979763C-6329-FFCA-A848-DCF7EDA66F10}"/>
                </a:ext>
              </a:extLst>
            </p:cNvPr>
            <p:cNvSpPr/>
            <p:nvPr/>
          </p:nvSpPr>
          <p:spPr bwMode="gray">
            <a:xfrm>
              <a:off x="6094761" y="4707509"/>
              <a:ext cx="3726112" cy="242770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venue Streams</a:t>
              </a:r>
            </a:p>
          </p:txBody>
        </p:sp>
        <p:grpSp>
          <p:nvGrpSpPr>
            <p:cNvPr id="19" name="Gruppieren 54">
              <a:extLst>
                <a:ext uri="{FF2B5EF4-FFF2-40B4-BE49-F238E27FC236}">
                  <a16:creationId xmlns:a16="http://schemas.microsoft.com/office/drawing/2014/main" id="{EA356240-292C-A36F-6DE3-38C405B92F5D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192510" y="1676645"/>
              <a:ext cx="364143" cy="363374"/>
              <a:chOff x="14842424" y="9461856"/>
              <a:chExt cx="783304" cy="781651"/>
            </a:xfrm>
          </p:grpSpPr>
          <p:sp>
            <p:nvSpPr>
              <p:cNvPr id="235" name="Freihandform: Form 55">
                <a:extLst>
                  <a:ext uri="{FF2B5EF4-FFF2-40B4-BE49-F238E27FC236}">
                    <a16:creationId xmlns:a16="http://schemas.microsoft.com/office/drawing/2014/main" id="{2E432B0A-F204-4999-11B6-D2AFEA6529A9}"/>
                  </a:ext>
                </a:extLst>
              </p:cNvPr>
              <p:cNvSpPr/>
              <p:nvPr/>
            </p:nvSpPr>
            <p:spPr bwMode="gray">
              <a:xfrm>
                <a:off x="15308630" y="9879019"/>
                <a:ext cx="260348" cy="363277"/>
              </a:xfrm>
              <a:custGeom>
                <a:avLst/>
                <a:gdLst>
                  <a:gd name="connsiteX0" fmla="*/ 338420 w 350230"/>
                  <a:gd name="connsiteY0" fmla="*/ 476883 h 488693"/>
                  <a:gd name="connsiteX1" fmla="*/ 314800 w 350230"/>
                  <a:gd name="connsiteY1" fmla="*/ 278963 h 488693"/>
                  <a:gd name="connsiteX2" fmla="*/ 255342 w 350230"/>
                  <a:gd name="connsiteY2" fmla="*/ 179595 h 488693"/>
                  <a:gd name="connsiteX3" fmla="*/ 197514 w 350230"/>
                  <a:gd name="connsiteY3" fmla="*/ 149459 h 488693"/>
                  <a:gd name="connsiteX4" fmla="*/ 47648 w 350230"/>
                  <a:gd name="connsiteY4" fmla="*/ 105476 h 488693"/>
                  <a:gd name="connsiteX5" fmla="*/ 38688 w 350230"/>
                  <a:gd name="connsiteY5" fmla="*/ 101404 h 488693"/>
                  <a:gd name="connsiteX6" fmla="*/ 24842 w 350230"/>
                  <a:gd name="connsiteY6" fmla="*/ 77784 h 488693"/>
                  <a:gd name="connsiteX7" fmla="*/ 18326 w 350230"/>
                  <a:gd name="connsiteY7" fmla="*/ 18326 h 488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0230" h="488693">
                    <a:moveTo>
                      <a:pt x="338420" y="476883"/>
                    </a:moveTo>
                    <a:lnTo>
                      <a:pt x="314800" y="278963"/>
                    </a:lnTo>
                    <a:cubicBezTo>
                      <a:pt x="306655" y="240681"/>
                      <a:pt x="286293" y="204844"/>
                      <a:pt x="255342" y="179595"/>
                    </a:cubicBezTo>
                    <a:cubicBezTo>
                      <a:pt x="235795" y="163305"/>
                      <a:pt x="216247" y="153532"/>
                      <a:pt x="197514" y="149459"/>
                    </a:cubicBezTo>
                    <a:lnTo>
                      <a:pt x="47648" y="105476"/>
                    </a:lnTo>
                    <a:cubicBezTo>
                      <a:pt x="44390" y="104662"/>
                      <a:pt x="41132" y="103033"/>
                      <a:pt x="38688" y="101404"/>
                    </a:cubicBezTo>
                    <a:cubicBezTo>
                      <a:pt x="30543" y="95702"/>
                      <a:pt x="25656" y="87558"/>
                      <a:pt x="24842" y="77784"/>
                    </a:cubicBez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6" name="Freihandform: Form 56">
                <a:extLst>
                  <a:ext uri="{FF2B5EF4-FFF2-40B4-BE49-F238E27FC236}">
                    <a16:creationId xmlns:a16="http://schemas.microsoft.com/office/drawing/2014/main" id="{9200E83E-A854-6B72-A5C6-5915E44D6FCE}"/>
                  </a:ext>
                </a:extLst>
              </p:cNvPr>
              <p:cNvSpPr/>
              <p:nvPr/>
            </p:nvSpPr>
            <p:spPr bwMode="gray">
              <a:xfrm>
                <a:off x="14896311" y="9674373"/>
                <a:ext cx="260348" cy="569134"/>
              </a:xfrm>
              <a:custGeom>
                <a:avLst/>
                <a:gdLst>
                  <a:gd name="connsiteX0" fmla="*/ 243125 w 350230"/>
                  <a:gd name="connsiteY0" fmla="*/ 18326 h 765619"/>
                  <a:gd name="connsiteX1" fmla="*/ 203215 w 350230"/>
                  <a:gd name="connsiteY1" fmla="*/ 86743 h 765619"/>
                  <a:gd name="connsiteX2" fmla="*/ 250455 w 350230"/>
                  <a:gd name="connsiteY2" fmla="*/ 156789 h 765619"/>
                  <a:gd name="connsiteX3" fmla="*/ 338420 w 350230"/>
                  <a:gd name="connsiteY3" fmla="*/ 295252 h 765619"/>
                  <a:gd name="connsiteX4" fmla="*/ 331904 w 350230"/>
                  <a:gd name="connsiteY4" fmla="*/ 354710 h 765619"/>
                  <a:gd name="connsiteX5" fmla="*/ 318058 w 350230"/>
                  <a:gd name="connsiteY5" fmla="*/ 378330 h 765619"/>
                  <a:gd name="connsiteX6" fmla="*/ 309099 w 350230"/>
                  <a:gd name="connsiteY6" fmla="*/ 382403 h 765619"/>
                  <a:gd name="connsiteX7" fmla="*/ 160047 w 350230"/>
                  <a:gd name="connsiteY7" fmla="*/ 425571 h 765619"/>
                  <a:gd name="connsiteX8" fmla="*/ 101404 w 350230"/>
                  <a:gd name="connsiteY8" fmla="*/ 456521 h 765619"/>
                  <a:gd name="connsiteX9" fmla="*/ 41946 w 350230"/>
                  <a:gd name="connsiteY9" fmla="*/ 555889 h 765619"/>
                  <a:gd name="connsiteX10" fmla="*/ 18326 w 350230"/>
                  <a:gd name="connsiteY10" fmla="*/ 753810 h 76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0230" h="765619">
                    <a:moveTo>
                      <a:pt x="243125" y="18326"/>
                    </a:moveTo>
                    <a:cubicBezTo>
                      <a:pt x="220319" y="24842"/>
                      <a:pt x="203215" y="52535"/>
                      <a:pt x="203215" y="86743"/>
                    </a:cubicBezTo>
                    <a:cubicBezTo>
                      <a:pt x="203215" y="124210"/>
                      <a:pt x="223577" y="154346"/>
                      <a:pt x="250455" y="156789"/>
                    </a:cubicBezTo>
                    <a:cubicBezTo>
                      <a:pt x="265116" y="213803"/>
                      <a:pt x="296067" y="262673"/>
                      <a:pt x="338420" y="295252"/>
                    </a:cubicBezTo>
                    <a:lnTo>
                      <a:pt x="331904" y="354710"/>
                    </a:lnTo>
                    <a:cubicBezTo>
                      <a:pt x="331090" y="364484"/>
                      <a:pt x="325389" y="372629"/>
                      <a:pt x="318058" y="378330"/>
                    </a:cubicBezTo>
                    <a:cubicBezTo>
                      <a:pt x="315615" y="379959"/>
                      <a:pt x="312357" y="381588"/>
                      <a:pt x="309099" y="382403"/>
                    </a:cubicBezTo>
                    <a:lnTo>
                      <a:pt x="160047" y="425571"/>
                    </a:lnTo>
                    <a:cubicBezTo>
                      <a:pt x="140499" y="429643"/>
                      <a:pt x="120952" y="440231"/>
                      <a:pt x="101404" y="456521"/>
                    </a:cubicBezTo>
                    <a:cubicBezTo>
                      <a:pt x="70454" y="481771"/>
                      <a:pt x="50091" y="516794"/>
                      <a:pt x="41946" y="555889"/>
                    </a:cubicBezTo>
                    <a:lnTo>
                      <a:pt x="18326" y="75381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7" name="Freihandform: Form 57">
                <a:extLst>
                  <a:ext uri="{FF2B5EF4-FFF2-40B4-BE49-F238E27FC236}">
                    <a16:creationId xmlns:a16="http://schemas.microsoft.com/office/drawing/2014/main" id="{8CD13A9C-D35C-4AAA-8DAF-99DBD9CE0862}"/>
                  </a:ext>
                </a:extLst>
              </p:cNvPr>
              <p:cNvSpPr/>
              <p:nvPr/>
            </p:nvSpPr>
            <p:spPr bwMode="gray">
              <a:xfrm>
                <a:off x="15308024" y="9674373"/>
                <a:ext cx="260348" cy="569134"/>
              </a:xfrm>
              <a:custGeom>
                <a:avLst/>
                <a:gdLst>
                  <a:gd name="connsiteX0" fmla="*/ 113621 w 350230"/>
                  <a:gd name="connsiteY0" fmla="*/ 18326 h 765619"/>
                  <a:gd name="connsiteX1" fmla="*/ 153531 w 350230"/>
                  <a:gd name="connsiteY1" fmla="*/ 86743 h 765619"/>
                  <a:gd name="connsiteX2" fmla="*/ 106291 w 350230"/>
                  <a:gd name="connsiteY2" fmla="*/ 156789 h 765619"/>
                  <a:gd name="connsiteX3" fmla="*/ 18326 w 350230"/>
                  <a:gd name="connsiteY3" fmla="*/ 295252 h 765619"/>
                  <a:gd name="connsiteX4" fmla="*/ 24842 w 350230"/>
                  <a:gd name="connsiteY4" fmla="*/ 354710 h 765619"/>
                  <a:gd name="connsiteX5" fmla="*/ 38688 w 350230"/>
                  <a:gd name="connsiteY5" fmla="*/ 378330 h 765619"/>
                  <a:gd name="connsiteX6" fmla="*/ 47648 w 350230"/>
                  <a:gd name="connsiteY6" fmla="*/ 382403 h 765619"/>
                  <a:gd name="connsiteX7" fmla="*/ 196699 w 350230"/>
                  <a:gd name="connsiteY7" fmla="*/ 425571 h 765619"/>
                  <a:gd name="connsiteX8" fmla="*/ 255342 w 350230"/>
                  <a:gd name="connsiteY8" fmla="*/ 456521 h 765619"/>
                  <a:gd name="connsiteX9" fmla="*/ 314800 w 350230"/>
                  <a:gd name="connsiteY9" fmla="*/ 555889 h 765619"/>
                  <a:gd name="connsiteX10" fmla="*/ 338420 w 350230"/>
                  <a:gd name="connsiteY10" fmla="*/ 753810 h 76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0230" h="765619">
                    <a:moveTo>
                      <a:pt x="113621" y="18326"/>
                    </a:moveTo>
                    <a:cubicBezTo>
                      <a:pt x="136427" y="24842"/>
                      <a:pt x="153531" y="52535"/>
                      <a:pt x="153531" y="86743"/>
                    </a:cubicBezTo>
                    <a:cubicBezTo>
                      <a:pt x="153531" y="124210"/>
                      <a:pt x="133169" y="154346"/>
                      <a:pt x="106291" y="156789"/>
                    </a:cubicBezTo>
                    <a:cubicBezTo>
                      <a:pt x="91630" y="213803"/>
                      <a:pt x="60680" y="262673"/>
                      <a:pt x="18326" y="295252"/>
                    </a:cubicBezTo>
                    <a:lnTo>
                      <a:pt x="24842" y="354710"/>
                    </a:lnTo>
                    <a:cubicBezTo>
                      <a:pt x="25657" y="364484"/>
                      <a:pt x="31358" y="372629"/>
                      <a:pt x="38688" y="378330"/>
                    </a:cubicBezTo>
                    <a:cubicBezTo>
                      <a:pt x="41132" y="379959"/>
                      <a:pt x="44390" y="381588"/>
                      <a:pt x="47648" y="382403"/>
                    </a:cubicBezTo>
                    <a:lnTo>
                      <a:pt x="196699" y="425571"/>
                    </a:lnTo>
                    <a:cubicBezTo>
                      <a:pt x="216247" y="429643"/>
                      <a:pt x="235795" y="440231"/>
                      <a:pt x="255342" y="456521"/>
                    </a:cubicBezTo>
                    <a:cubicBezTo>
                      <a:pt x="286293" y="481771"/>
                      <a:pt x="306655" y="516794"/>
                      <a:pt x="314800" y="555889"/>
                    </a:cubicBezTo>
                    <a:lnTo>
                      <a:pt x="338420" y="75381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8" name="Freihandform: Form 58">
                <a:extLst>
                  <a:ext uri="{FF2B5EF4-FFF2-40B4-BE49-F238E27FC236}">
                    <a16:creationId xmlns:a16="http://schemas.microsoft.com/office/drawing/2014/main" id="{3EB75069-3DF4-7F81-1426-B40FF4F96889}"/>
                  </a:ext>
                </a:extLst>
              </p:cNvPr>
              <p:cNvSpPr/>
              <p:nvPr/>
            </p:nvSpPr>
            <p:spPr bwMode="gray">
              <a:xfrm>
                <a:off x="15110644" y="9948042"/>
                <a:ext cx="248239" cy="90819"/>
              </a:xfrm>
              <a:custGeom>
                <a:avLst/>
                <a:gdLst>
                  <a:gd name="connsiteX0" fmla="*/ 316429 w 333940"/>
                  <a:gd name="connsiteY0" fmla="*/ 18326 h 122173"/>
                  <a:gd name="connsiteX1" fmla="*/ 258600 w 333940"/>
                  <a:gd name="connsiteY1" fmla="*/ 70453 h 122173"/>
                  <a:gd name="connsiteX2" fmla="*/ 76155 w 333940"/>
                  <a:gd name="connsiteY2" fmla="*/ 70453 h 122173"/>
                  <a:gd name="connsiteX3" fmla="*/ 18326 w 333940"/>
                  <a:gd name="connsiteY3" fmla="*/ 18326 h 122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3940" h="122173">
                    <a:moveTo>
                      <a:pt x="316429" y="18326"/>
                    </a:moveTo>
                    <a:lnTo>
                      <a:pt x="258600" y="70453"/>
                    </a:lnTo>
                    <a:cubicBezTo>
                      <a:pt x="206473" y="116879"/>
                      <a:pt x="128282" y="116879"/>
                      <a:pt x="76155" y="70453"/>
                    </a:cubicBez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9" name="Freihandform: Form 59">
                <a:extLst>
                  <a:ext uri="{FF2B5EF4-FFF2-40B4-BE49-F238E27FC236}">
                    <a16:creationId xmlns:a16="http://schemas.microsoft.com/office/drawing/2014/main" id="{EC1ADFB6-427F-7932-BBED-2347C79E7F89}"/>
                  </a:ext>
                </a:extLst>
              </p:cNvPr>
              <p:cNvSpPr/>
              <p:nvPr/>
            </p:nvSpPr>
            <p:spPr bwMode="gray">
              <a:xfrm>
                <a:off x="15062965" y="9461856"/>
                <a:ext cx="339058" cy="236130"/>
              </a:xfrm>
              <a:custGeom>
                <a:avLst/>
                <a:gdLst>
                  <a:gd name="connsiteX0" fmla="*/ 18935 w 456113"/>
                  <a:gd name="connsiteY0" fmla="*/ 304212 h 317650"/>
                  <a:gd name="connsiteX1" fmla="*/ 31967 w 456113"/>
                  <a:gd name="connsiteY1" fmla="*/ 179595 h 317650"/>
                  <a:gd name="connsiteX2" fmla="*/ 230702 w 456113"/>
                  <a:gd name="connsiteY2" fmla="*/ 18326 h 317650"/>
                  <a:gd name="connsiteX3" fmla="*/ 429437 w 456113"/>
                  <a:gd name="connsiteY3" fmla="*/ 179595 h 317650"/>
                  <a:gd name="connsiteX4" fmla="*/ 442469 w 456113"/>
                  <a:gd name="connsiteY4" fmla="*/ 304212 h 31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6113" h="317650">
                    <a:moveTo>
                      <a:pt x="18935" y="304212"/>
                    </a:moveTo>
                    <a:cubicBezTo>
                      <a:pt x="18935" y="304212"/>
                      <a:pt x="14048" y="236609"/>
                      <a:pt x="31967" y="179595"/>
                    </a:cubicBezTo>
                    <a:cubicBezTo>
                      <a:pt x="31967" y="179595"/>
                      <a:pt x="73506" y="18326"/>
                      <a:pt x="230702" y="18326"/>
                    </a:cubicBezTo>
                    <a:cubicBezTo>
                      <a:pt x="387899" y="18326"/>
                      <a:pt x="429437" y="179595"/>
                      <a:pt x="429437" y="179595"/>
                    </a:cubicBezTo>
                    <a:cubicBezTo>
                      <a:pt x="447356" y="235794"/>
                      <a:pt x="442469" y="304212"/>
                      <a:pt x="442469" y="30421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0" name="Freihandform: Form 60">
                <a:extLst>
                  <a:ext uri="{FF2B5EF4-FFF2-40B4-BE49-F238E27FC236}">
                    <a16:creationId xmlns:a16="http://schemas.microsoft.com/office/drawing/2014/main" id="{ECBC1AA2-6DDC-13ED-E042-C416E749651C}"/>
                  </a:ext>
                </a:extLst>
              </p:cNvPr>
              <p:cNvSpPr/>
              <p:nvPr/>
            </p:nvSpPr>
            <p:spPr bwMode="gray">
              <a:xfrm>
                <a:off x="15068867" y="9553854"/>
                <a:ext cx="314840" cy="84765"/>
              </a:xfrm>
              <a:custGeom>
                <a:avLst/>
                <a:gdLst>
                  <a:gd name="connsiteX0" fmla="*/ 18326 w 423534"/>
                  <a:gd name="connsiteY0" fmla="*/ 90045 h 114028"/>
                  <a:gd name="connsiteX1" fmla="*/ 228464 w 423534"/>
                  <a:gd name="connsiteY1" fmla="*/ 52578 h 114028"/>
                  <a:gd name="connsiteX2" fmla="*/ 407652 w 423534"/>
                  <a:gd name="connsiteY2" fmla="*/ 21628 h 11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23534" h="114028">
                    <a:moveTo>
                      <a:pt x="18326" y="90045"/>
                    </a:moveTo>
                    <a:cubicBezTo>
                      <a:pt x="62309" y="106335"/>
                      <a:pt x="129097" y="107149"/>
                      <a:pt x="228464" y="52578"/>
                    </a:cubicBezTo>
                    <a:cubicBezTo>
                      <a:pt x="288737" y="19184"/>
                      <a:pt x="352267" y="13483"/>
                      <a:pt x="407652" y="21628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1" name="Freihandform: Form 61">
                <a:extLst>
                  <a:ext uri="{FF2B5EF4-FFF2-40B4-BE49-F238E27FC236}">
                    <a16:creationId xmlns:a16="http://schemas.microsoft.com/office/drawing/2014/main" id="{8170D1CE-B681-9087-AA30-D4D4E1B36B89}"/>
                  </a:ext>
                </a:extLst>
              </p:cNvPr>
              <p:cNvSpPr/>
              <p:nvPr/>
            </p:nvSpPr>
            <p:spPr bwMode="gray">
              <a:xfrm>
                <a:off x="15407762" y="9713728"/>
                <a:ext cx="217966" cy="405659"/>
              </a:xfrm>
              <a:custGeom>
                <a:avLst/>
                <a:gdLst>
                  <a:gd name="connsiteX0" fmla="*/ 114656 w 293216"/>
                  <a:gd name="connsiteY0" fmla="*/ 18326 h 545707"/>
                  <a:gd name="connsiteX1" fmla="*/ 139905 w 293216"/>
                  <a:gd name="connsiteY1" fmla="*/ 90816 h 545707"/>
                  <a:gd name="connsiteX2" fmla="*/ 82076 w 293216"/>
                  <a:gd name="connsiteY2" fmla="*/ 148644 h 545707"/>
                  <a:gd name="connsiteX3" fmla="*/ 29949 w 293216"/>
                  <a:gd name="connsiteY3" fmla="*/ 222763 h 545707"/>
                  <a:gd name="connsiteX4" fmla="*/ 44610 w 293216"/>
                  <a:gd name="connsiteY4" fmla="*/ 270818 h 545707"/>
                  <a:gd name="connsiteX5" fmla="*/ 76375 w 293216"/>
                  <a:gd name="connsiteY5" fmla="*/ 281406 h 545707"/>
                  <a:gd name="connsiteX6" fmla="*/ 275925 w 293216"/>
                  <a:gd name="connsiteY6" fmla="*/ 515979 h 545707"/>
                  <a:gd name="connsiteX7" fmla="*/ 276739 w 293216"/>
                  <a:gd name="connsiteY7" fmla="*/ 528196 h 545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3216" h="545707">
                    <a:moveTo>
                      <a:pt x="114656" y="18326"/>
                    </a:moveTo>
                    <a:cubicBezTo>
                      <a:pt x="135833" y="28914"/>
                      <a:pt x="146421" y="58236"/>
                      <a:pt x="139905" y="90816"/>
                    </a:cubicBezTo>
                    <a:cubicBezTo>
                      <a:pt x="133389" y="126653"/>
                      <a:pt x="108140" y="151088"/>
                      <a:pt x="82076" y="148644"/>
                    </a:cubicBezTo>
                    <a:cubicBezTo>
                      <a:pt x="68230" y="177151"/>
                      <a:pt x="51126" y="201586"/>
                      <a:pt x="29949" y="222763"/>
                    </a:cubicBezTo>
                    <a:cubicBezTo>
                      <a:pt x="9587" y="243125"/>
                      <a:pt x="16917" y="261044"/>
                      <a:pt x="44610" y="270818"/>
                    </a:cubicBezTo>
                    <a:lnTo>
                      <a:pt x="76375" y="281406"/>
                    </a:lnTo>
                    <a:cubicBezTo>
                      <a:pt x="174928" y="313986"/>
                      <a:pt x="271038" y="366113"/>
                      <a:pt x="275925" y="515979"/>
                    </a:cubicBezTo>
                    <a:cubicBezTo>
                      <a:pt x="275925" y="520051"/>
                      <a:pt x="276739" y="524124"/>
                      <a:pt x="276739" y="52819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2" name="Freihandform: Form 62">
                <a:extLst>
                  <a:ext uri="{FF2B5EF4-FFF2-40B4-BE49-F238E27FC236}">
                    <a16:creationId xmlns:a16="http://schemas.microsoft.com/office/drawing/2014/main" id="{359D6000-0C72-02BC-A38F-1E0B4126CF2E}"/>
                  </a:ext>
                </a:extLst>
              </p:cNvPr>
              <p:cNvSpPr/>
              <p:nvPr/>
            </p:nvSpPr>
            <p:spPr bwMode="gray">
              <a:xfrm>
                <a:off x="15369176" y="9483047"/>
                <a:ext cx="145310" cy="254294"/>
              </a:xfrm>
              <a:custGeom>
                <a:avLst/>
                <a:gdLst>
                  <a:gd name="connsiteX0" fmla="*/ 166563 w 195477"/>
                  <a:gd name="connsiteY0" fmla="*/ 328646 h 342085"/>
                  <a:gd name="connsiteX1" fmla="*/ 177151 w 195477"/>
                  <a:gd name="connsiteY1" fmla="*/ 208102 h 342085"/>
                  <a:gd name="connsiteX2" fmla="*/ 18326 w 195477"/>
                  <a:gd name="connsiteY2" fmla="*/ 18326 h 342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5477" h="342085">
                    <a:moveTo>
                      <a:pt x="166563" y="328646"/>
                    </a:moveTo>
                    <a:cubicBezTo>
                      <a:pt x="166563" y="328646"/>
                      <a:pt x="183667" y="265116"/>
                      <a:pt x="177151" y="208102"/>
                    </a:cubicBezTo>
                    <a:cubicBezTo>
                      <a:pt x="177151" y="208102"/>
                      <a:pt x="167378" y="47647"/>
                      <a:pt x="18326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3" name="Freihandform: Form 63">
                <a:extLst>
                  <a:ext uri="{FF2B5EF4-FFF2-40B4-BE49-F238E27FC236}">
                    <a16:creationId xmlns:a16="http://schemas.microsoft.com/office/drawing/2014/main" id="{C7A9EB44-714D-665F-E32E-1CBB001A765F}"/>
                  </a:ext>
                </a:extLst>
              </p:cNvPr>
              <p:cNvSpPr/>
              <p:nvPr/>
            </p:nvSpPr>
            <p:spPr bwMode="gray">
              <a:xfrm>
                <a:off x="14842424" y="9713728"/>
                <a:ext cx="217966" cy="405659"/>
              </a:xfrm>
              <a:custGeom>
                <a:avLst/>
                <a:gdLst>
                  <a:gd name="connsiteX0" fmla="*/ 180409 w 293216"/>
                  <a:gd name="connsiteY0" fmla="*/ 18326 h 545707"/>
                  <a:gd name="connsiteX1" fmla="*/ 155160 w 293216"/>
                  <a:gd name="connsiteY1" fmla="*/ 90816 h 545707"/>
                  <a:gd name="connsiteX2" fmla="*/ 212989 w 293216"/>
                  <a:gd name="connsiteY2" fmla="*/ 148644 h 545707"/>
                  <a:gd name="connsiteX3" fmla="*/ 265116 w 293216"/>
                  <a:gd name="connsiteY3" fmla="*/ 222763 h 545707"/>
                  <a:gd name="connsiteX4" fmla="*/ 250455 w 293216"/>
                  <a:gd name="connsiteY4" fmla="*/ 270818 h 545707"/>
                  <a:gd name="connsiteX5" fmla="*/ 218690 w 293216"/>
                  <a:gd name="connsiteY5" fmla="*/ 281406 h 545707"/>
                  <a:gd name="connsiteX6" fmla="*/ 19141 w 293216"/>
                  <a:gd name="connsiteY6" fmla="*/ 515979 h 545707"/>
                  <a:gd name="connsiteX7" fmla="*/ 18326 w 293216"/>
                  <a:gd name="connsiteY7" fmla="*/ 528196 h 545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3216" h="545707">
                    <a:moveTo>
                      <a:pt x="180409" y="18326"/>
                    </a:moveTo>
                    <a:cubicBezTo>
                      <a:pt x="159233" y="28914"/>
                      <a:pt x="148644" y="58236"/>
                      <a:pt x="155160" y="90816"/>
                    </a:cubicBezTo>
                    <a:cubicBezTo>
                      <a:pt x="161676" y="126653"/>
                      <a:pt x="186925" y="151088"/>
                      <a:pt x="212989" y="148644"/>
                    </a:cubicBezTo>
                    <a:cubicBezTo>
                      <a:pt x="226835" y="177151"/>
                      <a:pt x="243940" y="201586"/>
                      <a:pt x="265116" y="222763"/>
                    </a:cubicBezTo>
                    <a:cubicBezTo>
                      <a:pt x="285479" y="243125"/>
                      <a:pt x="278148" y="261044"/>
                      <a:pt x="250455" y="270818"/>
                    </a:cubicBezTo>
                    <a:lnTo>
                      <a:pt x="218690" y="281406"/>
                    </a:lnTo>
                    <a:cubicBezTo>
                      <a:pt x="120137" y="313986"/>
                      <a:pt x="24028" y="366113"/>
                      <a:pt x="19141" y="515979"/>
                    </a:cubicBezTo>
                    <a:cubicBezTo>
                      <a:pt x="19141" y="520051"/>
                      <a:pt x="18326" y="524124"/>
                      <a:pt x="18326" y="52819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4" name="Freihandform: Form 64">
                <a:extLst>
                  <a:ext uri="{FF2B5EF4-FFF2-40B4-BE49-F238E27FC236}">
                    <a16:creationId xmlns:a16="http://schemas.microsoft.com/office/drawing/2014/main" id="{D7A659FD-5157-B195-1EA6-9E388E822EB2}"/>
                  </a:ext>
                </a:extLst>
              </p:cNvPr>
              <p:cNvSpPr/>
              <p:nvPr/>
            </p:nvSpPr>
            <p:spPr bwMode="gray">
              <a:xfrm>
                <a:off x="14953940" y="9483047"/>
                <a:ext cx="145310" cy="254294"/>
              </a:xfrm>
              <a:custGeom>
                <a:avLst/>
                <a:gdLst>
                  <a:gd name="connsiteX0" fmla="*/ 30395 w 195477"/>
                  <a:gd name="connsiteY0" fmla="*/ 328646 h 342085"/>
                  <a:gd name="connsiteX1" fmla="*/ 19806 w 195477"/>
                  <a:gd name="connsiteY1" fmla="*/ 208102 h 342085"/>
                  <a:gd name="connsiteX2" fmla="*/ 178632 w 195477"/>
                  <a:gd name="connsiteY2" fmla="*/ 18326 h 342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5477" h="342085">
                    <a:moveTo>
                      <a:pt x="30395" y="328646"/>
                    </a:moveTo>
                    <a:cubicBezTo>
                      <a:pt x="30395" y="328646"/>
                      <a:pt x="13291" y="265116"/>
                      <a:pt x="19806" y="208102"/>
                    </a:cubicBezTo>
                    <a:cubicBezTo>
                      <a:pt x="19806" y="208102"/>
                      <a:pt x="29580" y="47647"/>
                      <a:pt x="178632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0" name="Gruppieren 65">
              <a:extLst>
                <a:ext uri="{FF2B5EF4-FFF2-40B4-BE49-F238E27FC236}">
                  <a16:creationId xmlns:a16="http://schemas.microsoft.com/office/drawing/2014/main" id="{356953EF-CD1B-ABB7-D211-C189B0BD1A7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4483106" y="3209638"/>
              <a:ext cx="358756" cy="430343"/>
              <a:chOff x="9950269" y="7309727"/>
              <a:chExt cx="593871" cy="712373"/>
            </a:xfrm>
          </p:grpSpPr>
          <p:sp>
            <p:nvSpPr>
              <p:cNvPr id="120" name="Freihandform: Form 66">
                <a:extLst>
                  <a:ext uri="{FF2B5EF4-FFF2-40B4-BE49-F238E27FC236}">
                    <a16:creationId xmlns:a16="http://schemas.microsoft.com/office/drawing/2014/main" id="{8EE9B7E4-6E87-8BAE-256A-C441E3E84EBE}"/>
                  </a:ext>
                </a:extLst>
              </p:cNvPr>
              <p:cNvSpPr/>
              <p:nvPr/>
            </p:nvSpPr>
            <p:spPr bwMode="gray">
              <a:xfrm>
                <a:off x="10401133" y="7598991"/>
                <a:ext cx="43668" cy="136463"/>
              </a:xfrm>
              <a:custGeom>
                <a:avLst/>
                <a:gdLst>
                  <a:gd name="connsiteX0" fmla="*/ 12282 w 43668"/>
                  <a:gd name="connsiteY0" fmla="*/ 127456 h 136462"/>
                  <a:gd name="connsiteX1" fmla="*/ 12282 w 43668"/>
                  <a:gd name="connsiteY1" fmla="*/ 12282 h 136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668" h="136462">
                    <a:moveTo>
                      <a:pt x="12282" y="127456"/>
                    </a:moveTo>
                    <a:cubicBezTo>
                      <a:pt x="43941" y="95797"/>
                      <a:pt x="43941" y="43941"/>
                      <a:pt x="12282" y="1228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21" name="Freihandform: Form 67">
                <a:extLst>
                  <a:ext uri="{FF2B5EF4-FFF2-40B4-BE49-F238E27FC236}">
                    <a16:creationId xmlns:a16="http://schemas.microsoft.com/office/drawing/2014/main" id="{133ED818-C44E-ADF4-1C5C-B53A26330CE5}"/>
                  </a:ext>
                </a:extLst>
              </p:cNvPr>
              <p:cNvSpPr/>
              <p:nvPr/>
            </p:nvSpPr>
            <p:spPr bwMode="gray">
              <a:xfrm>
                <a:off x="9950269" y="7749175"/>
                <a:ext cx="294760" cy="272925"/>
              </a:xfrm>
              <a:custGeom>
                <a:avLst/>
                <a:gdLst>
                  <a:gd name="connsiteX0" fmla="*/ 175491 w 294759"/>
                  <a:gd name="connsiteY0" fmla="*/ 238729 h 272925"/>
                  <a:gd name="connsiteX1" fmla="*/ 186408 w 294759"/>
                  <a:gd name="connsiteY1" fmla="*/ 257834 h 272925"/>
                  <a:gd name="connsiteX2" fmla="*/ 207151 w 294759"/>
                  <a:gd name="connsiteY2" fmla="*/ 263293 h 272925"/>
                  <a:gd name="connsiteX3" fmla="*/ 227893 w 294759"/>
                  <a:gd name="connsiteY3" fmla="*/ 251284 h 272925"/>
                  <a:gd name="connsiteX4" fmla="*/ 233351 w 294759"/>
                  <a:gd name="connsiteY4" fmla="*/ 230542 h 272925"/>
                  <a:gd name="connsiteX5" fmla="*/ 222434 w 294759"/>
                  <a:gd name="connsiteY5" fmla="*/ 211983 h 272925"/>
                  <a:gd name="connsiteX6" fmla="*/ 248635 w 294759"/>
                  <a:gd name="connsiteY6" fmla="*/ 166131 h 272925"/>
                  <a:gd name="connsiteX7" fmla="*/ 270469 w 294759"/>
                  <a:gd name="connsiteY7" fmla="*/ 166131 h 272925"/>
                  <a:gd name="connsiteX8" fmla="*/ 285753 w 294759"/>
                  <a:gd name="connsiteY8" fmla="*/ 150847 h 272925"/>
                  <a:gd name="connsiteX9" fmla="*/ 285753 w 294759"/>
                  <a:gd name="connsiteY9" fmla="*/ 126830 h 272925"/>
                  <a:gd name="connsiteX10" fmla="*/ 270469 w 294759"/>
                  <a:gd name="connsiteY10" fmla="*/ 111546 h 272925"/>
                  <a:gd name="connsiteX11" fmla="*/ 248635 w 294759"/>
                  <a:gd name="connsiteY11" fmla="*/ 111546 h 272925"/>
                  <a:gd name="connsiteX12" fmla="*/ 222434 w 294759"/>
                  <a:gd name="connsiteY12" fmla="*/ 65695 h 272925"/>
                  <a:gd name="connsiteX13" fmla="*/ 233351 w 294759"/>
                  <a:gd name="connsiteY13" fmla="*/ 47136 h 272925"/>
                  <a:gd name="connsiteX14" fmla="*/ 227893 w 294759"/>
                  <a:gd name="connsiteY14" fmla="*/ 26393 h 272925"/>
                  <a:gd name="connsiteX15" fmla="*/ 207151 w 294759"/>
                  <a:gd name="connsiteY15" fmla="*/ 14385 h 272925"/>
                  <a:gd name="connsiteX16" fmla="*/ 186408 w 294759"/>
                  <a:gd name="connsiteY16" fmla="*/ 19843 h 272925"/>
                  <a:gd name="connsiteX17" fmla="*/ 175491 w 294759"/>
                  <a:gd name="connsiteY17" fmla="*/ 38948 h 272925"/>
                  <a:gd name="connsiteX18" fmla="*/ 122544 w 294759"/>
                  <a:gd name="connsiteY18" fmla="*/ 38948 h 272925"/>
                  <a:gd name="connsiteX19" fmla="*/ 111627 w 294759"/>
                  <a:gd name="connsiteY19" fmla="*/ 19843 h 272925"/>
                  <a:gd name="connsiteX20" fmla="*/ 90884 w 294759"/>
                  <a:gd name="connsiteY20" fmla="*/ 14385 h 272925"/>
                  <a:gd name="connsiteX21" fmla="*/ 70142 w 294759"/>
                  <a:gd name="connsiteY21" fmla="*/ 26393 h 272925"/>
                  <a:gd name="connsiteX22" fmla="*/ 64683 w 294759"/>
                  <a:gd name="connsiteY22" fmla="*/ 47136 h 272925"/>
                  <a:gd name="connsiteX23" fmla="*/ 75601 w 294759"/>
                  <a:gd name="connsiteY23" fmla="*/ 65695 h 272925"/>
                  <a:gd name="connsiteX24" fmla="*/ 49400 w 294759"/>
                  <a:gd name="connsiteY24" fmla="*/ 111546 h 272925"/>
                  <a:gd name="connsiteX25" fmla="*/ 27566 w 294759"/>
                  <a:gd name="connsiteY25" fmla="*/ 111546 h 272925"/>
                  <a:gd name="connsiteX26" fmla="*/ 12282 w 294759"/>
                  <a:gd name="connsiteY26" fmla="*/ 126830 h 272925"/>
                  <a:gd name="connsiteX27" fmla="*/ 12282 w 294759"/>
                  <a:gd name="connsiteY27" fmla="*/ 150847 h 272925"/>
                  <a:gd name="connsiteX28" fmla="*/ 27566 w 294759"/>
                  <a:gd name="connsiteY28" fmla="*/ 166131 h 272925"/>
                  <a:gd name="connsiteX29" fmla="*/ 49400 w 294759"/>
                  <a:gd name="connsiteY29" fmla="*/ 166131 h 272925"/>
                  <a:gd name="connsiteX30" fmla="*/ 75601 w 294759"/>
                  <a:gd name="connsiteY30" fmla="*/ 211983 h 272925"/>
                  <a:gd name="connsiteX31" fmla="*/ 64683 w 294759"/>
                  <a:gd name="connsiteY31" fmla="*/ 230542 h 272925"/>
                  <a:gd name="connsiteX32" fmla="*/ 70142 w 294759"/>
                  <a:gd name="connsiteY32" fmla="*/ 251284 h 272925"/>
                  <a:gd name="connsiteX33" fmla="*/ 90884 w 294759"/>
                  <a:gd name="connsiteY33" fmla="*/ 263293 h 272925"/>
                  <a:gd name="connsiteX34" fmla="*/ 111627 w 294759"/>
                  <a:gd name="connsiteY34" fmla="*/ 257834 h 272925"/>
                  <a:gd name="connsiteX35" fmla="*/ 122544 w 294759"/>
                  <a:gd name="connsiteY35" fmla="*/ 238729 h 272925"/>
                  <a:gd name="connsiteX36" fmla="*/ 175491 w 294759"/>
                  <a:gd name="connsiteY36" fmla="*/ 238729 h 27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94759" h="272925">
                    <a:moveTo>
                      <a:pt x="175491" y="238729"/>
                    </a:moveTo>
                    <a:lnTo>
                      <a:pt x="186408" y="257834"/>
                    </a:lnTo>
                    <a:cubicBezTo>
                      <a:pt x="190775" y="264930"/>
                      <a:pt x="200054" y="267659"/>
                      <a:pt x="207151" y="263293"/>
                    </a:cubicBezTo>
                    <a:lnTo>
                      <a:pt x="227893" y="251284"/>
                    </a:lnTo>
                    <a:cubicBezTo>
                      <a:pt x="234989" y="246917"/>
                      <a:pt x="237718" y="237638"/>
                      <a:pt x="233351" y="230542"/>
                    </a:cubicBezTo>
                    <a:lnTo>
                      <a:pt x="222434" y="211983"/>
                    </a:lnTo>
                    <a:cubicBezTo>
                      <a:pt x="235535" y="198882"/>
                      <a:pt x="244268" y="183053"/>
                      <a:pt x="248635" y="166131"/>
                    </a:cubicBezTo>
                    <a:lnTo>
                      <a:pt x="270469" y="166131"/>
                    </a:lnTo>
                    <a:cubicBezTo>
                      <a:pt x="278657" y="166131"/>
                      <a:pt x="285753" y="159581"/>
                      <a:pt x="285753" y="150847"/>
                    </a:cubicBezTo>
                    <a:lnTo>
                      <a:pt x="285753" y="126830"/>
                    </a:lnTo>
                    <a:cubicBezTo>
                      <a:pt x="285753" y="118642"/>
                      <a:pt x="279203" y="111546"/>
                      <a:pt x="270469" y="111546"/>
                    </a:cubicBezTo>
                    <a:lnTo>
                      <a:pt x="248635" y="111546"/>
                    </a:lnTo>
                    <a:cubicBezTo>
                      <a:pt x="244268" y="94625"/>
                      <a:pt x="235535" y="78795"/>
                      <a:pt x="222434" y="65695"/>
                    </a:cubicBezTo>
                    <a:lnTo>
                      <a:pt x="233351" y="47136"/>
                    </a:lnTo>
                    <a:cubicBezTo>
                      <a:pt x="237718" y="40040"/>
                      <a:pt x="234989" y="30760"/>
                      <a:pt x="227893" y="26393"/>
                    </a:cubicBezTo>
                    <a:lnTo>
                      <a:pt x="207151" y="14385"/>
                    </a:lnTo>
                    <a:cubicBezTo>
                      <a:pt x="200054" y="10018"/>
                      <a:pt x="190775" y="12747"/>
                      <a:pt x="186408" y="19843"/>
                    </a:cubicBezTo>
                    <a:lnTo>
                      <a:pt x="175491" y="38948"/>
                    </a:lnTo>
                    <a:cubicBezTo>
                      <a:pt x="158024" y="34581"/>
                      <a:pt x="140011" y="34581"/>
                      <a:pt x="122544" y="38948"/>
                    </a:cubicBezTo>
                    <a:lnTo>
                      <a:pt x="111627" y="19843"/>
                    </a:lnTo>
                    <a:cubicBezTo>
                      <a:pt x="107260" y="12747"/>
                      <a:pt x="97980" y="10018"/>
                      <a:pt x="90884" y="14385"/>
                    </a:cubicBezTo>
                    <a:lnTo>
                      <a:pt x="70142" y="26393"/>
                    </a:lnTo>
                    <a:cubicBezTo>
                      <a:pt x="63046" y="30760"/>
                      <a:pt x="60317" y="40040"/>
                      <a:pt x="64683" y="47136"/>
                    </a:cubicBezTo>
                    <a:lnTo>
                      <a:pt x="75601" y="65695"/>
                    </a:lnTo>
                    <a:cubicBezTo>
                      <a:pt x="62500" y="78795"/>
                      <a:pt x="53766" y="94625"/>
                      <a:pt x="49400" y="111546"/>
                    </a:cubicBezTo>
                    <a:lnTo>
                      <a:pt x="27566" y="111546"/>
                    </a:lnTo>
                    <a:cubicBezTo>
                      <a:pt x="19378" y="111546"/>
                      <a:pt x="12282" y="118096"/>
                      <a:pt x="12282" y="126830"/>
                    </a:cubicBezTo>
                    <a:lnTo>
                      <a:pt x="12282" y="150847"/>
                    </a:lnTo>
                    <a:cubicBezTo>
                      <a:pt x="12282" y="159035"/>
                      <a:pt x="18832" y="166131"/>
                      <a:pt x="27566" y="166131"/>
                    </a:cubicBezTo>
                    <a:lnTo>
                      <a:pt x="49400" y="166131"/>
                    </a:lnTo>
                    <a:cubicBezTo>
                      <a:pt x="53766" y="183053"/>
                      <a:pt x="62500" y="198882"/>
                      <a:pt x="75601" y="211983"/>
                    </a:cubicBezTo>
                    <a:lnTo>
                      <a:pt x="64683" y="230542"/>
                    </a:lnTo>
                    <a:cubicBezTo>
                      <a:pt x="60317" y="237638"/>
                      <a:pt x="63046" y="246917"/>
                      <a:pt x="70142" y="251284"/>
                    </a:cubicBezTo>
                    <a:lnTo>
                      <a:pt x="90884" y="263293"/>
                    </a:lnTo>
                    <a:cubicBezTo>
                      <a:pt x="97980" y="267659"/>
                      <a:pt x="107260" y="264930"/>
                      <a:pt x="111627" y="257834"/>
                    </a:cubicBezTo>
                    <a:lnTo>
                      <a:pt x="122544" y="238729"/>
                    </a:lnTo>
                    <a:cubicBezTo>
                      <a:pt x="140011" y="243096"/>
                      <a:pt x="158024" y="243096"/>
                      <a:pt x="175491" y="238729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0" name="Freihandform: Form 68">
                <a:extLst>
                  <a:ext uri="{FF2B5EF4-FFF2-40B4-BE49-F238E27FC236}">
                    <a16:creationId xmlns:a16="http://schemas.microsoft.com/office/drawing/2014/main" id="{81380F0C-1798-15F3-DACC-7AC3EFFABE04}"/>
                  </a:ext>
                </a:extLst>
              </p:cNvPr>
              <p:cNvSpPr/>
              <p:nvPr/>
            </p:nvSpPr>
            <p:spPr bwMode="gray">
              <a:xfrm>
                <a:off x="10156587" y="7488828"/>
                <a:ext cx="387553" cy="360261"/>
              </a:xfrm>
              <a:custGeom>
                <a:avLst/>
                <a:gdLst>
                  <a:gd name="connsiteX0" fmla="*/ 230622 w 387553"/>
                  <a:gd name="connsiteY0" fmla="*/ 313492 h 360261"/>
                  <a:gd name="connsiteX1" fmla="*/ 245360 w 387553"/>
                  <a:gd name="connsiteY1" fmla="*/ 338601 h 360261"/>
                  <a:gd name="connsiteX2" fmla="*/ 273198 w 387553"/>
                  <a:gd name="connsiteY2" fmla="*/ 346243 h 360261"/>
                  <a:gd name="connsiteX3" fmla="*/ 301037 w 387553"/>
                  <a:gd name="connsiteY3" fmla="*/ 330413 h 360261"/>
                  <a:gd name="connsiteX4" fmla="*/ 308678 w 387553"/>
                  <a:gd name="connsiteY4" fmla="*/ 302575 h 360261"/>
                  <a:gd name="connsiteX5" fmla="*/ 294486 w 387553"/>
                  <a:gd name="connsiteY5" fmla="*/ 277465 h 360261"/>
                  <a:gd name="connsiteX6" fmla="*/ 329421 w 387553"/>
                  <a:gd name="connsiteY6" fmla="*/ 216876 h 360261"/>
                  <a:gd name="connsiteX7" fmla="*/ 358351 w 387553"/>
                  <a:gd name="connsiteY7" fmla="*/ 216876 h 360261"/>
                  <a:gd name="connsiteX8" fmla="*/ 378547 w 387553"/>
                  <a:gd name="connsiteY8" fmla="*/ 196679 h 360261"/>
                  <a:gd name="connsiteX9" fmla="*/ 378547 w 387553"/>
                  <a:gd name="connsiteY9" fmla="*/ 164474 h 360261"/>
                  <a:gd name="connsiteX10" fmla="*/ 358351 w 387553"/>
                  <a:gd name="connsiteY10" fmla="*/ 144278 h 360261"/>
                  <a:gd name="connsiteX11" fmla="*/ 329421 w 387553"/>
                  <a:gd name="connsiteY11" fmla="*/ 144278 h 360261"/>
                  <a:gd name="connsiteX12" fmla="*/ 294486 w 387553"/>
                  <a:gd name="connsiteY12" fmla="*/ 83688 h 360261"/>
                  <a:gd name="connsiteX13" fmla="*/ 308678 w 387553"/>
                  <a:gd name="connsiteY13" fmla="*/ 58579 h 360261"/>
                  <a:gd name="connsiteX14" fmla="*/ 301037 w 387553"/>
                  <a:gd name="connsiteY14" fmla="*/ 30741 h 360261"/>
                  <a:gd name="connsiteX15" fmla="*/ 273198 w 387553"/>
                  <a:gd name="connsiteY15" fmla="*/ 14911 h 360261"/>
                  <a:gd name="connsiteX16" fmla="*/ 245360 w 387553"/>
                  <a:gd name="connsiteY16" fmla="*/ 22553 h 360261"/>
                  <a:gd name="connsiteX17" fmla="*/ 230622 w 387553"/>
                  <a:gd name="connsiteY17" fmla="*/ 47662 h 360261"/>
                  <a:gd name="connsiteX18" fmla="*/ 160207 w 387553"/>
                  <a:gd name="connsiteY18" fmla="*/ 47662 h 360261"/>
                  <a:gd name="connsiteX19" fmla="*/ 145469 w 387553"/>
                  <a:gd name="connsiteY19" fmla="*/ 22553 h 360261"/>
                  <a:gd name="connsiteX20" fmla="*/ 117630 w 387553"/>
                  <a:gd name="connsiteY20" fmla="*/ 14911 h 360261"/>
                  <a:gd name="connsiteX21" fmla="*/ 89792 w 387553"/>
                  <a:gd name="connsiteY21" fmla="*/ 30741 h 360261"/>
                  <a:gd name="connsiteX22" fmla="*/ 82150 w 387553"/>
                  <a:gd name="connsiteY22" fmla="*/ 58579 h 360261"/>
                  <a:gd name="connsiteX23" fmla="*/ 96343 w 387553"/>
                  <a:gd name="connsiteY23" fmla="*/ 83688 h 360261"/>
                  <a:gd name="connsiteX24" fmla="*/ 61408 w 387553"/>
                  <a:gd name="connsiteY24" fmla="*/ 144278 h 360261"/>
                  <a:gd name="connsiteX25" fmla="*/ 32478 w 387553"/>
                  <a:gd name="connsiteY25" fmla="*/ 144278 h 360261"/>
                  <a:gd name="connsiteX26" fmla="*/ 12282 w 387553"/>
                  <a:gd name="connsiteY26" fmla="*/ 164474 h 360261"/>
                  <a:gd name="connsiteX27" fmla="*/ 12282 w 387553"/>
                  <a:gd name="connsiteY27" fmla="*/ 196679 h 360261"/>
                  <a:gd name="connsiteX28" fmla="*/ 32478 w 387553"/>
                  <a:gd name="connsiteY28" fmla="*/ 216876 h 360261"/>
                  <a:gd name="connsiteX29" fmla="*/ 61408 w 387553"/>
                  <a:gd name="connsiteY29" fmla="*/ 216876 h 360261"/>
                  <a:gd name="connsiteX30" fmla="*/ 96343 w 387553"/>
                  <a:gd name="connsiteY30" fmla="*/ 277465 h 360261"/>
                  <a:gd name="connsiteX31" fmla="*/ 82150 w 387553"/>
                  <a:gd name="connsiteY31" fmla="*/ 302575 h 360261"/>
                  <a:gd name="connsiteX32" fmla="*/ 89792 w 387553"/>
                  <a:gd name="connsiteY32" fmla="*/ 330413 h 360261"/>
                  <a:gd name="connsiteX33" fmla="*/ 117630 w 387553"/>
                  <a:gd name="connsiteY33" fmla="*/ 346243 h 360261"/>
                  <a:gd name="connsiteX34" fmla="*/ 145469 w 387553"/>
                  <a:gd name="connsiteY34" fmla="*/ 338601 h 360261"/>
                  <a:gd name="connsiteX35" fmla="*/ 160207 w 387553"/>
                  <a:gd name="connsiteY35" fmla="*/ 313492 h 360261"/>
                  <a:gd name="connsiteX36" fmla="*/ 230622 w 387553"/>
                  <a:gd name="connsiteY36" fmla="*/ 313492 h 360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387553" h="360261">
                    <a:moveTo>
                      <a:pt x="230622" y="313492"/>
                    </a:moveTo>
                    <a:lnTo>
                      <a:pt x="245360" y="338601"/>
                    </a:lnTo>
                    <a:cubicBezTo>
                      <a:pt x="250818" y="348426"/>
                      <a:pt x="263373" y="351701"/>
                      <a:pt x="273198" y="346243"/>
                    </a:cubicBezTo>
                    <a:lnTo>
                      <a:pt x="301037" y="330413"/>
                    </a:lnTo>
                    <a:cubicBezTo>
                      <a:pt x="310862" y="324954"/>
                      <a:pt x="314137" y="312400"/>
                      <a:pt x="308678" y="302575"/>
                    </a:cubicBezTo>
                    <a:lnTo>
                      <a:pt x="294486" y="277465"/>
                    </a:lnTo>
                    <a:cubicBezTo>
                      <a:pt x="311954" y="259998"/>
                      <a:pt x="323416" y="238710"/>
                      <a:pt x="329421" y="216876"/>
                    </a:cubicBezTo>
                    <a:lnTo>
                      <a:pt x="358351" y="216876"/>
                    </a:lnTo>
                    <a:cubicBezTo>
                      <a:pt x="369268" y="216876"/>
                      <a:pt x="378547" y="207596"/>
                      <a:pt x="378547" y="196679"/>
                    </a:cubicBezTo>
                    <a:lnTo>
                      <a:pt x="378547" y="164474"/>
                    </a:lnTo>
                    <a:cubicBezTo>
                      <a:pt x="378547" y="153557"/>
                      <a:pt x="369268" y="144278"/>
                      <a:pt x="358351" y="144278"/>
                    </a:cubicBezTo>
                    <a:lnTo>
                      <a:pt x="329421" y="144278"/>
                    </a:lnTo>
                    <a:cubicBezTo>
                      <a:pt x="323416" y="121898"/>
                      <a:pt x="311954" y="101156"/>
                      <a:pt x="294486" y="83688"/>
                    </a:cubicBezTo>
                    <a:lnTo>
                      <a:pt x="308678" y="58579"/>
                    </a:lnTo>
                    <a:cubicBezTo>
                      <a:pt x="314137" y="48754"/>
                      <a:pt x="310862" y="36745"/>
                      <a:pt x="301037" y="30741"/>
                    </a:cubicBezTo>
                    <a:lnTo>
                      <a:pt x="273198" y="14911"/>
                    </a:lnTo>
                    <a:cubicBezTo>
                      <a:pt x="263373" y="9453"/>
                      <a:pt x="251364" y="12728"/>
                      <a:pt x="245360" y="22553"/>
                    </a:cubicBezTo>
                    <a:lnTo>
                      <a:pt x="230622" y="47662"/>
                    </a:lnTo>
                    <a:cubicBezTo>
                      <a:pt x="207696" y="41658"/>
                      <a:pt x="183679" y="41658"/>
                      <a:pt x="160207" y="47662"/>
                    </a:cubicBezTo>
                    <a:lnTo>
                      <a:pt x="145469" y="22553"/>
                    </a:lnTo>
                    <a:cubicBezTo>
                      <a:pt x="140011" y="12728"/>
                      <a:pt x="127456" y="9453"/>
                      <a:pt x="117630" y="14911"/>
                    </a:cubicBezTo>
                    <a:lnTo>
                      <a:pt x="89792" y="30741"/>
                    </a:lnTo>
                    <a:cubicBezTo>
                      <a:pt x="79967" y="36199"/>
                      <a:pt x="76692" y="48754"/>
                      <a:pt x="82150" y="58579"/>
                    </a:cubicBezTo>
                    <a:lnTo>
                      <a:pt x="96343" y="83688"/>
                    </a:lnTo>
                    <a:cubicBezTo>
                      <a:pt x="78875" y="101156"/>
                      <a:pt x="67412" y="122444"/>
                      <a:pt x="61408" y="144278"/>
                    </a:cubicBezTo>
                    <a:lnTo>
                      <a:pt x="32478" y="144278"/>
                    </a:lnTo>
                    <a:cubicBezTo>
                      <a:pt x="21561" y="144278"/>
                      <a:pt x="12282" y="153557"/>
                      <a:pt x="12282" y="164474"/>
                    </a:cubicBezTo>
                    <a:lnTo>
                      <a:pt x="12282" y="196679"/>
                    </a:lnTo>
                    <a:cubicBezTo>
                      <a:pt x="12282" y="207596"/>
                      <a:pt x="21561" y="216876"/>
                      <a:pt x="32478" y="216876"/>
                    </a:cubicBezTo>
                    <a:lnTo>
                      <a:pt x="61408" y="216876"/>
                    </a:lnTo>
                    <a:cubicBezTo>
                      <a:pt x="67412" y="239256"/>
                      <a:pt x="78875" y="259998"/>
                      <a:pt x="96343" y="277465"/>
                    </a:cubicBezTo>
                    <a:lnTo>
                      <a:pt x="82150" y="302575"/>
                    </a:lnTo>
                    <a:cubicBezTo>
                      <a:pt x="76692" y="312400"/>
                      <a:pt x="79967" y="324409"/>
                      <a:pt x="89792" y="330413"/>
                    </a:cubicBezTo>
                    <a:lnTo>
                      <a:pt x="117630" y="346243"/>
                    </a:lnTo>
                    <a:cubicBezTo>
                      <a:pt x="127456" y="351701"/>
                      <a:pt x="139464" y="348426"/>
                      <a:pt x="145469" y="338601"/>
                    </a:cubicBezTo>
                    <a:lnTo>
                      <a:pt x="160207" y="313492"/>
                    </a:lnTo>
                    <a:cubicBezTo>
                      <a:pt x="183132" y="319496"/>
                      <a:pt x="207696" y="319496"/>
                      <a:pt x="230622" y="313492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1" name="Freihandform: Form 69">
                <a:extLst>
                  <a:ext uri="{FF2B5EF4-FFF2-40B4-BE49-F238E27FC236}">
                    <a16:creationId xmlns:a16="http://schemas.microsoft.com/office/drawing/2014/main" id="{E6955055-7556-2D8E-864C-726CF1186A29}"/>
                  </a:ext>
                </a:extLst>
              </p:cNvPr>
              <p:cNvSpPr/>
              <p:nvPr/>
            </p:nvSpPr>
            <p:spPr bwMode="gray">
              <a:xfrm>
                <a:off x="9950775" y="7309727"/>
                <a:ext cx="294759" cy="283842"/>
              </a:xfrm>
              <a:custGeom>
                <a:avLst/>
                <a:gdLst>
                  <a:gd name="connsiteX0" fmla="*/ 251396 w 294759"/>
                  <a:gd name="connsiteY0" fmla="*/ 162354 h 283842"/>
                  <a:gd name="connsiteX1" fmla="*/ 273230 w 294759"/>
                  <a:gd name="connsiteY1" fmla="*/ 160716 h 283842"/>
                  <a:gd name="connsiteX2" fmla="*/ 287422 w 294759"/>
                  <a:gd name="connsiteY2" fmla="*/ 144341 h 283842"/>
                  <a:gd name="connsiteX3" fmla="*/ 285785 w 294759"/>
                  <a:gd name="connsiteY3" fmla="*/ 120324 h 283842"/>
                  <a:gd name="connsiteX4" fmla="*/ 269409 w 294759"/>
                  <a:gd name="connsiteY4" fmla="*/ 106131 h 283842"/>
                  <a:gd name="connsiteX5" fmla="*/ 247575 w 294759"/>
                  <a:gd name="connsiteY5" fmla="*/ 107769 h 283842"/>
                  <a:gd name="connsiteX6" fmla="*/ 217553 w 294759"/>
                  <a:gd name="connsiteY6" fmla="*/ 64101 h 283842"/>
                  <a:gd name="connsiteX7" fmla="*/ 226833 w 294759"/>
                  <a:gd name="connsiteY7" fmla="*/ 44450 h 283842"/>
                  <a:gd name="connsiteX8" fmla="*/ 219736 w 294759"/>
                  <a:gd name="connsiteY8" fmla="*/ 24254 h 283842"/>
                  <a:gd name="connsiteX9" fmla="*/ 197902 w 294759"/>
                  <a:gd name="connsiteY9" fmla="*/ 13883 h 283842"/>
                  <a:gd name="connsiteX10" fmla="*/ 177706 w 294759"/>
                  <a:gd name="connsiteY10" fmla="*/ 20979 h 283842"/>
                  <a:gd name="connsiteX11" fmla="*/ 168427 w 294759"/>
                  <a:gd name="connsiteY11" fmla="*/ 40629 h 283842"/>
                  <a:gd name="connsiteX12" fmla="*/ 116025 w 294759"/>
                  <a:gd name="connsiteY12" fmla="*/ 44450 h 283842"/>
                  <a:gd name="connsiteX13" fmla="*/ 103471 w 294759"/>
                  <a:gd name="connsiteY13" fmla="*/ 26437 h 283842"/>
                  <a:gd name="connsiteX14" fmla="*/ 82182 w 294759"/>
                  <a:gd name="connsiteY14" fmla="*/ 22616 h 283842"/>
                  <a:gd name="connsiteX15" fmla="*/ 62532 w 294759"/>
                  <a:gd name="connsiteY15" fmla="*/ 36262 h 283842"/>
                  <a:gd name="connsiteX16" fmla="*/ 58711 w 294759"/>
                  <a:gd name="connsiteY16" fmla="*/ 57551 h 283842"/>
                  <a:gd name="connsiteX17" fmla="*/ 71265 w 294759"/>
                  <a:gd name="connsiteY17" fmla="*/ 75564 h 283842"/>
                  <a:gd name="connsiteX18" fmla="*/ 48339 w 294759"/>
                  <a:gd name="connsiteY18" fmla="*/ 123053 h 283842"/>
                  <a:gd name="connsiteX19" fmla="*/ 26505 w 294759"/>
                  <a:gd name="connsiteY19" fmla="*/ 124690 h 283842"/>
                  <a:gd name="connsiteX20" fmla="*/ 12313 w 294759"/>
                  <a:gd name="connsiteY20" fmla="*/ 141066 h 283842"/>
                  <a:gd name="connsiteX21" fmla="*/ 13951 w 294759"/>
                  <a:gd name="connsiteY21" fmla="*/ 165083 h 283842"/>
                  <a:gd name="connsiteX22" fmla="*/ 30326 w 294759"/>
                  <a:gd name="connsiteY22" fmla="*/ 179275 h 283842"/>
                  <a:gd name="connsiteX23" fmla="*/ 52160 w 294759"/>
                  <a:gd name="connsiteY23" fmla="*/ 177638 h 283842"/>
                  <a:gd name="connsiteX24" fmla="*/ 82182 w 294759"/>
                  <a:gd name="connsiteY24" fmla="*/ 221306 h 283842"/>
                  <a:gd name="connsiteX25" fmla="*/ 72903 w 294759"/>
                  <a:gd name="connsiteY25" fmla="*/ 240956 h 283842"/>
                  <a:gd name="connsiteX26" fmla="*/ 79999 w 294759"/>
                  <a:gd name="connsiteY26" fmla="*/ 261153 h 283842"/>
                  <a:gd name="connsiteX27" fmla="*/ 101833 w 294759"/>
                  <a:gd name="connsiteY27" fmla="*/ 271524 h 283842"/>
                  <a:gd name="connsiteX28" fmla="*/ 122029 w 294759"/>
                  <a:gd name="connsiteY28" fmla="*/ 264428 h 283842"/>
                  <a:gd name="connsiteX29" fmla="*/ 131309 w 294759"/>
                  <a:gd name="connsiteY29" fmla="*/ 244777 h 283842"/>
                  <a:gd name="connsiteX30" fmla="*/ 183710 w 294759"/>
                  <a:gd name="connsiteY30" fmla="*/ 240956 h 283842"/>
                  <a:gd name="connsiteX31" fmla="*/ 196265 w 294759"/>
                  <a:gd name="connsiteY31" fmla="*/ 258970 h 283842"/>
                  <a:gd name="connsiteX32" fmla="*/ 217553 w 294759"/>
                  <a:gd name="connsiteY32" fmla="*/ 262790 h 283842"/>
                  <a:gd name="connsiteX33" fmla="*/ 237204 w 294759"/>
                  <a:gd name="connsiteY33" fmla="*/ 249144 h 283842"/>
                  <a:gd name="connsiteX34" fmla="*/ 241025 w 294759"/>
                  <a:gd name="connsiteY34" fmla="*/ 227856 h 283842"/>
                  <a:gd name="connsiteX35" fmla="*/ 228471 w 294759"/>
                  <a:gd name="connsiteY35" fmla="*/ 209843 h 283842"/>
                  <a:gd name="connsiteX36" fmla="*/ 251396 w 294759"/>
                  <a:gd name="connsiteY36" fmla="*/ 162354 h 283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94759" h="283842">
                    <a:moveTo>
                      <a:pt x="251396" y="162354"/>
                    </a:moveTo>
                    <a:lnTo>
                      <a:pt x="273230" y="160716"/>
                    </a:lnTo>
                    <a:cubicBezTo>
                      <a:pt x="281418" y="160171"/>
                      <a:pt x="287968" y="152529"/>
                      <a:pt x="287422" y="144341"/>
                    </a:cubicBezTo>
                    <a:lnTo>
                      <a:pt x="285785" y="120324"/>
                    </a:lnTo>
                    <a:cubicBezTo>
                      <a:pt x="285238" y="112136"/>
                      <a:pt x="277597" y="105585"/>
                      <a:pt x="269409" y="106131"/>
                    </a:cubicBezTo>
                    <a:lnTo>
                      <a:pt x="247575" y="107769"/>
                    </a:lnTo>
                    <a:cubicBezTo>
                      <a:pt x="241570" y="90302"/>
                      <a:pt x="230653" y="75564"/>
                      <a:pt x="217553" y="64101"/>
                    </a:cubicBezTo>
                    <a:lnTo>
                      <a:pt x="226833" y="44450"/>
                    </a:lnTo>
                    <a:cubicBezTo>
                      <a:pt x="230653" y="36808"/>
                      <a:pt x="227378" y="28075"/>
                      <a:pt x="219736" y="24254"/>
                    </a:cubicBezTo>
                    <a:lnTo>
                      <a:pt x="197902" y="13883"/>
                    </a:lnTo>
                    <a:cubicBezTo>
                      <a:pt x="190261" y="10062"/>
                      <a:pt x="181527" y="13337"/>
                      <a:pt x="177706" y="20979"/>
                    </a:cubicBezTo>
                    <a:lnTo>
                      <a:pt x="168427" y="40629"/>
                    </a:lnTo>
                    <a:cubicBezTo>
                      <a:pt x="151505" y="37354"/>
                      <a:pt x="133492" y="38446"/>
                      <a:pt x="116025" y="44450"/>
                    </a:cubicBezTo>
                    <a:lnTo>
                      <a:pt x="103471" y="26437"/>
                    </a:lnTo>
                    <a:cubicBezTo>
                      <a:pt x="98558" y="19341"/>
                      <a:pt x="89278" y="17703"/>
                      <a:pt x="82182" y="22616"/>
                    </a:cubicBezTo>
                    <a:lnTo>
                      <a:pt x="62532" y="36262"/>
                    </a:lnTo>
                    <a:cubicBezTo>
                      <a:pt x="55435" y="41175"/>
                      <a:pt x="53798" y="50455"/>
                      <a:pt x="58711" y="57551"/>
                    </a:cubicBezTo>
                    <a:lnTo>
                      <a:pt x="71265" y="75564"/>
                    </a:lnTo>
                    <a:cubicBezTo>
                      <a:pt x="59803" y="89210"/>
                      <a:pt x="52160" y="105585"/>
                      <a:pt x="48339" y="123053"/>
                    </a:cubicBezTo>
                    <a:lnTo>
                      <a:pt x="26505" y="124690"/>
                    </a:lnTo>
                    <a:cubicBezTo>
                      <a:pt x="18318" y="125236"/>
                      <a:pt x="11767" y="132878"/>
                      <a:pt x="12313" y="141066"/>
                    </a:cubicBezTo>
                    <a:lnTo>
                      <a:pt x="13951" y="165083"/>
                    </a:lnTo>
                    <a:cubicBezTo>
                      <a:pt x="14497" y="173271"/>
                      <a:pt x="22139" y="179821"/>
                      <a:pt x="30326" y="179275"/>
                    </a:cubicBezTo>
                    <a:lnTo>
                      <a:pt x="52160" y="177638"/>
                    </a:lnTo>
                    <a:cubicBezTo>
                      <a:pt x="58165" y="195105"/>
                      <a:pt x="69082" y="209843"/>
                      <a:pt x="82182" y="221306"/>
                    </a:cubicBezTo>
                    <a:lnTo>
                      <a:pt x="72903" y="240956"/>
                    </a:lnTo>
                    <a:cubicBezTo>
                      <a:pt x="69082" y="248598"/>
                      <a:pt x="72357" y="257332"/>
                      <a:pt x="79999" y="261153"/>
                    </a:cubicBezTo>
                    <a:lnTo>
                      <a:pt x="101833" y="271524"/>
                    </a:lnTo>
                    <a:cubicBezTo>
                      <a:pt x="109475" y="275345"/>
                      <a:pt x="118208" y="272070"/>
                      <a:pt x="122029" y="264428"/>
                    </a:cubicBezTo>
                    <a:lnTo>
                      <a:pt x="131309" y="244777"/>
                    </a:lnTo>
                    <a:cubicBezTo>
                      <a:pt x="148230" y="248053"/>
                      <a:pt x="166243" y="246961"/>
                      <a:pt x="183710" y="240956"/>
                    </a:cubicBezTo>
                    <a:lnTo>
                      <a:pt x="196265" y="258970"/>
                    </a:lnTo>
                    <a:cubicBezTo>
                      <a:pt x="201178" y="266066"/>
                      <a:pt x="210457" y="267703"/>
                      <a:pt x="217553" y="262790"/>
                    </a:cubicBezTo>
                    <a:lnTo>
                      <a:pt x="237204" y="249144"/>
                    </a:lnTo>
                    <a:cubicBezTo>
                      <a:pt x="244300" y="244232"/>
                      <a:pt x="245937" y="234952"/>
                      <a:pt x="241025" y="227856"/>
                    </a:cubicBezTo>
                    <a:lnTo>
                      <a:pt x="228471" y="209843"/>
                    </a:lnTo>
                    <a:cubicBezTo>
                      <a:pt x="239933" y="196197"/>
                      <a:pt x="248121" y="179821"/>
                      <a:pt x="251396" y="162354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2" name="Freihandform: Form 70">
                <a:extLst>
                  <a:ext uri="{FF2B5EF4-FFF2-40B4-BE49-F238E27FC236}">
                    <a16:creationId xmlns:a16="http://schemas.microsoft.com/office/drawing/2014/main" id="{771509DF-D629-194E-B879-AA91EB43448D}"/>
                  </a:ext>
                </a:extLst>
              </p:cNvPr>
              <p:cNvSpPr/>
              <p:nvPr/>
            </p:nvSpPr>
            <p:spPr bwMode="gray">
              <a:xfrm>
                <a:off x="10048514" y="7400847"/>
                <a:ext cx="98253" cy="98253"/>
              </a:xfrm>
              <a:custGeom>
                <a:avLst/>
                <a:gdLst>
                  <a:gd name="connsiteX0" fmla="*/ 90884 w 98253"/>
                  <a:gd name="connsiteY0" fmla="*/ 51583 h 98253"/>
                  <a:gd name="connsiteX1" fmla="*/ 51583 w 98253"/>
                  <a:gd name="connsiteY1" fmla="*/ 12282 h 98253"/>
                  <a:gd name="connsiteX2" fmla="*/ 12282 w 98253"/>
                  <a:gd name="connsiteY2" fmla="*/ 51583 h 98253"/>
                  <a:gd name="connsiteX3" fmla="*/ 51583 w 98253"/>
                  <a:gd name="connsiteY3" fmla="*/ 90884 h 98253"/>
                  <a:gd name="connsiteX4" fmla="*/ 90884 w 98253"/>
                  <a:gd name="connsiteY4" fmla="*/ 51583 h 9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253" h="98253">
                    <a:moveTo>
                      <a:pt x="90884" y="51583"/>
                    </a:moveTo>
                    <a:cubicBezTo>
                      <a:pt x="90884" y="29749"/>
                      <a:pt x="73417" y="12282"/>
                      <a:pt x="51583" y="12282"/>
                    </a:cubicBezTo>
                    <a:cubicBezTo>
                      <a:pt x="29749" y="12282"/>
                      <a:pt x="12282" y="29749"/>
                      <a:pt x="12282" y="51583"/>
                    </a:cubicBezTo>
                    <a:cubicBezTo>
                      <a:pt x="12282" y="73417"/>
                      <a:pt x="29749" y="90884"/>
                      <a:pt x="51583" y="90884"/>
                    </a:cubicBezTo>
                    <a:cubicBezTo>
                      <a:pt x="73417" y="90884"/>
                      <a:pt x="90884" y="73417"/>
                      <a:pt x="90884" y="5158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3" name="Freihandform: Form 71">
                <a:extLst>
                  <a:ext uri="{FF2B5EF4-FFF2-40B4-BE49-F238E27FC236}">
                    <a16:creationId xmlns:a16="http://schemas.microsoft.com/office/drawing/2014/main" id="{6C435044-BB94-7DEC-6EBE-82A8F50D05D4}"/>
                  </a:ext>
                </a:extLst>
              </p:cNvPr>
              <p:cNvSpPr/>
              <p:nvPr/>
            </p:nvSpPr>
            <p:spPr bwMode="gray">
              <a:xfrm>
                <a:off x="10047416" y="7835880"/>
                <a:ext cx="98253" cy="98252"/>
              </a:xfrm>
              <a:custGeom>
                <a:avLst/>
                <a:gdLst>
                  <a:gd name="connsiteX0" fmla="*/ 90884 w 98253"/>
                  <a:gd name="connsiteY0" fmla="*/ 51583 h 98253"/>
                  <a:gd name="connsiteX1" fmla="*/ 51583 w 98253"/>
                  <a:gd name="connsiteY1" fmla="*/ 90884 h 98253"/>
                  <a:gd name="connsiteX2" fmla="*/ 12282 w 98253"/>
                  <a:gd name="connsiteY2" fmla="*/ 51583 h 98253"/>
                  <a:gd name="connsiteX3" fmla="*/ 51583 w 98253"/>
                  <a:gd name="connsiteY3" fmla="*/ 12282 h 98253"/>
                  <a:gd name="connsiteX4" fmla="*/ 90884 w 98253"/>
                  <a:gd name="connsiteY4" fmla="*/ 51583 h 9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253" h="98253">
                    <a:moveTo>
                      <a:pt x="90884" y="51583"/>
                    </a:moveTo>
                    <a:cubicBezTo>
                      <a:pt x="90884" y="73288"/>
                      <a:pt x="73289" y="90884"/>
                      <a:pt x="51583" y="90884"/>
                    </a:cubicBezTo>
                    <a:cubicBezTo>
                      <a:pt x="29878" y="90884"/>
                      <a:pt x="12282" y="73288"/>
                      <a:pt x="12282" y="51583"/>
                    </a:cubicBezTo>
                    <a:cubicBezTo>
                      <a:pt x="12282" y="29877"/>
                      <a:pt x="29878" y="12282"/>
                      <a:pt x="51583" y="12282"/>
                    </a:cubicBezTo>
                    <a:cubicBezTo>
                      <a:pt x="73289" y="12282"/>
                      <a:pt x="90884" y="29877"/>
                      <a:pt x="90884" y="5158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4" name="Freihandform: Form 72">
                <a:extLst>
                  <a:ext uri="{FF2B5EF4-FFF2-40B4-BE49-F238E27FC236}">
                    <a16:creationId xmlns:a16="http://schemas.microsoft.com/office/drawing/2014/main" id="{F35CB20C-8105-5ABF-2A0A-2C6AEDB573DC}"/>
                  </a:ext>
                </a:extLst>
              </p:cNvPr>
              <p:cNvSpPr/>
              <p:nvPr/>
            </p:nvSpPr>
            <p:spPr bwMode="gray">
              <a:xfrm>
                <a:off x="10304648" y="7621507"/>
                <a:ext cx="92795" cy="92795"/>
              </a:xfrm>
              <a:custGeom>
                <a:avLst/>
                <a:gdLst>
                  <a:gd name="connsiteX0" fmla="*/ 72189 w 92794"/>
                  <a:gd name="connsiteY0" fmla="*/ 22516 h 92794"/>
                  <a:gd name="connsiteX1" fmla="*/ 22516 w 92794"/>
                  <a:gd name="connsiteY1" fmla="*/ 22516 h 92794"/>
                  <a:gd name="connsiteX2" fmla="*/ 22516 w 92794"/>
                  <a:gd name="connsiteY2" fmla="*/ 72189 h 92794"/>
                  <a:gd name="connsiteX3" fmla="*/ 72189 w 92794"/>
                  <a:gd name="connsiteY3" fmla="*/ 72189 h 92794"/>
                  <a:gd name="connsiteX4" fmla="*/ 72189 w 92794"/>
                  <a:gd name="connsiteY4" fmla="*/ 22516 h 92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794" h="92794">
                    <a:moveTo>
                      <a:pt x="72189" y="22516"/>
                    </a:moveTo>
                    <a:cubicBezTo>
                      <a:pt x="58542" y="8870"/>
                      <a:pt x="36163" y="8870"/>
                      <a:pt x="22516" y="22516"/>
                    </a:cubicBezTo>
                    <a:cubicBezTo>
                      <a:pt x="8870" y="36163"/>
                      <a:pt x="8870" y="58543"/>
                      <a:pt x="22516" y="72189"/>
                    </a:cubicBezTo>
                    <a:cubicBezTo>
                      <a:pt x="36163" y="85835"/>
                      <a:pt x="58542" y="85835"/>
                      <a:pt x="72189" y="72189"/>
                    </a:cubicBezTo>
                    <a:cubicBezTo>
                      <a:pt x="85835" y="58543"/>
                      <a:pt x="85835" y="36163"/>
                      <a:pt x="72189" y="22516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1" name="Gruppieren 73">
              <a:extLst>
                <a:ext uri="{FF2B5EF4-FFF2-40B4-BE49-F238E27FC236}">
                  <a16:creationId xmlns:a16="http://schemas.microsoft.com/office/drawing/2014/main" id="{ABB9B36C-3783-A318-6B73-FAA9D6335EDF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1089361" y="1658945"/>
              <a:ext cx="409880" cy="419491"/>
              <a:chOff x="9963221" y="4066766"/>
              <a:chExt cx="630632" cy="645417"/>
            </a:xfrm>
          </p:grpSpPr>
          <p:sp>
            <p:nvSpPr>
              <p:cNvPr id="116" name="Freihandform: Form 74">
                <a:extLst>
                  <a:ext uri="{FF2B5EF4-FFF2-40B4-BE49-F238E27FC236}">
                    <a16:creationId xmlns:a16="http://schemas.microsoft.com/office/drawing/2014/main" id="{54D0EA2A-2430-277B-440F-CA1A7A33ABAC}"/>
                  </a:ext>
                </a:extLst>
              </p:cNvPr>
              <p:cNvSpPr/>
              <p:nvPr/>
            </p:nvSpPr>
            <p:spPr bwMode="gray">
              <a:xfrm>
                <a:off x="10292469" y="4184476"/>
                <a:ext cx="301384" cy="420801"/>
              </a:xfrm>
              <a:custGeom>
                <a:avLst/>
                <a:gdLst>
                  <a:gd name="connsiteX0" fmla="*/ 303601 w 431679"/>
                  <a:gd name="connsiteY0" fmla="*/ 15272 h 602722"/>
                  <a:gd name="connsiteX1" fmla="*/ 240885 w 431679"/>
                  <a:gd name="connsiteY1" fmla="*/ 77987 h 602722"/>
                  <a:gd name="connsiteX2" fmla="*/ 15272 w 431679"/>
                  <a:gd name="connsiteY2" fmla="*/ 303601 h 602722"/>
                  <a:gd name="connsiteX3" fmla="*/ 240885 w 431679"/>
                  <a:gd name="connsiteY3" fmla="*/ 529214 h 602722"/>
                  <a:gd name="connsiteX4" fmla="*/ 303601 w 431679"/>
                  <a:gd name="connsiteY4" fmla="*/ 591930 h 602722"/>
                  <a:gd name="connsiteX5" fmla="*/ 423331 w 431679"/>
                  <a:gd name="connsiteY5" fmla="*/ 303601 h 602722"/>
                  <a:gd name="connsiteX6" fmla="*/ 303601 w 431679"/>
                  <a:gd name="connsiteY6" fmla="*/ 15272 h 602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1679" h="602722">
                    <a:moveTo>
                      <a:pt x="303601" y="15272"/>
                    </a:moveTo>
                    <a:lnTo>
                      <a:pt x="240885" y="77987"/>
                    </a:lnTo>
                    <a:lnTo>
                      <a:pt x="15272" y="303601"/>
                    </a:lnTo>
                    <a:lnTo>
                      <a:pt x="240885" y="529214"/>
                    </a:lnTo>
                    <a:lnTo>
                      <a:pt x="303601" y="591930"/>
                    </a:lnTo>
                    <a:cubicBezTo>
                      <a:pt x="377719" y="517812"/>
                      <a:pt x="423331" y="416000"/>
                      <a:pt x="423331" y="303601"/>
                    </a:cubicBezTo>
                    <a:cubicBezTo>
                      <a:pt x="423331" y="190387"/>
                      <a:pt x="377719" y="88576"/>
                      <a:pt x="303601" y="15272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7" name="Freihandform: Form 75">
                <a:extLst>
                  <a:ext uri="{FF2B5EF4-FFF2-40B4-BE49-F238E27FC236}">
                    <a16:creationId xmlns:a16="http://schemas.microsoft.com/office/drawing/2014/main" id="{D662DE44-7957-F1BE-EDA5-0523BBB32430}"/>
                  </a:ext>
                </a:extLst>
              </p:cNvPr>
              <p:cNvSpPr/>
              <p:nvPr/>
            </p:nvSpPr>
            <p:spPr bwMode="gray">
              <a:xfrm>
                <a:off x="10258918" y="4066766"/>
                <a:ext cx="221774" cy="301384"/>
              </a:xfrm>
              <a:custGeom>
                <a:avLst/>
                <a:gdLst>
                  <a:gd name="connsiteX0" fmla="*/ 303601 w 317650"/>
                  <a:gd name="connsiteY0" fmla="*/ 135002 h 431679"/>
                  <a:gd name="connsiteX1" fmla="*/ 15272 w 317650"/>
                  <a:gd name="connsiteY1" fmla="*/ 15272 h 431679"/>
                  <a:gd name="connsiteX2" fmla="*/ 15272 w 317650"/>
                  <a:gd name="connsiteY2" fmla="*/ 422516 h 431679"/>
                  <a:gd name="connsiteX3" fmla="*/ 303601 w 317650"/>
                  <a:gd name="connsiteY3" fmla="*/ 135002 h 431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7650" h="431679">
                    <a:moveTo>
                      <a:pt x="303601" y="135002"/>
                    </a:moveTo>
                    <a:cubicBezTo>
                      <a:pt x="229482" y="60883"/>
                      <a:pt x="127671" y="15272"/>
                      <a:pt x="15272" y="15272"/>
                    </a:cubicBezTo>
                    <a:lnTo>
                      <a:pt x="15272" y="422516"/>
                    </a:lnTo>
                    <a:lnTo>
                      <a:pt x="303601" y="13500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8" name="Freihandform: Form 76">
                <a:extLst>
                  <a:ext uri="{FF2B5EF4-FFF2-40B4-BE49-F238E27FC236}">
                    <a16:creationId xmlns:a16="http://schemas.microsoft.com/office/drawing/2014/main" id="{8F7A7D56-F659-F905-65F8-7F950691FD32}"/>
                  </a:ext>
                </a:extLst>
              </p:cNvPr>
              <p:cNvSpPr/>
              <p:nvPr/>
            </p:nvSpPr>
            <p:spPr bwMode="gray">
              <a:xfrm>
                <a:off x="10057617" y="4067334"/>
                <a:ext cx="221774" cy="301384"/>
              </a:xfrm>
              <a:custGeom>
                <a:avLst/>
                <a:gdLst>
                  <a:gd name="connsiteX0" fmla="*/ 303601 w 317650"/>
                  <a:gd name="connsiteY0" fmla="*/ 15272 h 431679"/>
                  <a:gd name="connsiteX1" fmla="*/ 15272 w 317650"/>
                  <a:gd name="connsiteY1" fmla="*/ 135002 h 431679"/>
                  <a:gd name="connsiteX2" fmla="*/ 303601 w 317650"/>
                  <a:gd name="connsiteY2" fmla="*/ 422516 h 431679"/>
                  <a:gd name="connsiteX3" fmla="*/ 303601 w 317650"/>
                  <a:gd name="connsiteY3" fmla="*/ 15272 h 431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7650" h="431679">
                    <a:moveTo>
                      <a:pt x="303601" y="15272"/>
                    </a:moveTo>
                    <a:cubicBezTo>
                      <a:pt x="191202" y="15272"/>
                      <a:pt x="89390" y="60883"/>
                      <a:pt x="15272" y="135002"/>
                    </a:cubicBezTo>
                    <a:lnTo>
                      <a:pt x="303601" y="422516"/>
                    </a:lnTo>
                    <a:lnTo>
                      <a:pt x="303601" y="152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9" name="Freihandform: Form 77">
                <a:extLst>
                  <a:ext uri="{FF2B5EF4-FFF2-40B4-BE49-F238E27FC236}">
                    <a16:creationId xmlns:a16="http://schemas.microsoft.com/office/drawing/2014/main" id="{64987D8D-2DAE-6CBA-F404-A2C960CF20A5}"/>
                  </a:ext>
                </a:extLst>
              </p:cNvPr>
              <p:cNvSpPr/>
              <p:nvPr/>
            </p:nvSpPr>
            <p:spPr bwMode="gray">
              <a:xfrm>
                <a:off x="9963221" y="4206085"/>
                <a:ext cx="506098" cy="506098"/>
              </a:xfrm>
              <a:custGeom>
                <a:avLst/>
                <a:gdLst>
                  <a:gd name="connsiteX0" fmla="*/ 135002 w 724895"/>
                  <a:gd name="connsiteY0" fmla="*/ 15272 h 724895"/>
                  <a:gd name="connsiteX1" fmla="*/ 15272 w 724895"/>
                  <a:gd name="connsiteY1" fmla="*/ 303601 h 724895"/>
                  <a:gd name="connsiteX2" fmla="*/ 422516 w 724895"/>
                  <a:gd name="connsiteY2" fmla="*/ 710846 h 724895"/>
                  <a:gd name="connsiteX3" fmla="*/ 710845 w 724895"/>
                  <a:gd name="connsiteY3" fmla="*/ 591116 h 724895"/>
                  <a:gd name="connsiteX4" fmla="*/ 422516 w 724895"/>
                  <a:gd name="connsiteY4" fmla="*/ 302786 h 724895"/>
                  <a:gd name="connsiteX5" fmla="*/ 135002 w 724895"/>
                  <a:gd name="connsiteY5" fmla="*/ 15272 h 72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24895" h="724895">
                    <a:moveTo>
                      <a:pt x="135002" y="15272"/>
                    </a:moveTo>
                    <a:cubicBezTo>
                      <a:pt x="60883" y="89390"/>
                      <a:pt x="15272" y="191201"/>
                      <a:pt x="15272" y="303601"/>
                    </a:cubicBezTo>
                    <a:cubicBezTo>
                      <a:pt x="15272" y="528400"/>
                      <a:pt x="197717" y="710846"/>
                      <a:pt x="422516" y="710846"/>
                    </a:cubicBezTo>
                    <a:cubicBezTo>
                      <a:pt x="534916" y="710846"/>
                      <a:pt x="636727" y="665234"/>
                      <a:pt x="710845" y="591116"/>
                    </a:cubicBezTo>
                    <a:lnTo>
                      <a:pt x="422516" y="302786"/>
                    </a:lnTo>
                    <a:lnTo>
                      <a:pt x="135002" y="152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2" name="Gruppieren 113">
              <a:extLst>
                <a:ext uri="{FF2B5EF4-FFF2-40B4-BE49-F238E27FC236}">
                  <a16:creationId xmlns:a16="http://schemas.microsoft.com/office/drawing/2014/main" id="{D9242F86-0DB3-5217-BC8F-CBA94D8F08D3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804295" y="1648614"/>
              <a:ext cx="459493" cy="260893"/>
              <a:chOff x="1806086" y="4262696"/>
              <a:chExt cx="785404" cy="445939"/>
            </a:xfrm>
          </p:grpSpPr>
          <p:sp>
            <p:nvSpPr>
              <p:cNvPr id="101" name="Freihandform: Form 114">
                <a:extLst>
                  <a:ext uri="{FF2B5EF4-FFF2-40B4-BE49-F238E27FC236}">
                    <a16:creationId xmlns:a16="http://schemas.microsoft.com/office/drawing/2014/main" id="{06B9728C-DCDE-F931-F36B-43869ACD66AE}"/>
                  </a:ext>
                </a:extLst>
              </p:cNvPr>
              <p:cNvSpPr/>
              <p:nvPr/>
            </p:nvSpPr>
            <p:spPr bwMode="gray">
              <a:xfrm>
                <a:off x="2101573" y="4373664"/>
                <a:ext cx="292270" cy="163671"/>
              </a:xfrm>
              <a:custGeom>
                <a:avLst/>
                <a:gdLst>
                  <a:gd name="connsiteX0" fmla="*/ 282330 w 293320"/>
                  <a:gd name="connsiteY0" fmla="*/ 132794 h 164259"/>
                  <a:gd name="connsiteX1" fmla="*/ 129017 w 293320"/>
                  <a:gd name="connsiteY1" fmla="*/ 94633 h 164259"/>
                  <a:gd name="connsiteX2" fmla="*/ 75768 w 293320"/>
                  <a:gd name="connsiteY2" fmla="*/ 96059 h 164259"/>
                  <a:gd name="connsiteX3" fmla="*/ 22014 w 293320"/>
                  <a:gd name="connsiteY3" fmla="*/ 125320 h 164259"/>
                  <a:gd name="connsiteX4" fmla="*/ 13894 w 293320"/>
                  <a:gd name="connsiteY4" fmla="*/ 106213 h 164259"/>
                  <a:gd name="connsiteX5" fmla="*/ 24372 w 293320"/>
                  <a:gd name="connsiteY5" fmla="*/ 70246 h 164259"/>
                  <a:gd name="connsiteX6" fmla="*/ 55347 w 293320"/>
                  <a:gd name="connsiteY6" fmla="*/ 34931 h 164259"/>
                  <a:gd name="connsiteX7" fmla="*/ 94957 w 293320"/>
                  <a:gd name="connsiteY7" fmla="*/ 17495 h 164259"/>
                  <a:gd name="connsiteX8" fmla="*/ 139670 w 293320"/>
                  <a:gd name="connsiteY8" fmla="*/ 16252 h 164259"/>
                  <a:gd name="connsiteX9" fmla="*/ 242931 w 293320"/>
                  <a:gd name="connsiteY9" fmla="*/ 40703 h 164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3320" h="164259">
                    <a:moveTo>
                      <a:pt x="282330" y="132794"/>
                    </a:moveTo>
                    <a:cubicBezTo>
                      <a:pt x="194522" y="191746"/>
                      <a:pt x="129017" y="94633"/>
                      <a:pt x="129017" y="94633"/>
                    </a:cubicBezTo>
                    <a:cubicBezTo>
                      <a:pt x="97978" y="52201"/>
                      <a:pt x="75768" y="96059"/>
                      <a:pt x="75768" y="96059"/>
                    </a:cubicBezTo>
                    <a:cubicBezTo>
                      <a:pt x="59435" y="135733"/>
                      <a:pt x="35894" y="132131"/>
                      <a:pt x="22014" y="125320"/>
                    </a:cubicBezTo>
                    <a:cubicBezTo>
                      <a:pt x="15044" y="121747"/>
                      <a:pt x="11630" y="113705"/>
                      <a:pt x="13894" y="106213"/>
                    </a:cubicBezTo>
                    <a:lnTo>
                      <a:pt x="24372" y="70246"/>
                    </a:lnTo>
                    <a:cubicBezTo>
                      <a:pt x="28965" y="54477"/>
                      <a:pt x="40305" y="41542"/>
                      <a:pt x="55347" y="34931"/>
                    </a:cubicBezTo>
                    <a:lnTo>
                      <a:pt x="94957" y="17495"/>
                    </a:lnTo>
                    <a:cubicBezTo>
                      <a:pt x="109124" y="11265"/>
                      <a:pt x="122183" y="12685"/>
                      <a:pt x="139670" y="16252"/>
                    </a:cubicBezTo>
                    <a:lnTo>
                      <a:pt x="242931" y="40703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2" name="Freihandform: Form 115">
                <a:extLst>
                  <a:ext uri="{FF2B5EF4-FFF2-40B4-BE49-F238E27FC236}">
                    <a16:creationId xmlns:a16="http://schemas.microsoft.com/office/drawing/2014/main" id="{78AF550E-8476-375B-CD17-4B44F7184322}"/>
                  </a:ext>
                </a:extLst>
              </p:cNvPr>
              <p:cNvSpPr/>
              <p:nvPr/>
            </p:nvSpPr>
            <p:spPr bwMode="gray">
              <a:xfrm>
                <a:off x="2281258" y="4492830"/>
                <a:ext cx="134444" cy="93527"/>
              </a:xfrm>
              <a:custGeom>
                <a:avLst/>
                <a:gdLst>
                  <a:gd name="connsiteX0" fmla="*/ 123805 w 134927"/>
                  <a:gd name="connsiteY0" fmla="*/ 64179 h 93862"/>
                  <a:gd name="connsiteX1" fmla="*/ 55801 w 134927"/>
                  <a:gd name="connsiteY1" fmla="*/ 85791 h 93862"/>
                  <a:gd name="connsiteX2" fmla="*/ 13199 w 134927"/>
                  <a:gd name="connsiteY2" fmla="*/ 26423 h 93862"/>
                  <a:gd name="connsiteX3" fmla="*/ 101999 w 134927"/>
                  <a:gd name="connsiteY3" fmla="*/ 13199 h 93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927" h="93862">
                    <a:moveTo>
                      <a:pt x="123805" y="64179"/>
                    </a:moveTo>
                    <a:lnTo>
                      <a:pt x="55801" y="85791"/>
                    </a:lnTo>
                    <a:lnTo>
                      <a:pt x="13199" y="26423"/>
                    </a:lnTo>
                    <a:cubicBezTo>
                      <a:pt x="13199" y="26423"/>
                      <a:pt x="62935" y="47019"/>
                      <a:pt x="101999" y="13199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3" name="Freihandform: Form 116">
                <a:extLst>
                  <a:ext uri="{FF2B5EF4-FFF2-40B4-BE49-F238E27FC236}">
                    <a16:creationId xmlns:a16="http://schemas.microsoft.com/office/drawing/2014/main" id="{5569A2BB-C379-D6F8-A6C7-050C48D329F1}"/>
                  </a:ext>
                </a:extLst>
              </p:cNvPr>
              <p:cNvSpPr/>
              <p:nvPr/>
            </p:nvSpPr>
            <p:spPr bwMode="gray">
              <a:xfrm>
                <a:off x="1806086" y="4262696"/>
                <a:ext cx="192898" cy="356569"/>
              </a:xfrm>
              <a:custGeom>
                <a:avLst/>
                <a:gdLst>
                  <a:gd name="connsiteX0" fmla="*/ 13199 w 193591"/>
                  <a:gd name="connsiteY0" fmla="*/ 13199 h 357851"/>
                  <a:gd name="connsiteX1" fmla="*/ 13199 w 193591"/>
                  <a:gd name="connsiteY1" fmla="*/ 321908 h 357851"/>
                  <a:gd name="connsiteX2" fmla="*/ 73577 w 193591"/>
                  <a:gd name="connsiteY2" fmla="*/ 345825 h 357851"/>
                  <a:gd name="connsiteX3" fmla="*/ 181794 w 193591"/>
                  <a:gd name="connsiteY3" fmla="*/ 81549 h 357851"/>
                  <a:gd name="connsiteX4" fmla="*/ 13199 w 193591"/>
                  <a:gd name="connsiteY4" fmla="*/ 13199 h 357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591" h="357851">
                    <a:moveTo>
                      <a:pt x="13199" y="13199"/>
                    </a:moveTo>
                    <a:lnTo>
                      <a:pt x="13199" y="321908"/>
                    </a:lnTo>
                    <a:lnTo>
                      <a:pt x="73577" y="345825"/>
                    </a:lnTo>
                    <a:lnTo>
                      <a:pt x="181794" y="81549"/>
                    </a:lnTo>
                    <a:lnTo>
                      <a:pt x="13199" y="13199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4" name="Freihandform: Form 117">
                <a:extLst>
                  <a:ext uri="{FF2B5EF4-FFF2-40B4-BE49-F238E27FC236}">
                    <a16:creationId xmlns:a16="http://schemas.microsoft.com/office/drawing/2014/main" id="{A3F5AB5A-43E9-E393-3160-DE7CF48BB2CC}"/>
                  </a:ext>
                </a:extLst>
              </p:cNvPr>
              <p:cNvSpPr/>
              <p:nvPr/>
            </p:nvSpPr>
            <p:spPr bwMode="gray">
              <a:xfrm>
                <a:off x="1898905" y="4352078"/>
                <a:ext cx="169516" cy="216279"/>
              </a:xfrm>
              <a:custGeom>
                <a:avLst/>
                <a:gdLst>
                  <a:gd name="connsiteX0" fmla="*/ 79895 w 170126"/>
                  <a:gd name="connsiteY0" fmla="*/ 13199 h 217057"/>
                  <a:gd name="connsiteX1" fmla="*/ 156991 w 170126"/>
                  <a:gd name="connsiteY1" fmla="*/ 45664 h 217057"/>
                  <a:gd name="connsiteX2" fmla="*/ 88642 w 170126"/>
                  <a:gd name="connsiteY2" fmla="*/ 205436 h 217057"/>
                  <a:gd name="connsiteX3" fmla="*/ 13199 w 170126"/>
                  <a:gd name="connsiteY3" fmla="*/ 176086 h 21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0126" h="217057">
                    <a:moveTo>
                      <a:pt x="79895" y="13199"/>
                    </a:moveTo>
                    <a:lnTo>
                      <a:pt x="156991" y="45664"/>
                    </a:lnTo>
                    <a:lnTo>
                      <a:pt x="88642" y="205436"/>
                    </a:lnTo>
                    <a:lnTo>
                      <a:pt x="13199" y="17608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5" name="Freihandform: Form 118">
                <a:extLst>
                  <a:ext uri="{FF2B5EF4-FFF2-40B4-BE49-F238E27FC236}">
                    <a16:creationId xmlns:a16="http://schemas.microsoft.com/office/drawing/2014/main" id="{9EA39D7F-F7D7-CCCF-50F3-F09C06ADAFBC}"/>
                  </a:ext>
                </a:extLst>
              </p:cNvPr>
              <p:cNvSpPr/>
              <p:nvPr/>
            </p:nvSpPr>
            <p:spPr bwMode="gray">
              <a:xfrm>
                <a:off x="2398592" y="4279337"/>
                <a:ext cx="192898" cy="356569"/>
              </a:xfrm>
              <a:custGeom>
                <a:avLst/>
                <a:gdLst>
                  <a:gd name="connsiteX0" fmla="*/ 181788 w 193591"/>
                  <a:gd name="connsiteY0" fmla="*/ 13199 h 357851"/>
                  <a:gd name="connsiteX1" fmla="*/ 181788 w 193591"/>
                  <a:gd name="connsiteY1" fmla="*/ 321908 h 357851"/>
                  <a:gd name="connsiteX2" fmla="*/ 121417 w 193591"/>
                  <a:gd name="connsiteY2" fmla="*/ 345825 h 357851"/>
                  <a:gd name="connsiteX3" fmla="*/ 13199 w 193591"/>
                  <a:gd name="connsiteY3" fmla="*/ 81543 h 357851"/>
                  <a:gd name="connsiteX4" fmla="*/ 181788 w 193591"/>
                  <a:gd name="connsiteY4" fmla="*/ 13199 h 357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591" h="357851">
                    <a:moveTo>
                      <a:pt x="181788" y="13199"/>
                    </a:moveTo>
                    <a:lnTo>
                      <a:pt x="181788" y="321908"/>
                    </a:lnTo>
                    <a:lnTo>
                      <a:pt x="121417" y="345825"/>
                    </a:lnTo>
                    <a:lnTo>
                      <a:pt x="13199" y="81543"/>
                    </a:lnTo>
                    <a:lnTo>
                      <a:pt x="181788" y="13199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6" name="Freihandform: Form 119">
                <a:extLst>
                  <a:ext uri="{FF2B5EF4-FFF2-40B4-BE49-F238E27FC236}">
                    <a16:creationId xmlns:a16="http://schemas.microsoft.com/office/drawing/2014/main" id="{96263BEA-84A6-4BCF-291B-7C05935D0CC6}"/>
                  </a:ext>
                </a:extLst>
              </p:cNvPr>
              <p:cNvSpPr/>
              <p:nvPr/>
            </p:nvSpPr>
            <p:spPr bwMode="gray">
              <a:xfrm>
                <a:off x="2330488" y="4368720"/>
                <a:ext cx="169516" cy="216279"/>
              </a:xfrm>
              <a:custGeom>
                <a:avLst/>
                <a:gdLst>
                  <a:gd name="connsiteX0" fmla="*/ 90290 w 170126"/>
                  <a:gd name="connsiteY0" fmla="*/ 13199 h 217057"/>
                  <a:gd name="connsiteX1" fmla="*/ 13199 w 170126"/>
                  <a:gd name="connsiteY1" fmla="*/ 45664 h 217057"/>
                  <a:gd name="connsiteX2" fmla="*/ 81549 w 170126"/>
                  <a:gd name="connsiteY2" fmla="*/ 205430 h 217057"/>
                  <a:gd name="connsiteX3" fmla="*/ 156991 w 170126"/>
                  <a:gd name="connsiteY3" fmla="*/ 176086 h 21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0126" h="217057">
                    <a:moveTo>
                      <a:pt x="90290" y="13199"/>
                    </a:moveTo>
                    <a:lnTo>
                      <a:pt x="13199" y="45664"/>
                    </a:lnTo>
                    <a:lnTo>
                      <a:pt x="81549" y="205430"/>
                    </a:lnTo>
                    <a:lnTo>
                      <a:pt x="156991" y="17608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7" name="Freihandform: Form 120">
                <a:extLst>
                  <a:ext uri="{FF2B5EF4-FFF2-40B4-BE49-F238E27FC236}">
                    <a16:creationId xmlns:a16="http://schemas.microsoft.com/office/drawing/2014/main" id="{AC88278D-9FDD-A6DF-E0BD-83990EAB7E49}"/>
                  </a:ext>
                </a:extLst>
              </p:cNvPr>
              <p:cNvSpPr/>
              <p:nvPr/>
            </p:nvSpPr>
            <p:spPr bwMode="gray">
              <a:xfrm>
                <a:off x="2218110" y="4505614"/>
                <a:ext cx="146134" cy="134444"/>
              </a:xfrm>
              <a:custGeom>
                <a:avLst/>
                <a:gdLst>
                  <a:gd name="connsiteX0" fmla="*/ 71523 w 146660"/>
                  <a:gd name="connsiteY0" fmla="*/ 13199 h 134927"/>
                  <a:gd name="connsiteX1" fmla="*/ 130158 w 146660"/>
                  <a:gd name="connsiteY1" fmla="*/ 86729 h 134927"/>
                  <a:gd name="connsiteX2" fmla="*/ 133531 w 146660"/>
                  <a:gd name="connsiteY2" fmla="*/ 106681 h 134927"/>
                  <a:gd name="connsiteX3" fmla="*/ 133531 w 146660"/>
                  <a:gd name="connsiteY3" fmla="*/ 106681 h 134927"/>
                  <a:gd name="connsiteX4" fmla="*/ 103143 w 146660"/>
                  <a:gd name="connsiteY4" fmla="*/ 121265 h 134927"/>
                  <a:gd name="connsiteX5" fmla="*/ 93698 w 146660"/>
                  <a:gd name="connsiteY5" fmla="*/ 115123 h 134927"/>
                  <a:gd name="connsiteX6" fmla="*/ 13199 w 146660"/>
                  <a:gd name="connsiteY6" fmla="*/ 29702 h 134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6660" h="134927">
                    <a:moveTo>
                      <a:pt x="71523" y="13199"/>
                    </a:moveTo>
                    <a:lnTo>
                      <a:pt x="130158" y="86729"/>
                    </a:lnTo>
                    <a:cubicBezTo>
                      <a:pt x="134646" y="92355"/>
                      <a:pt x="135919" y="99893"/>
                      <a:pt x="133531" y="106681"/>
                    </a:cubicBezTo>
                    <a:lnTo>
                      <a:pt x="133531" y="106681"/>
                    </a:lnTo>
                    <a:cubicBezTo>
                      <a:pt x="129167" y="119100"/>
                      <a:pt x="115563" y="125630"/>
                      <a:pt x="103143" y="121265"/>
                    </a:cubicBezTo>
                    <a:cubicBezTo>
                      <a:pt x="99547" y="119998"/>
                      <a:pt x="96309" y="117892"/>
                      <a:pt x="93698" y="115123"/>
                    </a:cubicBezTo>
                    <a:lnTo>
                      <a:pt x="13199" y="29702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8" name="Freihandform: Form 121">
                <a:extLst>
                  <a:ext uri="{FF2B5EF4-FFF2-40B4-BE49-F238E27FC236}">
                    <a16:creationId xmlns:a16="http://schemas.microsoft.com/office/drawing/2014/main" id="{D657D4CD-7877-2332-C90C-C9122C298631}"/>
                  </a:ext>
                </a:extLst>
              </p:cNvPr>
              <p:cNvSpPr/>
              <p:nvPr/>
            </p:nvSpPr>
            <p:spPr bwMode="gray">
              <a:xfrm>
                <a:off x="2182640" y="4562075"/>
                <a:ext cx="151980" cy="105217"/>
              </a:xfrm>
              <a:custGeom>
                <a:avLst/>
                <a:gdLst>
                  <a:gd name="connsiteX0" fmla="*/ 13199 w 152526"/>
                  <a:gd name="connsiteY0" fmla="*/ 13199 h 105595"/>
                  <a:gd name="connsiteX1" fmla="*/ 80945 w 152526"/>
                  <a:gd name="connsiteY1" fmla="*/ 84066 h 105595"/>
                  <a:gd name="connsiteX2" fmla="*/ 130539 w 152526"/>
                  <a:gd name="connsiteY2" fmla="*/ 85386 h 105595"/>
                  <a:gd name="connsiteX3" fmla="*/ 139679 w 152526"/>
                  <a:gd name="connsiteY3" fmla="*/ 71043 h 105595"/>
                  <a:gd name="connsiteX4" fmla="*/ 140043 w 152526"/>
                  <a:gd name="connsiteY4" fmla="*/ 69863 h 105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526" h="105595">
                    <a:moveTo>
                      <a:pt x="13199" y="13199"/>
                    </a:moveTo>
                    <a:lnTo>
                      <a:pt x="80945" y="84066"/>
                    </a:lnTo>
                    <a:cubicBezTo>
                      <a:pt x="94279" y="98127"/>
                      <a:pt x="116483" y="98714"/>
                      <a:pt x="130539" y="85386"/>
                    </a:cubicBezTo>
                    <a:cubicBezTo>
                      <a:pt x="134716" y="81426"/>
                      <a:pt x="137855" y="76504"/>
                      <a:pt x="139679" y="71043"/>
                    </a:cubicBezTo>
                    <a:cubicBezTo>
                      <a:pt x="139803" y="70655"/>
                      <a:pt x="139926" y="70256"/>
                      <a:pt x="140043" y="69863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9" name="Freihandform: Form 122">
                <a:extLst>
                  <a:ext uri="{FF2B5EF4-FFF2-40B4-BE49-F238E27FC236}">
                    <a16:creationId xmlns:a16="http://schemas.microsoft.com/office/drawing/2014/main" id="{B87B9760-6481-A6FC-10DD-EEB61568EE1F}"/>
                  </a:ext>
                </a:extLst>
              </p:cNvPr>
              <p:cNvSpPr/>
              <p:nvPr/>
            </p:nvSpPr>
            <p:spPr bwMode="gray">
              <a:xfrm>
                <a:off x="2150292" y="4595270"/>
                <a:ext cx="140289" cy="99372"/>
              </a:xfrm>
              <a:custGeom>
                <a:avLst/>
                <a:gdLst>
                  <a:gd name="connsiteX0" fmla="*/ 13199 w 140793"/>
                  <a:gd name="connsiteY0" fmla="*/ 13199 h 99729"/>
                  <a:gd name="connsiteX1" fmla="*/ 69230 w 140793"/>
                  <a:gd name="connsiteY1" fmla="*/ 75419 h 99729"/>
                  <a:gd name="connsiteX2" fmla="*/ 93335 w 140793"/>
                  <a:gd name="connsiteY2" fmla="*/ 87592 h 99729"/>
                  <a:gd name="connsiteX3" fmla="*/ 128539 w 140793"/>
                  <a:gd name="connsiteY3" fmla="*/ 65721 h 99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793" h="99729">
                    <a:moveTo>
                      <a:pt x="13199" y="13199"/>
                    </a:moveTo>
                    <a:lnTo>
                      <a:pt x="69230" y="75419"/>
                    </a:lnTo>
                    <a:cubicBezTo>
                      <a:pt x="75342" y="82494"/>
                      <a:pt x="84007" y="86870"/>
                      <a:pt x="93335" y="87592"/>
                    </a:cubicBezTo>
                    <a:cubicBezTo>
                      <a:pt x="103906" y="88172"/>
                      <a:pt x="117293" y="84142"/>
                      <a:pt x="128539" y="6572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0" name="Freihandform: Form 123">
                <a:extLst>
                  <a:ext uri="{FF2B5EF4-FFF2-40B4-BE49-F238E27FC236}">
                    <a16:creationId xmlns:a16="http://schemas.microsoft.com/office/drawing/2014/main" id="{BAF837DB-5A4D-D8DE-B12F-A0F65B95A86A}"/>
                  </a:ext>
                </a:extLst>
              </p:cNvPr>
              <p:cNvSpPr/>
              <p:nvPr/>
            </p:nvSpPr>
            <p:spPr bwMode="gray">
              <a:xfrm>
                <a:off x="2042175" y="4383298"/>
                <a:ext cx="134444" cy="29227"/>
              </a:xfrm>
              <a:custGeom>
                <a:avLst/>
                <a:gdLst>
                  <a:gd name="connsiteX0" fmla="*/ 125213 w 134927"/>
                  <a:gd name="connsiteY0" fmla="*/ 20745 h 29332"/>
                  <a:gd name="connsiteX1" fmla="*/ 13199 w 134927"/>
                  <a:gd name="connsiteY1" fmla="*/ 14332 h 29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927" h="29332">
                    <a:moveTo>
                      <a:pt x="125213" y="20745"/>
                    </a:moveTo>
                    <a:cubicBezTo>
                      <a:pt x="74885" y="9211"/>
                      <a:pt x="13199" y="14332"/>
                      <a:pt x="13199" y="14332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1" name="Freihandform: Form 124">
                <a:extLst>
                  <a:ext uri="{FF2B5EF4-FFF2-40B4-BE49-F238E27FC236}">
                    <a16:creationId xmlns:a16="http://schemas.microsoft.com/office/drawing/2014/main" id="{B4140052-4CE8-2856-0AAB-81788C6A60A4}"/>
                  </a:ext>
                </a:extLst>
              </p:cNvPr>
              <p:cNvSpPr/>
              <p:nvPr/>
            </p:nvSpPr>
            <p:spPr bwMode="gray">
              <a:xfrm>
                <a:off x="1986001" y="4515737"/>
                <a:ext cx="251352" cy="192898"/>
              </a:xfrm>
              <a:custGeom>
                <a:avLst/>
                <a:gdLst>
                  <a:gd name="connsiteX0" fmla="*/ 13199 w 252255"/>
                  <a:gd name="connsiteY0" fmla="*/ 13199 h 193591"/>
                  <a:gd name="connsiteX1" fmla="*/ 174948 w 252255"/>
                  <a:gd name="connsiteY1" fmla="*/ 149406 h 193591"/>
                  <a:gd name="connsiteX2" fmla="*/ 201206 w 252255"/>
                  <a:gd name="connsiteY2" fmla="*/ 174614 h 193591"/>
                  <a:gd name="connsiteX3" fmla="*/ 233642 w 252255"/>
                  <a:gd name="connsiteY3" fmla="*/ 174203 h 193591"/>
                  <a:gd name="connsiteX4" fmla="*/ 239772 w 252255"/>
                  <a:gd name="connsiteY4" fmla="*/ 162388 h 193591"/>
                  <a:gd name="connsiteX5" fmla="*/ 239878 w 252255"/>
                  <a:gd name="connsiteY5" fmla="*/ 161655 h 193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2255" h="193591">
                    <a:moveTo>
                      <a:pt x="13199" y="13199"/>
                    </a:moveTo>
                    <a:cubicBezTo>
                      <a:pt x="70503" y="54429"/>
                      <a:pt x="124573" y="99964"/>
                      <a:pt x="174948" y="149406"/>
                    </a:cubicBezTo>
                    <a:lnTo>
                      <a:pt x="201206" y="174614"/>
                    </a:lnTo>
                    <a:cubicBezTo>
                      <a:pt x="210276" y="183461"/>
                      <a:pt x="224801" y="183273"/>
                      <a:pt x="233642" y="174203"/>
                    </a:cubicBezTo>
                    <a:cubicBezTo>
                      <a:pt x="236810" y="170959"/>
                      <a:pt x="238945" y="166847"/>
                      <a:pt x="239772" y="162388"/>
                    </a:cubicBezTo>
                    <a:cubicBezTo>
                      <a:pt x="239807" y="162148"/>
                      <a:pt x="239848" y="161902"/>
                      <a:pt x="239878" y="161655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2" name="Freihandform: Form 125">
                <a:extLst>
                  <a:ext uri="{FF2B5EF4-FFF2-40B4-BE49-F238E27FC236}">
                    <a16:creationId xmlns:a16="http://schemas.microsoft.com/office/drawing/2014/main" id="{D0670E56-801C-3491-3204-87E87B679F5F}"/>
                  </a:ext>
                </a:extLst>
              </p:cNvPr>
              <p:cNvSpPr/>
              <p:nvPr/>
            </p:nvSpPr>
            <p:spPr bwMode="gray">
              <a:xfrm>
                <a:off x="2018928" y="4548969"/>
                <a:ext cx="64300" cy="58454"/>
              </a:xfrm>
              <a:custGeom>
                <a:avLst/>
                <a:gdLst>
                  <a:gd name="connsiteX0" fmla="*/ 24628 w 64530"/>
                  <a:gd name="connsiteY0" fmla="*/ 13199 h 58664"/>
                  <a:gd name="connsiteX1" fmla="*/ 17723 w 64530"/>
                  <a:gd name="connsiteY1" fmla="*/ 20914 h 58664"/>
                  <a:gd name="connsiteX2" fmla="*/ 19119 w 64530"/>
                  <a:gd name="connsiteY2" fmla="*/ 45993 h 58664"/>
                  <a:gd name="connsiteX3" fmla="*/ 19712 w 64530"/>
                  <a:gd name="connsiteY3" fmla="*/ 46497 h 58664"/>
                  <a:gd name="connsiteX4" fmla="*/ 19712 w 64530"/>
                  <a:gd name="connsiteY4" fmla="*/ 46503 h 58664"/>
                  <a:gd name="connsiteX5" fmla="*/ 46985 w 64530"/>
                  <a:gd name="connsiteY5" fmla="*/ 44321 h 58664"/>
                  <a:gd name="connsiteX6" fmla="*/ 53725 w 64530"/>
                  <a:gd name="connsiteY6" fmla="*/ 36706 h 58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530" h="58664">
                    <a:moveTo>
                      <a:pt x="24628" y="13199"/>
                    </a:moveTo>
                    <a:lnTo>
                      <a:pt x="17723" y="20914"/>
                    </a:lnTo>
                    <a:cubicBezTo>
                      <a:pt x="11182" y="28229"/>
                      <a:pt x="11810" y="39458"/>
                      <a:pt x="19119" y="45993"/>
                    </a:cubicBezTo>
                    <a:cubicBezTo>
                      <a:pt x="19313" y="46169"/>
                      <a:pt x="19512" y="46339"/>
                      <a:pt x="19712" y="46497"/>
                    </a:cubicBezTo>
                    <a:lnTo>
                      <a:pt x="19712" y="46503"/>
                    </a:lnTo>
                    <a:cubicBezTo>
                      <a:pt x="27913" y="53220"/>
                      <a:pt x="39957" y="52258"/>
                      <a:pt x="46985" y="44321"/>
                    </a:cubicBezTo>
                    <a:lnTo>
                      <a:pt x="53725" y="3670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3" name="Freihandform: Form 126">
                <a:extLst>
                  <a:ext uri="{FF2B5EF4-FFF2-40B4-BE49-F238E27FC236}">
                    <a16:creationId xmlns:a16="http://schemas.microsoft.com/office/drawing/2014/main" id="{17F243A7-37C6-8F29-DEAF-F74F220ED045}"/>
                  </a:ext>
                </a:extLst>
              </p:cNvPr>
              <p:cNvSpPr/>
              <p:nvPr/>
            </p:nvSpPr>
            <p:spPr bwMode="gray">
              <a:xfrm>
                <a:off x="2041581" y="4573806"/>
                <a:ext cx="75990" cy="75990"/>
              </a:xfrm>
              <a:custGeom>
                <a:avLst/>
                <a:gdLst>
                  <a:gd name="connsiteX0" fmla="*/ 66670 w 76263"/>
                  <a:gd name="connsiteY0" fmla="*/ 42320 h 76263"/>
                  <a:gd name="connsiteX1" fmla="*/ 51534 w 76263"/>
                  <a:gd name="connsiteY1" fmla="*/ 58829 h 76263"/>
                  <a:gd name="connsiteX2" fmla="*/ 20830 w 76263"/>
                  <a:gd name="connsiteY2" fmla="*/ 60600 h 76263"/>
                  <a:gd name="connsiteX3" fmla="*/ 20830 w 76263"/>
                  <a:gd name="connsiteY3" fmla="*/ 60600 h 76263"/>
                  <a:gd name="connsiteX4" fmla="*/ 18577 w 76263"/>
                  <a:gd name="connsiteY4" fmla="*/ 29479 h 76263"/>
                  <a:gd name="connsiteX5" fmla="*/ 18600 w 76263"/>
                  <a:gd name="connsiteY5" fmla="*/ 29450 h 76263"/>
                  <a:gd name="connsiteX6" fmla="*/ 32697 w 76263"/>
                  <a:gd name="connsiteY6" fmla="*/ 13199 h 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263" h="76263">
                    <a:moveTo>
                      <a:pt x="66670" y="42320"/>
                    </a:moveTo>
                    <a:lnTo>
                      <a:pt x="51534" y="58829"/>
                    </a:lnTo>
                    <a:cubicBezTo>
                      <a:pt x="43462" y="67628"/>
                      <a:pt x="29858" y="68414"/>
                      <a:pt x="20830" y="60600"/>
                    </a:cubicBezTo>
                    <a:lnTo>
                      <a:pt x="20830" y="60600"/>
                    </a:lnTo>
                    <a:cubicBezTo>
                      <a:pt x="11613" y="52628"/>
                      <a:pt x="10604" y="38695"/>
                      <a:pt x="18577" y="29479"/>
                    </a:cubicBezTo>
                    <a:cubicBezTo>
                      <a:pt x="18583" y="29467"/>
                      <a:pt x="18588" y="29461"/>
                      <a:pt x="18600" y="29450"/>
                    </a:cubicBezTo>
                    <a:lnTo>
                      <a:pt x="32697" y="1319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4" name="Freihandform: Form 127">
                <a:extLst>
                  <a:ext uri="{FF2B5EF4-FFF2-40B4-BE49-F238E27FC236}">
                    <a16:creationId xmlns:a16="http://schemas.microsoft.com/office/drawing/2014/main" id="{D9FDD7EC-1E1A-9134-6AE6-DF29F23473CC}"/>
                  </a:ext>
                </a:extLst>
              </p:cNvPr>
              <p:cNvSpPr/>
              <p:nvPr/>
            </p:nvSpPr>
            <p:spPr bwMode="gray">
              <a:xfrm>
                <a:off x="2079365" y="4602822"/>
                <a:ext cx="70145" cy="70145"/>
              </a:xfrm>
              <a:custGeom>
                <a:avLst/>
                <a:gdLst>
                  <a:gd name="connsiteX0" fmla="*/ 28749 w 70396"/>
                  <a:gd name="connsiteY0" fmla="*/ 13199 h 70396"/>
                  <a:gd name="connsiteX1" fmla="*/ 18958 w 70396"/>
                  <a:gd name="connsiteY1" fmla="*/ 23882 h 70396"/>
                  <a:gd name="connsiteX2" fmla="*/ 20173 w 70396"/>
                  <a:gd name="connsiteY2" fmla="*/ 54716 h 70396"/>
                  <a:gd name="connsiteX3" fmla="*/ 20173 w 70396"/>
                  <a:gd name="connsiteY3" fmla="*/ 54716 h 70396"/>
                  <a:gd name="connsiteX4" fmla="*/ 51042 w 70396"/>
                  <a:gd name="connsiteY4" fmla="*/ 53707 h 70396"/>
                  <a:gd name="connsiteX5" fmla="*/ 61279 w 70396"/>
                  <a:gd name="connsiteY5" fmla="*/ 42843 h 70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396" h="70396">
                    <a:moveTo>
                      <a:pt x="28749" y="13199"/>
                    </a:moveTo>
                    <a:lnTo>
                      <a:pt x="18958" y="23882"/>
                    </a:lnTo>
                    <a:cubicBezTo>
                      <a:pt x="10828" y="32752"/>
                      <a:pt x="11373" y="46515"/>
                      <a:pt x="20173" y="54716"/>
                    </a:cubicBezTo>
                    <a:lnTo>
                      <a:pt x="20173" y="54716"/>
                    </a:lnTo>
                    <a:cubicBezTo>
                      <a:pt x="28990" y="62923"/>
                      <a:pt x="42782" y="62471"/>
                      <a:pt x="51042" y="53707"/>
                    </a:cubicBezTo>
                    <a:lnTo>
                      <a:pt x="61279" y="42843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5" name="Freihandform: Form 128">
                <a:extLst>
                  <a:ext uri="{FF2B5EF4-FFF2-40B4-BE49-F238E27FC236}">
                    <a16:creationId xmlns:a16="http://schemas.microsoft.com/office/drawing/2014/main" id="{3B805114-7A15-1FF1-90EE-48AFEDC26752}"/>
                  </a:ext>
                </a:extLst>
              </p:cNvPr>
              <p:cNvSpPr/>
              <p:nvPr/>
            </p:nvSpPr>
            <p:spPr bwMode="gray">
              <a:xfrm>
                <a:off x="2116386" y="4633855"/>
                <a:ext cx="64300" cy="64300"/>
              </a:xfrm>
              <a:custGeom>
                <a:avLst/>
                <a:gdLst>
                  <a:gd name="connsiteX0" fmla="*/ 54102 w 64530"/>
                  <a:gd name="connsiteY0" fmla="*/ 40472 h 64530"/>
                  <a:gd name="connsiteX1" fmla="*/ 48717 w 64530"/>
                  <a:gd name="connsiteY1" fmla="*/ 45981 h 64530"/>
                  <a:gd name="connsiteX2" fmla="*/ 19608 w 64530"/>
                  <a:gd name="connsiteY2" fmla="*/ 46486 h 64530"/>
                  <a:gd name="connsiteX3" fmla="*/ 19608 w 64530"/>
                  <a:gd name="connsiteY3" fmla="*/ 46486 h 64530"/>
                  <a:gd name="connsiteX4" fmla="*/ 18839 w 64530"/>
                  <a:gd name="connsiteY4" fmla="*/ 17306 h 64530"/>
                  <a:gd name="connsiteX5" fmla="*/ 22711 w 64530"/>
                  <a:gd name="connsiteY5" fmla="*/ 13199 h 64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4530" h="64530">
                    <a:moveTo>
                      <a:pt x="54102" y="40472"/>
                    </a:moveTo>
                    <a:lnTo>
                      <a:pt x="48717" y="45981"/>
                    </a:lnTo>
                    <a:cubicBezTo>
                      <a:pt x="40791" y="54094"/>
                      <a:pt x="27809" y="54317"/>
                      <a:pt x="19608" y="46486"/>
                    </a:cubicBezTo>
                    <a:lnTo>
                      <a:pt x="19608" y="46486"/>
                    </a:lnTo>
                    <a:cubicBezTo>
                      <a:pt x="11371" y="38624"/>
                      <a:pt x="11031" y="25589"/>
                      <a:pt x="18839" y="17306"/>
                    </a:cubicBezTo>
                    <a:lnTo>
                      <a:pt x="22711" y="1319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3" name="Gruppieren 129">
              <a:extLst>
                <a:ext uri="{FF2B5EF4-FFF2-40B4-BE49-F238E27FC236}">
                  <a16:creationId xmlns:a16="http://schemas.microsoft.com/office/drawing/2014/main" id="{7FF29A8C-A859-E5DE-F5DE-55A6127B7F0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6597732" y="1626303"/>
              <a:ext cx="452080" cy="452133"/>
              <a:chOff x="8113816" y="1811130"/>
              <a:chExt cx="747504" cy="747591"/>
            </a:xfrm>
          </p:grpSpPr>
          <p:sp>
            <p:nvSpPr>
              <p:cNvPr id="91" name="Freihandform: Form 130">
                <a:extLst>
                  <a:ext uri="{FF2B5EF4-FFF2-40B4-BE49-F238E27FC236}">
                    <a16:creationId xmlns:a16="http://schemas.microsoft.com/office/drawing/2014/main" id="{A9AFF495-5D1F-25F3-B97F-AD5BECFE9064}"/>
                  </a:ext>
                </a:extLst>
              </p:cNvPr>
              <p:cNvSpPr/>
              <p:nvPr/>
            </p:nvSpPr>
            <p:spPr bwMode="gray">
              <a:xfrm>
                <a:off x="8476941" y="2028444"/>
                <a:ext cx="140284" cy="280569"/>
              </a:xfrm>
              <a:custGeom>
                <a:avLst/>
                <a:gdLst>
                  <a:gd name="connsiteX0" fmla="*/ 192627 w 203622"/>
                  <a:gd name="connsiteY0" fmla="*/ 392177 h 407244"/>
                  <a:gd name="connsiteX1" fmla="*/ 173893 w 203622"/>
                  <a:gd name="connsiteY1" fmla="*/ 300139 h 407244"/>
                  <a:gd name="connsiteX2" fmla="*/ 142943 w 203622"/>
                  <a:gd name="connsiteY2" fmla="*/ 248012 h 407244"/>
                  <a:gd name="connsiteX3" fmla="*/ 112807 w 203622"/>
                  <a:gd name="connsiteY3" fmla="*/ 231722 h 407244"/>
                  <a:gd name="connsiteX4" fmla="*/ 33802 w 203622"/>
                  <a:gd name="connsiteY4" fmla="*/ 208917 h 407244"/>
                  <a:gd name="connsiteX5" fmla="*/ 28914 w 203622"/>
                  <a:gd name="connsiteY5" fmla="*/ 206473 h 407244"/>
                  <a:gd name="connsiteX6" fmla="*/ 21584 w 203622"/>
                  <a:gd name="connsiteY6" fmla="*/ 194256 h 407244"/>
                  <a:gd name="connsiteX7" fmla="*/ 18326 w 203622"/>
                  <a:gd name="connsiteY7" fmla="*/ 163305 h 407244"/>
                  <a:gd name="connsiteX8" fmla="*/ 64752 w 203622"/>
                  <a:gd name="connsiteY8" fmla="*/ 90816 h 407244"/>
                  <a:gd name="connsiteX9" fmla="*/ 90001 w 203622"/>
                  <a:gd name="connsiteY9" fmla="*/ 54164 h 407244"/>
                  <a:gd name="connsiteX10" fmla="*/ 68010 w 203622"/>
                  <a:gd name="connsiteY10" fmla="*/ 18326 h 407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3622" h="407244">
                    <a:moveTo>
                      <a:pt x="192627" y="392177"/>
                    </a:moveTo>
                    <a:lnTo>
                      <a:pt x="173893" y="300139"/>
                    </a:lnTo>
                    <a:cubicBezTo>
                      <a:pt x="169821" y="279777"/>
                      <a:pt x="158418" y="261044"/>
                      <a:pt x="142943" y="248012"/>
                    </a:cubicBezTo>
                    <a:cubicBezTo>
                      <a:pt x="132355" y="239867"/>
                      <a:pt x="122581" y="234166"/>
                      <a:pt x="112807" y="231722"/>
                    </a:cubicBezTo>
                    <a:lnTo>
                      <a:pt x="33802" y="208917"/>
                    </a:lnTo>
                    <a:cubicBezTo>
                      <a:pt x="32172" y="208102"/>
                      <a:pt x="30543" y="207288"/>
                      <a:pt x="28914" y="206473"/>
                    </a:cubicBezTo>
                    <a:cubicBezTo>
                      <a:pt x="24842" y="204030"/>
                      <a:pt x="22398" y="199143"/>
                      <a:pt x="21584" y="194256"/>
                    </a:cubicBezTo>
                    <a:lnTo>
                      <a:pt x="18326" y="163305"/>
                    </a:lnTo>
                    <a:cubicBezTo>
                      <a:pt x="40317" y="146201"/>
                      <a:pt x="56607" y="120952"/>
                      <a:pt x="64752" y="90816"/>
                    </a:cubicBezTo>
                    <a:cubicBezTo>
                      <a:pt x="78598" y="89187"/>
                      <a:pt x="90001" y="73711"/>
                      <a:pt x="90001" y="54164"/>
                    </a:cubicBezTo>
                    <a:cubicBezTo>
                      <a:pt x="90001" y="36245"/>
                      <a:pt x="81042" y="20770"/>
                      <a:pt x="6801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2" name="Freihandform: Form 131">
                <a:extLst>
                  <a:ext uri="{FF2B5EF4-FFF2-40B4-BE49-F238E27FC236}">
                    <a16:creationId xmlns:a16="http://schemas.microsoft.com/office/drawing/2014/main" id="{F321C3FF-7514-2D18-D21B-C21668EFF3E7}"/>
                  </a:ext>
                </a:extLst>
              </p:cNvPr>
              <p:cNvSpPr/>
              <p:nvPr/>
            </p:nvSpPr>
            <p:spPr bwMode="gray">
              <a:xfrm>
                <a:off x="8271564" y="2027883"/>
                <a:ext cx="140284" cy="280569"/>
              </a:xfrm>
              <a:custGeom>
                <a:avLst/>
                <a:gdLst>
                  <a:gd name="connsiteX0" fmla="*/ 142943 w 203622"/>
                  <a:gd name="connsiteY0" fmla="*/ 18326 h 407244"/>
                  <a:gd name="connsiteX1" fmla="*/ 121766 w 203622"/>
                  <a:gd name="connsiteY1" fmla="*/ 54163 h 407244"/>
                  <a:gd name="connsiteX2" fmla="*/ 146200 w 203622"/>
                  <a:gd name="connsiteY2" fmla="*/ 90816 h 407244"/>
                  <a:gd name="connsiteX3" fmla="*/ 192626 w 203622"/>
                  <a:gd name="connsiteY3" fmla="*/ 163305 h 407244"/>
                  <a:gd name="connsiteX4" fmla="*/ 189369 w 203622"/>
                  <a:gd name="connsiteY4" fmla="*/ 194256 h 407244"/>
                  <a:gd name="connsiteX5" fmla="*/ 182038 w 203622"/>
                  <a:gd name="connsiteY5" fmla="*/ 206473 h 407244"/>
                  <a:gd name="connsiteX6" fmla="*/ 177151 w 203622"/>
                  <a:gd name="connsiteY6" fmla="*/ 208916 h 407244"/>
                  <a:gd name="connsiteX7" fmla="*/ 98960 w 203622"/>
                  <a:gd name="connsiteY7" fmla="*/ 231722 h 407244"/>
                  <a:gd name="connsiteX8" fmla="*/ 68010 w 203622"/>
                  <a:gd name="connsiteY8" fmla="*/ 248012 h 407244"/>
                  <a:gd name="connsiteX9" fmla="*/ 37059 w 203622"/>
                  <a:gd name="connsiteY9" fmla="*/ 300139 h 407244"/>
                  <a:gd name="connsiteX10" fmla="*/ 18326 w 203622"/>
                  <a:gd name="connsiteY10" fmla="*/ 392177 h 407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3622" h="407244">
                    <a:moveTo>
                      <a:pt x="142943" y="18326"/>
                    </a:moveTo>
                    <a:cubicBezTo>
                      <a:pt x="130725" y="21584"/>
                      <a:pt x="121766" y="36245"/>
                      <a:pt x="121766" y="54163"/>
                    </a:cubicBezTo>
                    <a:cubicBezTo>
                      <a:pt x="121766" y="73711"/>
                      <a:pt x="132355" y="89187"/>
                      <a:pt x="146200" y="90816"/>
                    </a:cubicBezTo>
                    <a:cubicBezTo>
                      <a:pt x="154345" y="120952"/>
                      <a:pt x="170635" y="146201"/>
                      <a:pt x="192626" y="163305"/>
                    </a:cubicBezTo>
                    <a:lnTo>
                      <a:pt x="189369" y="194256"/>
                    </a:lnTo>
                    <a:cubicBezTo>
                      <a:pt x="188554" y="199143"/>
                      <a:pt x="186111" y="204029"/>
                      <a:pt x="182038" y="206473"/>
                    </a:cubicBezTo>
                    <a:cubicBezTo>
                      <a:pt x="180409" y="207288"/>
                      <a:pt x="178780" y="208102"/>
                      <a:pt x="177151" y="208916"/>
                    </a:cubicBezTo>
                    <a:lnTo>
                      <a:pt x="98960" y="231722"/>
                    </a:lnTo>
                    <a:cubicBezTo>
                      <a:pt x="89186" y="234166"/>
                      <a:pt x="78598" y="239053"/>
                      <a:pt x="68010" y="248012"/>
                    </a:cubicBezTo>
                    <a:cubicBezTo>
                      <a:pt x="51720" y="261044"/>
                      <a:pt x="41132" y="279777"/>
                      <a:pt x="37059" y="300139"/>
                    </a:cubicBezTo>
                    <a:lnTo>
                      <a:pt x="18326" y="392177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3" name="Freihandform: Form 132">
                <a:extLst>
                  <a:ext uri="{FF2B5EF4-FFF2-40B4-BE49-F238E27FC236}">
                    <a16:creationId xmlns:a16="http://schemas.microsoft.com/office/drawing/2014/main" id="{A380CDC1-3192-207F-ED2F-273D5B190CD7}"/>
                  </a:ext>
                </a:extLst>
              </p:cNvPr>
              <p:cNvSpPr/>
              <p:nvPr/>
            </p:nvSpPr>
            <p:spPr bwMode="gray">
              <a:xfrm>
                <a:off x="8357387" y="1938102"/>
                <a:ext cx="173953" cy="112228"/>
              </a:xfrm>
              <a:custGeom>
                <a:avLst/>
                <a:gdLst>
                  <a:gd name="connsiteX0" fmla="*/ 240726 w 252491"/>
                  <a:gd name="connsiteY0" fmla="*/ 148644 h 162897"/>
                  <a:gd name="connsiteX1" fmla="*/ 129956 w 252491"/>
                  <a:gd name="connsiteY1" fmla="*/ 18326 h 162897"/>
                  <a:gd name="connsiteX2" fmla="*/ 18371 w 252491"/>
                  <a:gd name="connsiteY2" fmla="*/ 149459 h 162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2491" h="162897">
                    <a:moveTo>
                      <a:pt x="240726" y="148644"/>
                    </a:moveTo>
                    <a:cubicBezTo>
                      <a:pt x="240726" y="148644"/>
                      <a:pt x="247242" y="18326"/>
                      <a:pt x="129956" y="18326"/>
                    </a:cubicBezTo>
                    <a:cubicBezTo>
                      <a:pt x="12669" y="18326"/>
                      <a:pt x="18371" y="149459"/>
                      <a:pt x="18371" y="149459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4" name="Freihandform: Form 133">
                <a:extLst>
                  <a:ext uri="{FF2B5EF4-FFF2-40B4-BE49-F238E27FC236}">
                    <a16:creationId xmlns:a16="http://schemas.microsoft.com/office/drawing/2014/main" id="{4A559CB7-AB59-D524-FAB8-9E4145275D9F}"/>
                  </a:ext>
                </a:extLst>
              </p:cNvPr>
              <p:cNvSpPr/>
              <p:nvPr/>
            </p:nvSpPr>
            <p:spPr bwMode="gray">
              <a:xfrm>
                <a:off x="8363029" y="1973403"/>
                <a:ext cx="162730" cy="44891"/>
              </a:xfrm>
              <a:custGeom>
                <a:avLst/>
                <a:gdLst>
                  <a:gd name="connsiteX0" fmla="*/ 18326 w 236201"/>
                  <a:gd name="connsiteY0" fmla="*/ 41205 h 65159"/>
                  <a:gd name="connsiteX1" fmla="*/ 41946 w 236201"/>
                  <a:gd name="connsiteY1" fmla="*/ 20843 h 65159"/>
                  <a:gd name="connsiteX2" fmla="*/ 90815 w 236201"/>
                  <a:gd name="connsiteY2" fmla="*/ 26544 h 65159"/>
                  <a:gd name="connsiteX3" fmla="*/ 157603 w 236201"/>
                  <a:gd name="connsiteY3" fmla="*/ 50979 h 65159"/>
                  <a:gd name="connsiteX4" fmla="*/ 224392 w 236201"/>
                  <a:gd name="connsiteY4" fmla="*/ 40390 h 65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6201" h="65159">
                    <a:moveTo>
                      <a:pt x="18326" y="41205"/>
                    </a:moveTo>
                    <a:cubicBezTo>
                      <a:pt x="23213" y="31431"/>
                      <a:pt x="32172" y="24915"/>
                      <a:pt x="41946" y="20843"/>
                    </a:cubicBezTo>
                    <a:cubicBezTo>
                      <a:pt x="58236" y="15141"/>
                      <a:pt x="75340" y="20028"/>
                      <a:pt x="90815" y="26544"/>
                    </a:cubicBezTo>
                    <a:cubicBezTo>
                      <a:pt x="112807" y="36318"/>
                      <a:pt x="132355" y="48535"/>
                      <a:pt x="157603" y="50979"/>
                    </a:cubicBezTo>
                    <a:cubicBezTo>
                      <a:pt x="181224" y="53422"/>
                      <a:pt x="203215" y="50979"/>
                      <a:pt x="224392" y="40390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5" name="Freihandform: Form 134">
                <a:extLst>
                  <a:ext uri="{FF2B5EF4-FFF2-40B4-BE49-F238E27FC236}">
                    <a16:creationId xmlns:a16="http://schemas.microsoft.com/office/drawing/2014/main" id="{92E3A969-0D06-03BD-7600-A20487ADCF3E}"/>
                  </a:ext>
                </a:extLst>
              </p:cNvPr>
              <p:cNvSpPr/>
              <p:nvPr/>
            </p:nvSpPr>
            <p:spPr bwMode="gray">
              <a:xfrm>
                <a:off x="8384352" y="2158068"/>
                <a:ext cx="72948" cy="72948"/>
              </a:xfrm>
              <a:custGeom>
                <a:avLst/>
                <a:gdLst>
                  <a:gd name="connsiteX0" fmla="*/ 18326 w 105883"/>
                  <a:gd name="connsiteY0" fmla="*/ 18326 h 105883"/>
                  <a:gd name="connsiteX1" fmla="*/ 90816 w 105883"/>
                  <a:gd name="connsiteY1" fmla="*/ 93259 h 10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883" h="105883">
                    <a:moveTo>
                      <a:pt x="18326" y="18326"/>
                    </a:moveTo>
                    <a:lnTo>
                      <a:pt x="90816" y="9325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6" name="Freihandform: Form 135">
                <a:extLst>
                  <a:ext uri="{FF2B5EF4-FFF2-40B4-BE49-F238E27FC236}">
                    <a16:creationId xmlns:a16="http://schemas.microsoft.com/office/drawing/2014/main" id="{839DB50C-BA45-AE58-0924-187A8BAFBC7C}"/>
                  </a:ext>
                </a:extLst>
              </p:cNvPr>
              <p:cNvSpPr/>
              <p:nvPr/>
            </p:nvSpPr>
            <p:spPr bwMode="gray">
              <a:xfrm>
                <a:off x="8434294" y="2158068"/>
                <a:ext cx="72948" cy="72948"/>
              </a:xfrm>
              <a:custGeom>
                <a:avLst/>
                <a:gdLst>
                  <a:gd name="connsiteX0" fmla="*/ 90815 w 105883"/>
                  <a:gd name="connsiteY0" fmla="*/ 18326 h 105883"/>
                  <a:gd name="connsiteX1" fmla="*/ 18326 w 105883"/>
                  <a:gd name="connsiteY1" fmla="*/ 93259 h 10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883" h="105883">
                    <a:moveTo>
                      <a:pt x="90815" y="18326"/>
                    </a:moveTo>
                    <a:lnTo>
                      <a:pt x="18326" y="9325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7" name="Freihandform: Form 136">
                <a:extLst>
                  <a:ext uri="{FF2B5EF4-FFF2-40B4-BE49-F238E27FC236}">
                    <a16:creationId xmlns:a16="http://schemas.microsoft.com/office/drawing/2014/main" id="{DB0FD39E-5378-F937-9FAC-1FAF340D4DDD}"/>
                  </a:ext>
                </a:extLst>
              </p:cNvPr>
              <p:cNvSpPr/>
              <p:nvPr/>
            </p:nvSpPr>
            <p:spPr bwMode="gray">
              <a:xfrm>
                <a:off x="8434294" y="2209693"/>
                <a:ext cx="22446" cy="56114"/>
              </a:xfrm>
              <a:custGeom>
                <a:avLst/>
                <a:gdLst>
                  <a:gd name="connsiteX0" fmla="*/ 18326 w 32579"/>
                  <a:gd name="connsiteY0" fmla="*/ 18326 h 81448"/>
                  <a:gd name="connsiteX1" fmla="*/ 18326 w 32579"/>
                  <a:gd name="connsiteY1" fmla="*/ 68010 h 81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579" h="81448">
                    <a:moveTo>
                      <a:pt x="18326" y="18326"/>
                    </a:moveTo>
                    <a:lnTo>
                      <a:pt x="18326" y="68010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8" name="Freihandform: Form 137">
                <a:extLst>
                  <a:ext uri="{FF2B5EF4-FFF2-40B4-BE49-F238E27FC236}">
                    <a16:creationId xmlns:a16="http://schemas.microsoft.com/office/drawing/2014/main" id="{D84C309A-CC8B-007E-3E4E-44C397923847}"/>
                  </a:ext>
                </a:extLst>
              </p:cNvPr>
              <p:cNvSpPr/>
              <p:nvPr/>
            </p:nvSpPr>
            <p:spPr bwMode="gray">
              <a:xfrm>
                <a:off x="8113816" y="1811130"/>
                <a:ext cx="662142" cy="662142"/>
              </a:xfrm>
              <a:custGeom>
                <a:avLst/>
                <a:gdLst>
                  <a:gd name="connsiteX0" fmla="*/ 923635 w 961097"/>
                  <a:gd name="connsiteY0" fmla="*/ 459290 h 961097"/>
                  <a:gd name="connsiteX1" fmla="*/ 508025 w 961097"/>
                  <a:gd name="connsiteY1" fmla="*/ 923635 h 961097"/>
                  <a:gd name="connsiteX2" fmla="*/ 43680 w 961097"/>
                  <a:gd name="connsiteY2" fmla="*/ 508025 h 961097"/>
                  <a:gd name="connsiteX3" fmla="*/ 459290 w 961097"/>
                  <a:gd name="connsiteY3" fmla="*/ 43679 h 961097"/>
                  <a:gd name="connsiteX4" fmla="*/ 923635 w 961097"/>
                  <a:gd name="connsiteY4" fmla="*/ 459290 h 96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1097" h="961097">
                    <a:moveTo>
                      <a:pt x="923635" y="459290"/>
                    </a:moveTo>
                    <a:cubicBezTo>
                      <a:pt x="937093" y="702283"/>
                      <a:pt x="751018" y="910177"/>
                      <a:pt x="508025" y="923635"/>
                    </a:cubicBezTo>
                    <a:cubicBezTo>
                      <a:pt x="265032" y="937093"/>
                      <a:pt x="57138" y="751018"/>
                      <a:pt x="43680" y="508025"/>
                    </a:cubicBezTo>
                    <a:cubicBezTo>
                      <a:pt x="30222" y="265032"/>
                      <a:pt x="216297" y="57137"/>
                      <a:pt x="459290" y="43679"/>
                    </a:cubicBezTo>
                    <a:cubicBezTo>
                      <a:pt x="702283" y="30222"/>
                      <a:pt x="910177" y="216297"/>
                      <a:pt x="923635" y="459290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9" name="Freihandform: Form 138">
                <a:extLst>
                  <a:ext uri="{FF2B5EF4-FFF2-40B4-BE49-F238E27FC236}">
                    <a16:creationId xmlns:a16="http://schemas.microsoft.com/office/drawing/2014/main" id="{D70630AF-3B4C-122D-EDB9-6124AE878E5C}"/>
                  </a:ext>
                </a:extLst>
              </p:cNvPr>
              <p:cNvSpPr/>
              <p:nvPr/>
            </p:nvSpPr>
            <p:spPr bwMode="gray">
              <a:xfrm>
                <a:off x="8659310" y="2356711"/>
                <a:ext cx="202010" cy="202010"/>
              </a:xfrm>
              <a:custGeom>
                <a:avLst/>
                <a:gdLst>
                  <a:gd name="connsiteX0" fmla="*/ 100589 w 293216"/>
                  <a:gd name="connsiteY0" fmla="*/ 18326 h 293216"/>
                  <a:gd name="connsiteX1" fmla="*/ 261044 w 293216"/>
                  <a:gd name="connsiteY1" fmla="*/ 178780 h 293216"/>
                  <a:gd name="connsiteX2" fmla="*/ 261044 w 293216"/>
                  <a:gd name="connsiteY2" fmla="*/ 261044 h 293216"/>
                  <a:gd name="connsiteX3" fmla="*/ 261044 w 293216"/>
                  <a:gd name="connsiteY3" fmla="*/ 261044 h 293216"/>
                  <a:gd name="connsiteX4" fmla="*/ 178780 w 293216"/>
                  <a:gd name="connsiteY4" fmla="*/ 261044 h 293216"/>
                  <a:gd name="connsiteX5" fmla="*/ 18326 w 293216"/>
                  <a:gd name="connsiteY5" fmla="*/ 100589 h 293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3216" h="293216">
                    <a:moveTo>
                      <a:pt x="100589" y="18326"/>
                    </a:moveTo>
                    <a:lnTo>
                      <a:pt x="261044" y="178780"/>
                    </a:lnTo>
                    <a:cubicBezTo>
                      <a:pt x="283849" y="201586"/>
                      <a:pt x="283849" y="238238"/>
                      <a:pt x="261044" y="261044"/>
                    </a:cubicBezTo>
                    <a:lnTo>
                      <a:pt x="261044" y="261044"/>
                    </a:lnTo>
                    <a:cubicBezTo>
                      <a:pt x="238238" y="283849"/>
                      <a:pt x="201586" y="283849"/>
                      <a:pt x="178780" y="261044"/>
                    </a:cubicBezTo>
                    <a:lnTo>
                      <a:pt x="18326" y="100589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0" name="Freihandform: Form 139">
                <a:extLst>
                  <a:ext uri="{FF2B5EF4-FFF2-40B4-BE49-F238E27FC236}">
                    <a16:creationId xmlns:a16="http://schemas.microsoft.com/office/drawing/2014/main" id="{5B461BA0-1F18-7869-73B8-6A359D0985C3}"/>
                  </a:ext>
                </a:extLst>
              </p:cNvPr>
              <p:cNvSpPr/>
              <p:nvPr/>
            </p:nvSpPr>
            <p:spPr bwMode="gray">
              <a:xfrm>
                <a:off x="8559988" y="2257391"/>
                <a:ext cx="230068" cy="230066"/>
              </a:xfrm>
              <a:custGeom>
                <a:avLst/>
                <a:gdLst>
                  <a:gd name="connsiteX0" fmla="*/ 18326 w 333940"/>
                  <a:gd name="connsiteY0" fmla="*/ 322130 h 333940"/>
                  <a:gd name="connsiteX1" fmla="*/ 322130 w 333940"/>
                  <a:gd name="connsiteY1" fmla="*/ 18326 h 333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3940" h="333940">
                    <a:moveTo>
                      <a:pt x="18326" y="322130"/>
                    </a:moveTo>
                    <a:cubicBezTo>
                      <a:pt x="159233" y="271632"/>
                      <a:pt x="270818" y="159233"/>
                      <a:pt x="32213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4" name="Gruppieren 140">
              <a:extLst>
                <a:ext uri="{FF2B5EF4-FFF2-40B4-BE49-F238E27FC236}">
                  <a16:creationId xmlns:a16="http://schemas.microsoft.com/office/drawing/2014/main" id="{84142B47-6C1B-DC56-757B-D15385B14905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921751" y="3197527"/>
              <a:ext cx="355624" cy="360952"/>
              <a:chOff x="7986064" y="5303416"/>
              <a:chExt cx="734069" cy="745069"/>
            </a:xfrm>
          </p:grpSpPr>
          <p:sp>
            <p:nvSpPr>
              <p:cNvPr id="80" name="Freihandform: Form 141">
                <a:extLst>
                  <a:ext uri="{FF2B5EF4-FFF2-40B4-BE49-F238E27FC236}">
                    <a16:creationId xmlns:a16="http://schemas.microsoft.com/office/drawing/2014/main" id="{3DB3AB1B-B5A2-A5BB-9F29-D7200199895D}"/>
                  </a:ext>
                </a:extLst>
              </p:cNvPr>
              <p:cNvSpPr/>
              <p:nvPr/>
            </p:nvSpPr>
            <p:spPr bwMode="gray">
              <a:xfrm>
                <a:off x="8383353" y="5963527"/>
                <a:ext cx="48897" cy="24449"/>
              </a:xfrm>
              <a:custGeom>
                <a:avLst/>
                <a:gdLst>
                  <a:gd name="connsiteX0" fmla="*/ 50905 w 65159"/>
                  <a:gd name="connsiteY0" fmla="*/ 18326 h 32579"/>
                  <a:gd name="connsiteX1" fmla="*/ 18326 w 65159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159" h="32579">
                    <a:moveTo>
                      <a:pt x="50905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1" name="Freihandform: Form 142">
                <a:extLst>
                  <a:ext uri="{FF2B5EF4-FFF2-40B4-BE49-F238E27FC236}">
                    <a16:creationId xmlns:a16="http://schemas.microsoft.com/office/drawing/2014/main" id="{1B19B53B-87C6-B59F-A499-EC65DB64DEE0}"/>
                  </a:ext>
                </a:extLst>
              </p:cNvPr>
              <p:cNvSpPr/>
              <p:nvPr/>
            </p:nvSpPr>
            <p:spPr bwMode="gray">
              <a:xfrm>
                <a:off x="8387632" y="5898739"/>
                <a:ext cx="61121" cy="24449"/>
              </a:xfrm>
              <a:custGeom>
                <a:avLst/>
                <a:gdLst>
                  <a:gd name="connsiteX0" fmla="*/ 67195 w 81448"/>
                  <a:gd name="connsiteY0" fmla="*/ 18326 h 32579"/>
                  <a:gd name="connsiteX1" fmla="*/ 18326 w 81448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32579">
                    <a:moveTo>
                      <a:pt x="67195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2" name="Freihandform: Form 143">
                <a:extLst>
                  <a:ext uri="{FF2B5EF4-FFF2-40B4-BE49-F238E27FC236}">
                    <a16:creationId xmlns:a16="http://schemas.microsoft.com/office/drawing/2014/main" id="{4928CFBF-B60C-B31A-45EC-7DF2540DBE2C}"/>
                  </a:ext>
                </a:extLst>
              </p:cNvPr>
              <p:cNvSpPr/>
              <p:nvPr/>
            </p:nvSpPr>
            <p:spPr bwMode="gray">
              <a:xfrm>
                <a:off x="8392522" y="5833950"/>
                <a:ext cx="67234" cy="24449"/>
              </a:xfrm>
              <a:custGeom>
                <a:avLst/>
                <a:gdLst>
                  <a:gd name="connsiteX0" fmla="*/ 76969 w 89593"/>
                  <a:gd name="connsiteY0" fmla="*/ 18326 h 32579"/>
                  <a:gd name="connsiteX1" fmla="*/ 18326 w 89593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32579">
                    <a:moveTo>
                      <a:pt x="76969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3" name="Freihandform: Form 144">
                <a:extLst>
                  <a:ext uri="{FF2B5EF4-FFF2-40B4-BE49-F238E27FC236}">
                    <a16:creationId xmlns:a16="http://schemas.microsoft.com/office/drawing/2014/main" id="{1E06BC50-0327-5D61-15EA-59398085EC79}"/>
                  </a:ext>
                </a:extLst>
              </p:cNvPr>
              <p:cNvSpPr/>
              <p:nvPr/>
            </p:nvSpPr>
            <p:spPr bwMode="gray">
              <a:xfrm>
                <a:off x="7986064" y="5755102"/>
                <a:ext cx="134467" cy="293383"/>
              </a:xfrm>
              <a:custGeom>
                <a:avLst/>
                <a:gdLst>
                  <a:gd name="connsiteX0" fmla="*/ 18326 w 179187"/>
                  <a:gd name="connsiteY0" fmla="*/ 375072 h 390954"/>
                  <a:gd name="connsiteX1" fmla="*/ 150273 w 179187"/>
                  <a:gd name="connsiteY1" fmla="*/ 375072 h 390954"/>
                  <a:gd name="connsiteX2" fmla="*/ 168192 w 179187"/>
                  <a:gd name="connsiteY2" fmla="*/ 357154 h 390954"/>
                  <a:gd name="connsiteX3" fmla="*/ 168192 w 179187"/>
                  <a:gd name="connsiteY3" fmla="*/ 36245 h 390954"/>
                  <a:gd name="connsiteX4" fmla="*/ 150273 w 179187"/>
                  <a:gd name="connsiteY4" fmla="*/ 18326 h 390954"/>
                  <a:gd name="connsiteX5" fmla="*/ 18326 w 179187"/>
                  <a:gd name="connsiteY5" fmla="*/ 18326 h 390954"/>
                  <a:gd name="connsiteX6" fmla="*/ 18326 w 179187"/>
                  <a:gd name="connsiteY6" fmla="*/ 375072 h 39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9187" h="390954">
                    <a:moveTo>
                      <a:pt x="18326" y="375072"/>
                    </a:moveTo>
                    <a:lnTo>
                      <a:pt x="150273" y="375072"/>
                    </a:lnTo>
                    <a:cubicBezTo>
                      <a:pt x="160047" y="375072"/>
                      <a:pt x="168192" y="366928"/>
                      <a:pt x="168192" y="357154"/>
                    </a:cubicBezTo>
                    <a:lnTo>
                      <a:pt x="168192" y="36245"/>
                    </a:lnTo>
                    <a:cubicBezTo>
                      <a:pt x="168192" y="26471"/>
                      <a:pt x="160047" y="18326"/>
                      <a:pt x="150273" y="18326"/>
                    </a:cubicBezTo>
                    <a:lnTo>
                      <a:pt x="18326" y="18326"/>
                    </a:lnTo>
                    <a:lnTo>
                      <a:pt x="18326" y="3750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4" name="Freihandform: Form 145">
                <a:extLst>
                  <a:ext uri="{FF2B5EF4-FFF2-40B4-BE49-F238E27FC236}">
                    <a16:creationId xmlns:a16="http://schemas.microsoft.com/office/drawing/2014/main" id="{CD338184-DF7F-8991-A6D0-66469A309032}"/>
                  </a:ext>
                </a:extLst>
              </p:cNvPr>
              <p:cNvSpPr/>
              <p:nvPr/>
            </p:nvSpPr>
            <p:spPr bwMode="gray">
              <a:xfrm>
                <a:off x="8099139" y="5768549"/>
                <a:ext cx="409514" cy="275046"/>
              </a:xfrm>
              <a:custGeom>
                <a:avLst/>
                <a:gdLst>
                  <a:gd name="connsiteX0" fmla="*/ 299325 w 545707"/>
                  <a:gd name="connsiteY0" fmla="*/ 18326 h 366520"/>
                  <a:gd name="connsiteX1" fmla="*/ 489915 w 545707"/>
                  <a:gd name="connsiteY1" fmla="*/ 18326 h 366520"/>
                  <a:gd name="connsiteX2" fmla="*/ 533083 w 545707"/>
                  <a:gd name="connsiteY2" fmla="*/ 63123 h 366520"/>
                  <a:gd name="connsiteX3" fmla="*/ 488286 w 545707"/>
                  <a:gd name="connsiteY3" fmla="*/ 104662 h 366520"/>
                  <a:gd name="connsiteX4" fmla="*/ 470368 w 545707"/>
                  <a:gd name="connsiteY4" fmla="*/ 104662 h 366520"/>
                  <a:gd name="connsiteX5" fmla="*/ 513536 w 545707"/>
                  <a:gd name="connsiteY5" fmla="*/ 149459 h 366520"/>
                  <a:gd name="connsiteX6" fmla="*/ 468739 w 545707"/>
                  <a:gd name="connsiteY6" fmla="*/ 190998 h 366520"/>
                  <a:gd name="connsiteX7" fmla="*/ 450820 w 545707"/>
                  <a:gd name="connsiteY7" fmla="*/ 190998 h 366520"/>
                  <a:gd name="connsiteX8" fmla="*/ 493988 w 545707"/>
                  <a:gd name="connsiteY8" fmla="*/ 235795 h 366520"/>
                  <a:gd name="connsiteX9" fmla="*/ 449191 w 545707"/>
                  <a:gd name="connsiteY9" fmla="*/ 277334 h 366520"/>
                  <a:gd name="connsiteX10" fmla="*/ 431272 w 545707"/>
                  <a:gd name="connsiteY10" fmla="*/ 277334 h 366520"/>
                  <a:gd name="connsiteX11" fmla="*/ 474440 w 545707"/>
                  <a:gd name="connsiteY11" fmla="*/ 316429 h 366520"/>
                  <a:gd name="connsiteX12" fmla="*/ 429643 w 545707"/>
                  <a:gd name="connsiteY12" fmla="*/ 355525 h 366520"/>
                  <a:gd name="connsiteX13" fmla="*/ 158418 w 545707"/>
                  <a:gd name="connsiteY13" fmla="*/ 312357 h 366520"/>
                  <a:gd name="connsiteX14" fmla="*/ 68010 w 545707"/>
                  <a:gd name="connsiteY14" fmla="*/ 303397 h 366520"/>
                  <a:gd name="connsiteX15" fmla="*/ 18326 w 545707"/>
                  <a:gd name="connsiteY15" fmla="*/ 315615 h 366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45707" h="366520">
                    <a:moveTo>
                      <a:pt x="299325" y="18326"/>
                    </a:moveTo>
                    <a:lnTo>
                      <a:pt x="489915" y="18326"/>
                    </a:lnTo>
                    <a:cubicBezTo>
                      <a:pt x="514350" y="18326"/>
                      <a:pt x="533898" y="38688"/>
                      <a:pt x="533083" y="63123"/>
                    </a:cubicBezTo>
                    <a:cubicBezTo>
                      <a:pt x="532269" y="85929"/>
                      <a:pt x="511092" y="104662"/>
                      <a:pt x="488286" y="104662"/>
                    </a:cubicBezTo>
                    <a:lnTo>
                      <a:pt x="470368" y="104662"/>
                    </a:lnTo>
                    <a:cubicBezTo>
                      <a:pt x="494802" y="104662"/>
                      <a:pt x="514350" y="125024"/>
                      <a:pt x="513536" y="149459"/>
                    </a:cubicBezTo>
                    <a:cubicBezTo>
                      <a:pt x="512721" y="172264"/>
                      <a:pt x="491545" y="190998"/>
                      <a:pt x="468739" y="190998"/>
                    </a:cubicBezTo>
                    <a:lnTo>
                      <a:pt x="450820" y="190998"/>
                    </a:lnTo>
                    <a:cubicBezTo>
                      <a:pt x="475255" y="190998"/>
                      <a:pt x="494802" y="211360"/>
                      <a:pt x="493988" y="235795"/>
                    </a:cubicBezTo>
                    <a:cubicBezTo>
                      <a:pt x="493174" y="258600"/>
                      <a:pt x="471997" y="277334"/>
                      <a:pt x="449191" y="277334"/>
                    </a:cubicBezTo>
                    <a:lnTo>
                      <a:pt x="431272" y="277334"/>
                    </a:lnTo>
                    <a:cubicBezTo>
                      <a:pt x="455707" y="277334"/>
                      <a:pt x="474440" y="294438"/>
                      <a:pt x="474440" y="316429"/>
                    </a:cubicBezTo>
                    <a:cubicBezTo>
                      <a:pt x="474440" y="343307"/>
                      <a:pt x="452449" y="355525"/>
                      <a:pt x="429643" y="355525"/>
                    </a:cubicBezTo>
                    <a:cubicBezTo>
                      <a:pt x="283035" y="355525"/>
                      <a:pt x="200772" y="331090"/>
                      <a:pt x="158418" y="312357"/>
                    </a:cubicBezTo>
                    <a:cubicBezTo>
                      <a:pt x="129911" y="299325"/>
                      <a:pt x="98146" y="296067"/>
                      <a:pt x="68010" y="303397"/>
                    </a:cubicBezTo>
                    <a:lnTo>
                      <a:pt x="18326" y="315615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5" name="Freihandform: Form 146">
                <a:extLst>
                  <a:ext uri="{FF2B5EF4-FFF2-40B4-BE49-F238E27FC236}">
                    <a16:creationId xmlns:a16="http://schemas.microsoft.com/office/drawing/2014/main" id="{C6C11467-A220-1C52-4CCD-91F8C77F33F6}"/>
                  </a:ext>
                </a:extLst>
              </p:cNvPr>
              <p:cNvSpPr/>
              <p:nvPr/>
            </p:nvSpPr>
            <p:spPr bwMode="gray">
              <a:xfrm>
                <a:off x="8098527" y="5676867"/>
                <a:ext cx="262822" cy="122243"/>
              </a:xfrm>
              <a:custGeom>
                <a:avLst/>
                <a:gdLst>
                  <a:gd name="connsiteX0" fmla="*/ 18326 w 350230"/>
                  <a:gd name="connsiteY0" fmla="*/ 149459 h 162897"/>
                  <a:gd name="connsiteX1" fmla="*/ 121766 w 350230"/>
                  <a:gd name="connsiteY1" fmla="*/ 149459 h 162897"/>
                  <a:gd name="connsiteX2" fmla="*/ 179595 w 350230"/>
                  <a:gd name="connsiteY2" fmla="*/ 149459 h 162897"/>
                  <a:gd name="connsiteX3" fmla="*/ 338420 w 350230"/>
                  <a:gd name="connsiteY3" fmla="*/ 18326 h 162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0230" h="162897">
                    <a:moveTo>
                      <a:pt x="18326" y="149459"/>
                    </a:moveTo>
                    <a:lnTo>
                      <a:pt x="121766" y="149459"/>
                    </a:lnTo>
                    <a:lnTo>
                      <a:pt x="179595" y="149459"/>
                    </a:lnTo>
                    <a:cubicBezTo>
                      <a:pt x="179595" y="149459"/>
                      <a:pt x="186925" y="44390"/>
                      <a:pt x="33842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6" name="Freihandform: Form 147">
                <a:extLst>
                  <a:ext uri="{FF2B5EF4-FFF2-40B4-BE49-F238E27FC236}">
                    <a16:creationId xmlns:a16="http://schemas.microsoft.com/office/drawing/2014/main" id="{03D12D90-6236-4F72-73BB-13DBF1B667B0}"/>
                  </a:ext>
                </a:extLst>
              </p:cNvPr>
              <p:cNvSpPr/>
              <p:nvPr/>
            </p:nvSpPr>
            <p:spPr bwMode="gray">
              <a:xfrm>
                <a:off x="8124809" y="5326642"/>
                <a:ext cx="537869" cy="140580"/>
              </a:xfrm>
              <a:custGeom>
                <a:avLst/>
                <a:gdLst>
                  <a:gd name="connsiteX0" fmla="*/ 705755 w 716750"/>
                  <a:gd name="connsiteY0" fmla="*/ 18326 h 187332"/>
                  <a:gd name="connsiteX1" fmla="*/ 323759 w 716750"/>
                  <a:gd name="connsiteY1" fmla="*/ 155160 h 187332"/>
                  <a:gd name="connsiteX2" fmla="*/ 18326 w 716750"/>
                  <a:gd name="connsiteY2" fmla="*/ 163305 h 187332"/>
                  <a:gd name="connsiteX3" fmla="*/ 18326 w 716750"/>
                  <a:gd name="connsiteY3" fmla="*/ 163305 h 187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6750" h="187332">
                    <a:moveTo>
                      <a:pt x="705755" y="18326"/>
                    </a:moveTo>
                    <a:cubicBezTo>
                      <a:pt x="551816" y="92445"/>
                      <a:pt x="421498" y="133169"/>
                      <a:pt x="323759" y="155160"/>
                    </a:cubicBezTo>
                    <a:cubicBezTo>
                      <a:pt x="223577" y="177966"/>
                      <a:pt x="120137" y="180409"/>
                      <a:pt x="18326" y="163305"/>
                    </a:cubicBezTo>
                    <a:lnTo>
                      <a:pt x="18326" y="163305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7" name="Freihandform: Form 148">
                <a:extLst>
                  <a:ext uri="{FF2B5EF4-FFF2-40B4-BE49-F238E27FC236}">
                    <a16:creationId xmlns:a16="http://schemas.microsoft.com/office/drawing/2014/main" id="{6A78075A-9A5C-F443-3903-82F1DDA7828A}"/>
                  </a:ext>
                </a:extLst>
              </p:cNvPr>
              <p:cNvSpPr/>
              <p:nvPr/>
            </p:nvSpPr>
            <p:spPr bwMode="gray">
              <a:xfrm>
                <a:off x="8338735" y="5596798"/>
                <a:ext cx="97794" cy="195589"/>
              </a:xfrm>
              <a:custGeom>
                <a:avLst/>
                <a:gdLst>
                  <a:gd name="connsiteX0" fmla="*/ 117694 w 130318"/>
                  <a:gd name="connsiteY0" fmla="*/ 42761 h 260636"/>
                  <a:gd name="connsiteX1" fmla="*/ 117694 w 130318"/>
                  <a:gd name="connsiteY1" fmla="*/ 247198 h 260636"/>
                  <a:gd name="connsiteX2" fmla="*/ 18326 w 130318"/>
                  <a:gd name="connsiteY2" fmla="*/ 247198 h 260636"/>
                  <a:gd name="connsiteX3" fmla="*/ 18326 w 130318"/>
                  <a:gd name="connsiteY3" fmla="*/ 18326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260636">
                    <a:moveTo>
                      <a:pt x="117694" y="42761"/>
                    </a:moveTo>
                    <a:lnTo>
                      <a:pt x="117694" y="247198"/>
                    </a:lnTo>
                    <a:lnTo>
                      <a:pt x="18326" y="247198"/>
                    </a:ln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8" name="Freihandform: Form 149">
                <a:extLst>
                  <a:ext uri="{FF2B5EF4-FFF2-40B4-BE49-F238E27FC236}">
                    <a16:creationId xmlns:a16="http://schemas.microsoft.com/office/drawing/2014/main" id="{9895C9B3-25D4-B3B2-D0DE-B1E4A9C1A954}"/>
                  </a:ext>
                </a:extLst>
              </p:cNvPr>
              <p:cNvSpPr/>
              <p:nvPr/>
            </p:nvSpPr>
            <p:spPr bwMode="gray">
              <a:xfrm>
                <a:off x="8640675" y="5303416"/>
                <a:ext cx="79458" cy="446186"/>
              </a:xfrm>
              <a:custGeom>
                <a:avLst/>
                <a:gdLst>
                  <a:gd name="connsiteX0" fmla="*/ 61494 w 105883"/>
                  <a:gd name="connsiteY0" fmla="*/ 581953 h 594577"/>
                  <a:gd name="connsiteX1" fmla="*/ 18326 w 105883"/>
                  <a:gd name="connsiteY1" fmla="*/ 581953 h 594577"/>
                  <a:gd name="connsiteX2" fmla="*/ 18326 w 105883"/>
                  <a:gd name="connsiteY2" fmla="*/ 18326 h 594577"/>
                  <a:gd name="connsiteX3" fmla="*/ 61494 w 105883"/>
                  <a:gd name="connsiteY3" fmla="*/ 18326 h 594577"/>
                  <a:gd name="connsiteX4" fmla="*/ 94073 w 105883"/>
                  <a:gd name="connsiteY4" fmla="*/ 50906 h 594577"/>
                  <a:gd name="connsiteX5" fmla="*/ 94073 w 105883"/>
                  <a:gd name="connsiteY5" fmla="*/ 549373 h 594577"/>
                  <a:gd name="connsiteX6" fmla="*/ 61494 w 105883"/>
                  <a:gd name="connsiteY6" fmla="*/ 581953 h 594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5883" h="594577">
                    <a:moveTo>
                      <a:pt x="61494" y="581953"/>
                    </a:moveTo>
                    <a:lnTo>
                      <a:pt x="18326" y="581953"/>
                    </a:lnTo>
                    <a:lnTo>
                      <a:pt x="18326" y="18326"/>
                    </a:lnTo>
                    <a:lnTo>
                      <a:pt x="61494" y="18326"/>
                    </a:lnTo>
                    <a:cubicBezTo>
                      <a:pt x="79413" y="18326"/>
                      <a:pt x="94073" y="32987"/>
                      <a:pt x="94073" y="50906"/>
                    </a:cubicBezTo>
                    <a:lnTo>
                      <a:pt x="94073" y="549373"/>
                    </a:lnTo>
                    <a:cubicBezTo>
                      <a:pt x="94073" y="567292"/>
                      <a:pt x="79413" y="581953"/>
                      <a:pt x="61494" y="58195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9" name="Freihandform: Form 150">
                <a:extLst>
                  <a:ext uri="{FF2B5EF4-FFF2-40B4-BE49-F238E27FC236}">
                    <a16:creationId xmlns:a16="http://schemas.microsoft.com/office/drawing/2014/main" id="{2D6FD5AF-ABF4-E8B4-3BF2-ED86C82376B8}"/>
                  </a:ext>
                </a:extLst>
              </p:cNvPr>
              <p:cNvSpPr/>
              <p:nvPr/>
            </p:nvSpPr>
            <p:spPr bwMode="gray">
              <a:xfrm>
                <a:off x="8125421" y="5585273"/>
                <a:ext cx="537869" cy="140580"/>
              </a:xfrm>
              <a:custGeom>
                <a:avLst/>
                <a:gdLst>
                  <a:gd name="connsiteX0" fmla="*/ 704940 w 716750"/>
                  <a:gd name="connsiteY0" fmla="*/ 174591 h 187332"/>
                  <a:gd name="connsiteX1" fmla="*/ 331904 w 716750"/>
                  <a:gd name="connsiteY1" fmla="*/ 39386 h 187332"/>
                  <a:gd name="connsiteX2" fmla="*/ 18326 w 716750"/>
                  <a:gd name="connsiteY2" fmla="*/ 28797 h 187332"/>
                  <a:gd name="connsiteX3" fmla="*/ 18326 w 716750"/>
                  <a:gd name="connsiteY3" fmla="*/ 28797 h 187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6750" h="187332">
                    <a:moveTo>
                      <a:pt x="704940" y="174591"/>
                    </a:moveTo>
                    <a:cubicBezTo>
                      <a:pt x="555074" y="102101"/>
                      <a:pt x="428014" y="62191"/>
                      <a:pt x="331904" y="39386"/>
                    </a:cubicBezTo>
                    <a:cubicBezTo>
                      <a:pt x="229278" y="15765"/>
                      <a:pt x="122581" y="11693"/>
                      <a:pt x="18326" y="28797"/>
                    </a:cubicBezTo>
                    <a:lnTo>
                      <a:pt x="18326" y="28797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0" name="Freihandform: Form 151">
                <a:extLst>
                  <a:ext uri="{FF2B5EF4-FFF2-40B4-BE49-F238E27FC236}">
                    <a16:creationId xmlns:a16="http://schemas.microsoft.com/office/drawing/2014/main" id="{595D3152-1BFF-70FD-6F67-BEF62724CF11}"/>
                  </a:ext>
                </a:extLst>
              </p:cNvPr>
              <p:cNvSpPr/>
              <p:nvPr/>
            </p:nvSpPr>
            <p:spPr bwMode="gray">
              <a:xfrm>
                <a:off x="8071634" y="5415267"/>
                <a:ext cx="79458" cy="226149"/>
              </a:xfrm>
              <a:custGeom>
                <a:avLst/>
                <a:gdLst>
                  <a:gd name="connsiteX0" fmla="*/ 89187 w 105883"/>
                  <a:gd name="connsiteY0" fmla="*/ 283035 h 301361"/>
                  <a:gd name="connsiteX1" fmla="*/ 52535 w 105883"/>
                  <a:gd name="connsiteY1" fmla="*/ 283035 h 301361"/>
                  <a:gd name="connsiteX2" fmla="*/ 18326 w 105883"/>
                  <a:gd name="connsiteY2" fmla="*/ 248827 h 301361"/>
                  <a:gd name="connsiteX3" fmla="*/ 18326 w 105883"/>
                  <a:gd name="connsiteY3" fmla="*/ 52535 h 301361"/>
                  <a:gd name="connsiteX4" fmla="*/ 52535 w 105883"/>
                  <a:gd name="connsiteY4" fmla="*/ 18326 h 301361"/>
                  <a:gd name="connsiteX5" fmla="*/ 89187 w 105883"/>
                  <a:gd name="connsiteY5" fmla="*/ 18326 h 301361"/>
                  <a:gd name="connsiteX6" fmla="*/ 89187 w 105883"/>
                  <a:gd name="connsiteY6" fmla="*/ 283035 h 301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5883" h="301361">
                    <a:moveTo>
                      <a:pt x="89187" y="283035"/>
                    </a:moveTo>
                    <a:lnTo>
                      <a:pt x="52535" y="283035"/>
                    </a:lnTo>
                    <a:cubicBezTo>
                      <a:pt x="33802" y="283035"/>
                      <a:pt x="18326" y="267560"/>
                      <a:pt x="18326" y="248827"/>
                    </a:cubicBezTo>
                    <a:lnTo>
                      <a:pt x="18326" y="52535"/>
                    </a:lnTo>
                    <a:cubicBezTo>
                      <a:pt x="18326" y="33801"/>
                      <a:pt x="33802" y="18326"/>
                      <a:pt x="52535" y="18326"/>
                    </a:cubicBezTo>
                    <a:lnTo>
                      <a:pt x="89187" y="18326"/>
                    </a:lnTo>
                    <a:lnTo>
                      <a:pt x="89187" y="283035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5" name="Gruppieren 152">
              <a:extLst>
                <a:ext uri="{FF2B5EF4-FFF2-40B4-BE49-F238E27FC236}">
                  <a16:creationId xmlns:a16="http://schemas.microsoft.com/office/drawing/2014/main" id="{8872F882-AA25-4F42-700A-300D1E880F5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4363116" y="1676645"/>
              <a:ext cx="442498" cy="390279"/>
              <a:chOff x="8797658" y="7629428"/>
              <a:chExt cx="712335" cy="628274"/>
            </a:xfrm>
          </p:grpSpPr>
          <p:sp>
            <p:nvSpPr>
              <p:cNvPr id="61" name="Freihandform: Form 153">
                <a:extLst>
                  <a:ext uri="{FF2B5EF4-FFF2-40B4-BE49-F238E27FC236}">
                    <a16:creationId xmlns:a16="http://schemas.microsoft.com/office/drawing/2014/main" id="{25319030-2B7E-580C-FDB2-F491361149F3}"/>
                  </a:ext>
                </a:extLst>
              </p:cNvPr>
              <p:cNvSpPr/>
              <p:nvPr/>
            </p:nvSpPr>
            <p:spPr bwMode="gray">
              <a:xfrm>
                <a:off x="9030736" y="7823205"/>
                <a:ext cx="92795" cy="141921"/>
              </a:xfrm>
              <a:custGeom>
                <a:avLst/>
                <a:gdLst>
                  <a:gd name="connsiteX0" fmla="*/ 12282 w 92794"/>
                  <a:gd name="connsiteY0" fmla="*/ 132369 h 141921"/>
                  <a:gd name="connsiteX1" fmla="*/ 12282 w 92794"/>
                  <a:gd name="connsiteY1" fmla="*/ 12282 h 141921"/>
                  <a:gd name="connsiteX2" fmla="*/ 82150 w 92794"/>
                  <a:gd name="connsiteY2" fmla="*/ 12282 h 141921"/>
                  <a:gd name="connsiteX3" fmla="*/ 82150 w 92794"/>
                  <a:gd name="connsiteY3" fmla="*/ 132369 h 141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794" h="141921">
                    <a:moveTo>
                      <a:pt x="12282" y="132369"/>
                    </a:moveTo>
                    <a:lnTo>
                      <a:pt x="12282" y="12282"/>
                    </a:lnTo>
                    <a:lnTo>
                      <a:pt x="82150" y="12282"/>
                    </a:lnTo>
                    <a:lnTo>
                      <a:pt x="82150" y="13236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2" name="Freihandform: Form 154">
                <a:extLst>
                  <a:ext uri="{FF2B5EF4-FFF2-40B4-BE49-F238E27FC236}">
                    <a16:creationId xmlns:a16="http://schemas.microsoft.com/office/drawing/2014/main" id="{235C5CF7-484A-CA36-78DA-0B7B94F45AB3}"/>
                  </a:ext>
                </a:extLst>
              </p:cNvPr>
              <p:cNvSpPr/>
              <p:nvPr/>
            </p:nvSpPr>
            <p:spPr bwMode="gray">
              <a:xfrm>
                <a:off x="9065671" y="7823205"/>
                <a:ext cx="21834" cy="174672"/>
              </a:xfrm>
              <a:custGeom>
                <a:avLst/>
                <a:gdLst>
                  <a:gd name="connsiteX0" fmla="*/ 12282 w 21834"/>
                  <a:gd name="connsiteY0" fmla="*/ 12282 h 174672"/>
                  <a:gd name="connsiteX1" fmla="*/ 12282 w 21834"/>
                  <a:gd name="connsiteY1" fmla="*/ 165120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174672">
                    <a:moveTo>
                      <a:pt x="12282" y="12282"/>
                    </a:moveTo>
                    <a:lnTo>
                      <a:pt x="12282" y="165120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3" name="Freihandform: Form 155">
                <a:extLst>
                  <a:ext uri="{FF2B5EF4-FFF2-40B4-BE49-F238E27FC236}">
                    <a16:creationId xmlns:a16="http://schemas.microsoft.com/office/drawing/2014/main" id="{B355B21C-B0BD-D60C-2C96-5002D7824A09}"/>
                  </a:ext>
                </a:extLst>
              </p:cNvPr>
              <p:cNvSpPr/>
              <p:nvPr/>
            </p:nvSpPr>
            <p:spPr bwMode="gray">
              <a:xfrm>
                <a:off x="9043836" y="7656720"/>
                <a:ext cx="65502" cy="65502"/>
              </a:xfrm>
              <a:custGeom>
                <a:avLst/>
                <a:gdLst>
                  <a:gd name="connsiteX0" fmla="*/ 55950 w 65502"/>
                  <a:gd name="connsiteY0" fmla="*/ 34116 h 65502"/>
                  <a:gd name="connsiteX1" fmla="*/ 34116 w 65502"/>
                  <a:gd name="connsiteY1" fmla="*/ 55950 h 65502"/>
                  <a:gd name="connsiteX2" fmla="*/ 12282 w 65502"/>
                  <a:gd name="connsiteY2" fmla="*/ 34116 h 65502"/>
                  <a:gd name="connsiteX3" fmla="*/ 34116 w 65502"/>
                  <a:gd name="connsiteY3" fmla="*/ 12282 h 65502"/>
                  <a:gd name="connsiteX4" fmla="*/ 55950 w 65502"/>
                  <a:gd name="connsiteY4" fmla="*/ 34116 h 65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502" h="65502">
                    <a:moveTo>
                      <a:pt x="55950" y="34116"/>
                    </a:moveTo>
                    <a:cubicBezTo>
                      <a:pt x="55950" y="46124"/>
                      <a:pt x="46124" y="55950"/>
                      <a:pt x="34116" y="55950"/>
                    </a:cubicBezTo>
                    <a:cubicBezTo>
                      <a:pt x="22107" y="55950"/>
                      <a:pt x="12282" y="46124"/>
                      <a:pt x="12282" y="34116"/>
                    </a:cubicBezTo>
                    <a:cubicBezTo>
                      <a:pt x="12282" y="22107"/>
                      <a:pt x="22107" y="12282"/>
                      <a:pt x="34116" y="12282"/>
                    </a:cubicBezTo>
                    <a:cubicBezTo>
                      <a:pt x="46124" y="12282"/>
                      <a:pt x="55950" y="22107"/>
                      <a:pt x="55950" y="34116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4" name="Freihandform: Form 156">
                <a:extLst>
                  <a:ext uri="{FF2B5EF4-FFF2-40B4-BE49-F238E27FC236}">
                    <a16:creationId xmlns:a16="http://schemas.microsoft.com/office/drawing/2014/main" id="{EA834B4A-DC92-BC1B-C4B0-ABDD36303C87}"/>
                  </a:ext>
                </a:extLst>
              </p:cNvPr>
              <p:cNvSpPr/>
              <p:nvPr/>
            </p:nvSpPr>
            <p:spPr bwMode="gray">
              <a:xfrm>
                <a:off x="9065671" y="7726043"/>
                <a:ext cx="21834" cy="87336"/>
              </a:xfrm>
              <a:custGeom>
                <a:avLst/>
                <a:gdLst>
                  <a:gd name="connsiteX0" fmla="*/ 12282 w 21834"/>
                  <a:gd name="connsiteY0" fmla="*/ 12282 h 87336"/>
                  <a:gd name="connsiteX1" fmla="*/ 12282 w 21834"/>
                  <a:gd name="connsiteY1" fmla="*/ 78875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87336">
                    <a:moveTo>
                      <a:pt x="12282" y="12282"/>
                    </a:moveTo>
                    <a:lnTo>
                      <a:pt x="12282" y="78875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5" name="Freihandform: Form 157">
                <a:extLst>
                  <a:ext uri="{FF2B5EF4-FFF2-40B4-BE49-F238E27FC236}">
                    <a16:creationId xmlns:a16="http://schemas.microsoft.com/office/drawing/2014/main" id="{BD4CE683-062A-C30C-5C7F-BA60B2448AEF}"/>
                  </a:ext>
                </a:extLst>
              </p:cNvPr>
              <p:cNvSpPr/>
              <p:nvPr/>
            </p:nvSpPr>
            <p:spPr bwMode="gray">
              <a:xfrm>
                <a:off x="9030736" y="7770803"/>
                <a:ext cx="92795" cy="76419"/>
              </a:xfrm>
              <a:custGeom>
                <a:avLst/>
                <a:gdLst>
                  <a:gd name="connsiteX0" fmla="*/ 12282 w 92794"/>
                  <a:gd name="connsiteY0" fmla="*/ 12282 h 76419"/>
                  <a:gd name="connsiteX1" fmla="*/ 12282 w 92794"/>
                  <a:gd name="connsiteY1" fmla="*/ 64683 h 76419"/>
                  <a:gd name="connsiteX2" fmla="*/ 82150 w 92794"/>
                  <a:gd name="connsiteY2" fmla="*/ 64683 h 76419"/>
                  <a:gd name="connsiteX3" fmla="*/ 82150 w 92794"/>
                  <a:gd name="connsiteY3" fmla="*/ 12282 h 76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794" h="76419">
                    <a:moveTo>
                      <a:pt x="12282" y="12282"/>
                    </a:moveTo>
                    <a:lnTo>
                      <a:pt x="12282" y="64683"/>
                    </a:lnTo>
                    <a:lnTo>
                      <a:pt x="82150" y="64683"/>
                    </a:lnTo>
                    <a:lnTo>
                      <a:pt x="82150" y="12282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6" name="Freihandform: Form 158">
                <a:extLst>
                  <a:ext uri="{FF2B5EF4-FFF2-40B4-BE49-F238E27FC236}">
                    <a16:creationId xmlns:a16="http://schemas.microsoft.com/office/drawing/2014/main" id="{01888448-A7B1-4F7E-A7DD-DFE88E5F0B24}"/>
                  </a:ext>
                </a:extLst>
              </p:cNvPr>
              <p:cNvSpPr/>
              <p:nvPr/>
            </p:nvSpPr>
            <p:spPr bwMode="gray">
              <a:xfrm>
                <a:off x="8957592" y="7682375"/>
                <a:ext cx="169214" cy="87336"/>
              </a:xfrm>
              <a:custGeom>
                <a:avLst/>
                <a:gdLst>
                  <a:gd name="connsiteX0" fmla="*/ 158570 w 169213"/>
                  <a:gd name="connsiteY0" fmla="*/ 55950 h 87336"/>
                  <a:gd name="connsiteX1" fmla="*/ 101801 w 169213"/>
                  <a:gd name="connsiteY1" fmla="*/ 55950 h 87336"/>
                  <a:gd name="connsiteX2" fmla="*/ 66867 w 169213"/>
                  <a:gd name="connsiteY2" fmla="*/ 69596 h 87336"/>
                  <a:gd name="connsiteX3" fmla="*/ 66867 w 169213"/>
                  <a:gd name="connsiteY3" fmla="*/ 69596 h 87336"/>
                  <a:gd name="connsiteX4" fmla="*/ 32478 w 169213"/>
                  <a:gd name="connsiteY4" fmla="*/ 61954 h 87336"/>
                  <a:gd name="connsiteX5" fmla="*/ 12282 w 169213"/>
                  <a:gd name="connsiteY5" fmla="*/ 12282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9213" h="87336">
                    <a:moveTo>
                      <a:pt x="158570" y="55950"/>
                    </a:moveTo>
                    <a:lnTo>
                      <a:pt x="101801" y="55950"/>
                    </a:lnTo>
                    <a:cubicBezTo>
                      <a:pt x="88701" y="55950"/>
                      <a:pt x="76146" y="60862"/>
                      <a:pt x="66867" y="69596"/>
                    </a:cubicBezTo>
                    <a:lnTo>
                      <a:pt x="66867" y="69596"/>
                    </a:lnTo>
                    <a:cubicBezTo>
                      <a:pt x="55950" y="79967"/>
                      <a:pt x="37937" y="76146"/>
                      <a:pt x="32478" y="61954"/>
                    </a:cubicBezTo>
                    <a:lnTo>
                      <a:pt x="12282" y="12282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7" name="Freihandform: Form 159">
                <a:extLst>
                  <a:ext uri="{FF2B5EF4-FFF2-40B4-BE49-F238E27FC236}">
                    <a16:creationId xmlns:a16="http://schemas.microsoft.com/office/drawing/2014/main" id="{564B1CCB-583D-84D2-C1FF-45BB85D1DC13}"/>
                  </a:ext>
                </a:extLst>
              </p:cNvPr>
              <p:cNvSpPr/>
              <p:nvPr/>
            </p:nvSpPr>
            <p:spPr bwMode="gray">
              <a:xfrm>
                <a:off x="9103880" y="7726043"/>
                <a:ext cx="49127" cy="120087"/>
              </a:xfrm>
              <a:custGeom>
                <a:avLst/>
                <a:gdLst>
                  <a:gd name="connsiteX0" fmla="*/ 12282 w 49126"/>
                  <a:gd name="connsiteY0" fmla="*/ 12282 h 120087"/>
                  <a:gd name="connsiteX1" fmla="*/ 12282 w 49126"/>
                  <a:gd name="connsiteY1" fmla="*/ 12282 h 120087"/>
                  <a:gd name="connsiteX2" fmla="*/ 36845 w 49126"/>
                  <a:gd name="connsiteY2" fmla="*/ 41758 h 120087"/>
                  <a:gd name="connsiteX3" fmla="*/ 36845 w 49126"/>
                  <a:gd name="connsiteY3" fmla="*/ 109443 h 120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126" h="120087">
                    <a:moveTo>
                      <a:pt x="12282" y="12282"/>
                    </a:moveTo>
                    <a:lnTo>
                      <a:pt x="12282" y="12282"/>
                    </a:lnTo>
                    <a:cubicBezTo>
                      <a:pt x="28657" y="12282"/>
                      <a:pt x="36845" y="25382"/>
                      <a:pt x="36845" y="41758"/>
                    </a:cubicBezTo>
                    <a:lnTo>
                      <a:pt x="36845" y="109443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8" name="Freihandform: Form 160">
                <a:extLst>
                  <a:ext uri="{FF2B5EF4-FFF2-40B4-BE49-F238E27FC236}">
                    <a16:creationId xmlns:a16="http://schemas.microsoft.com/office/drawing/2014/main" id="{8EE81A2F-EED7-2CCE-648C-8670F3F7301B}"/>
                  </a:ext>
                </a:extLst>
              </p:cNvPr>
              <p:cNvSpPr/>
              <p:nvPr/>
            </p:nvSpPr>
            <p:spPr bwMode="gray">
              <a:xfrm>
                <a:off x="8797658" y="7900170"/>
                <a:ext cx="447597" cy="262008"/>
              </a:xfrm>
              <a:custGeom>
                <a:avLst/>
                <a:gdLst>
                  <a:gd name="connsiteX0" fmla="*/ 12282 w 447597"/>
                  <a:gd name="connsiteY0" fmla="*/ 189137 h 262008"/>
                  <a:gd name="connsiteX1" fmla="*/ 204967 w 447597"/>
                  <a:gd name="connsiteY1" fmla="*/ 12282 h 262008"/>
                  <a:gd name="connsiteX2" fmla="*/ 438045 w 447597"/>
                  <a:gd name="connsiteY2" fmla="*/ 253548 h 262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7597" h="262008">
                    <a:moveTo>
                      <a:pt x="12282" y="189137"/>
                    </a:moveTo>
                    <a:lnTo>
                      <a:pt x="204967" y="12282"/>
                    </a:lnTo>
                    <a:lnTo>
                      <a:pt x="438045" y="253548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9" name="Freihandform: Form 161">
                <a:extLst>
                  <a:ext uri="{FF2B5EF4-FFF2-40B4-BE49-F238E27FC236}">
                    <a16:creationId xmlns:a16="http://schemas.microsoft.com/office/drawing/2014/main" id="{D8A54E3A-8205-253A-EC04-BFB7218B9BA3}"/>
                  </a:ext>
                </a:extLst>
              </p:cNvPr>
              <p:cNvSpPr/>
              <p:nvPr/>
            </p:nvSpPr>
            <p:spPr bwMode="gray">
              <a:xfrm>
                <a:off x="9062396" y="7779537"/>
                <a:ext cx="447597" cy="251091"/>
              </a:xfrm>
              <a:custGeom>
                <a:avLst/>
                <a:gdLst>
                  <a:gd name="connsiteX0" fmla="*/ 12282 w 447597"/>
                  <a:gd name="connsiteY0" fmla="*/ 211517 h 251091"/>
                  <a:gd name="connsiteX1" fmla="*/ 222980 w 447597"/>
                  <a:gd name="connsiteY1" fmla="*/ 12282 h 251091"/>
                  <a:gd name="connsiteX2" fmla="*/ 438591 w 447597"/>
                  <a:gd name="connsiteY2" fmla="*/ 242085 h 251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7597" h="251091">
                    <a:moveTo>
                      <a:pt x="12282" y="211517"/>
                    </a:moveTo>
                    <a:lnTo>
                      <a:pt x="222980" y="12282"/>
                    </a:lnTo>
                    <a:lnTo>
                      <a:pt x="438591" y="24208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0" name="Freihandform: Form 162">
                <a:extLst>
                  <a:ext uri="{FF2B5EF4-FFF2-40B4-BE49-F238E27FC236}">
                    <a16:creationId xmlns:a16="http://schemas.microsoft.com/office/drawing/2014/main" id="{38A1A52F-A498-8E31-72B0-AA762EB7C947}"/>
                  </a:ext>
                </a:extLst>
              </p:cNvPr>
              <p:cNvSpPr/>
              <p:nvPr/>
            </p:nvSpPr>
            <p:spPr bwMode="gray">
              <a:xfrm>
                <a:off x="9223421" y="7924733"/>
                <a:ext cx="21834" cy="332969"/>
              </a:xfrm>
              <a:custGeom>
                <a:avLst/>
                <a:gdLst>
                  <a:gd name="connsiteX0" fmla="*/ 12282 w 21834"/>
                  <a:gd name="connsiteY0" fmla="*/ 12282 h 332968"/>
                  <a:gd name="connsiteX1" fmla="*/ 12282 w 21834"/>
                  <a:gd name="connsiteY1" fmla="*/ 325054 h 332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32968">
                    <a:moveTo>
                      <a:pt x="12282" y="12282"/>
                    </a:moveTo>
                    <a:lnTo>
                      <a:pt x="12282" y="325054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1" name="Freihandform: Form 163">
                <a:extLst>
                  <a:ext uri="{FF2B5EF4-FFF2-40B4-BE49-F238E27FC236}">
                    <a16:creationId xmlns:a16="http://schemas.microsoft.com/office/drawing/2014/main" id="{5BFBA4E4-2B5A-8435-51DD-AE5AC4B3A67C}"/>
                  </a:ext>
                </a:extLst>
              </p:cNvPr>
              <p:cNvSpPr/>
              <p:nvPr/>
            </p:nvSpPr>
            <p:spPr bwMode="gray">
              <a:xfrm>
                <a:off x="9308574" y="7924733"/>
                <a:ext cx="21834" cy="332969"/>
              </a:xfrm>
              <a:custGeom>
                <a:avLst/>
                <a:gdLst>
                  <a:gd name="connsiteX0" fmla="*/ 12282 w 21834"/>
                  <a:gd name="connsiteY0" fmla="*/ 12282 h 332968"/>
                  <a:gd name="connsiteX1" fmla="*/ 12282 w 21834"/>
                  <a:gd name="connsiteY1" fmla="*/ 325054 h 332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32968">
                    <a:moveTo>
                      <a:pt x="12282" y="12282"/>
                    </a:moveTo>
                    <a:lnTo>
                      <a:pt x="12282" y="325054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2" name="Freihandform: Form 164">
                <a:extLst>
                  <a:ext uri="{FF2B5EF4-FFF2-40B4-BE49-F238E27FC236}">
                    <a16:creationId xmlns:a16="http://schemas.microsoft.com/office/drawing/2014/main" id="{09880B39-BD16-8CE0-6528-8952C9EEBF3D}"/>
                  </a:ext>
                </a:extLst>
              </p:cNvPr>
              <p:cNvSpPr/>
              <p:nvPr/>
            </p:nvSpPr>
            <p:spPr bwMode="gray">
              <a:xfrm>
                <a:off x="9227788" y="7962943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3" name="Freihandform: Form 165">
                <a:extLst>
                  <a:ext uri="{FF2B5EF4-FFF2-40B4-BE49-F238E27FC236}">
                    <a16:creationId xmlns:a16="http://schemas.microsoft.com/office/drawing/2014/main" id="{295AC6F2-68CB-62E9-F456-E8FD8EA4249D}"/>
                  </a:ext>
                </a:extLst>
              </p:cNvPr>
              <p:cNvSpPr/>
              <p:nvPr/>
            </p:nvSpPr>
            <p:spPr bwMode="gray">
              <a:xfrm>
                <a:off x="9227788" y="8021894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4" name="Freihandform: Form 166">
                <a:extLst>
                  <a:ext uri="{FF2B5EF4-FFF2-40B4-BE49-F238E27FC236}">
                    <a16:creationId xmlns:a16="http://schemas.microsoft.com/office/drawing/2014/main" id="{45B0FAB3-68B4-8E26-9797-562ED89CFAD3}"/>
                  </a:ext>
                </a:extLst>
              </p:cNvPr>
              <p:cNvSpPr/>
              <p:nvPr/>
            </p:nvSpPr>
            <p:spPr bwMode="gray">
              <a:xfrm>
                <a:off x="9227788" y="8080846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5" name="Freihandform: Form 167">
                <a:extLst>
                  <a:ext uri="{FF2B5EF4-FFF2-40B4-BE49-F238E27FC236}">
                    <a16:creationId xmlns:a16="http://schemas.microsoft.com/office/drawing/2014/main" id="{A608F61F-A41E-5644-A6F4-E2782D0E93A4}"/>
                  </a:ext>
                </a:extLst>
              </p:cNvPr>
              <p:cNvSpPr/>
              <p:nvPr/>
            </p:nvSpPr>
            <p:spPr bwMode="gray">
              <a:xfrm>
                <a:off x="9227788" y="8140344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6" name="Freihandform: Form 168">
                <a:extLst>
                  <a:ext uri="{FF2B5EF4-FFF2-40B4-BE49-F238E27FC236}">
                    <a16:creationId xmlns:a16="http://schemas.microsoft.com/office/drawing/2014/main" id="{CCB4D8FA-2EC8-BC00-65D1-503D353BD989}"/>
                  </a:ext>
                </a:extLst>
              </p:cNvPr>
              <p:cNvSpPr/>
              <p:nvPr/>
            </p:nvSpPr>
            <p:spPr bwMode="gray">
              <a:xfrm>
                <a:off x="9227788" y="8199296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7" name="Freihandform: Form 169">
                <a:extLst>
                  <a:ext uri="{FF2B5EF4-FFF2-40B4-BE49-F238E27FC236}">
                    <a16:creationId xmlns:a16="http://schemas.microsoft.com/office/drawing/2014/main" id="{36FF92CC-1531-DA0A-4DD3-C1C0227A921A}"/>
                  </a:ext>
                </a:extLst>
              </p:cNvPr>
              <p:cNvSpPr/>
              <p:nvPr/>
            </p:nvSpPr>
            <p:spPr bwMode="gray">
              <a:xfrm>
                <a:off x="9273094" y="7629428"/>
                <a:ext cx="98253" cy="87336"/>
              </a:xfrm>
              <a:custGeom>
                <a:avLst/>
                <a:gdLst>
                  <a:gd name="connsiteX0" fmla="*/ 12282 w 98253"/>
                  <a:gd name="connsiteY0" fmla="*/ 12282 h 87336"/>
                  <a:gd name="connsiteX1" fmla="*/ 89246 w 98253"/>
                  <a:gd name="connsiteY1" fmla="*/ 12282 h 87336"/>
                  <a:gd name="connsiteX2" fmla="*/ 89246 w 98253"/>
                  <a:gd name="connsiteY2" fmla="*/ 79967 h 87336"/>
                  <a:gd name="connsiteX3" fmla="*/ 12282 w 98253"/>
                  <a:gd name="connsiteY3" fmla="*/ 79967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53" h="87336">
                    <a:moveTo>
                      <a:pt x="12282" y="12282"/>
                    </a:moveTo>
                    <a:lnTo>
                      <a:pt x="89246" y="12282"/>
                    </a:lnTo>
                    <a:lnTo>
                      <a:pt x="89246" y="79967"/>
                    </a:lnTo>
                    <a:lnTo>
                      <a:pt x="12282" y="7996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8" name="Freihandform: Form 170">
                <a:extLst>
                  <a:ext uri="{FF2B5EF4-FFF2-40B4-BE49-F238E27FC236}">
                    <a16:creationId xmlns:a16="http://schemas.microsoft.com/office/drawing/2014/main" id="{301B466A-9F17-AC7E-8F7A-0DD6657DB3BD}"/>
                  </a:ext>
                </a:extLst>
              </p:cNvPr>
              <p:cNvSpPr/>
              <p:nvPr/>
            </p:nvSpPr>
            <p:spPr bwMode="gray">
              <a:xfrm>
                <a:off x="9350059" y="7663271"/>
                <a:ext cx="98253" cy="87336"/>
              </a:xfrm>
              <a:custGeom>
                <a:avLst/>
                <a:gdLst>
                  <a:gd name="connsiteX0" fmla="*/ 12282 w 98253"/>
                  <a:gd name="connsiteY0" fmla="*/ 12282 h 87336"/>
                  <a:gd name="connsiteX1" fmla="*/ 89247 w 98253"/>
                  <a:gd name="connsiteY1" fmla="*/ 12282 h 87336"/>
                  <a:gd name="connsiteX2" fmla="*/ 89247 w 98253"/>
                  <a:gd name="connsiteY2" fmla="*/ 79967 h 87336"/>
                  <a:gd name="connsiteX3" fmla="*/ 12282 w 98253"/>
                  <a:gd name="connsiteY3" fmla="*/ 79967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53" h="87336">
                    <a:moveTo>
                      <a:pt x="12282" y="12282"/>
                    </a:moveTo>
                    <a:lnTo>
                      <a:pt x="89247" y="12282"/>
                    </a:lnTo>
                    <a:lnTo>
                      <a:pt x="89247" y="79967"/>
                    </a:lnTo>
                    <a:lnTo>
                      <a:pt x="12282" y="7996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9" name="Freihandform: Form 171">
                <a:extLst>
                  <a:ext uri="{FF2B5EF4-FFF2-40B4-BE49-F238E27FC236}">
                    <a16:creationId xmlns:a16="http://schemas.microsoft.com/office/drawing/2014/main" id="{DE6E8ED5-4098-B867-A25C-5884D17FB746}"/>
                  </a:ext>
                </a:extLst>
              </p:cNvPr>
              <p:cNvSpPr/>
              <p:nvPr/>
            </p:nvSpPr>
            <p:spPr bwMode="gray">
              <a:xfrm>
                <a:off x="9273094" y="7629428"/>
                <a:ext cx="21834" cy="174672"/>
              </a:xfrm>
              <a:custGeom>
                <a:avLst/>
                <a:gdLst>
                  <a:gd name="connsiteX0" fmla="*/ 12282 w 21834"/>
                  <a:gd name="connsiteY0" fmla="*/ 162390 h 174672"/>
                  <a:gd name="connsiteX1" fmla="*/ 12282 w 21834"/>
                  <a:gd name="connsiteY1" fmla="*/ 12282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174672">
                    <a:moveTo>
                      <a:pt x="12282" y="162390"/>
                    </a:moveTo>
                    <a:lnTo>
                      <a:pt x="12282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6" name="Gruppieren 174">
              <a:extLst>
                <a:ext uri="{FF2B5EF4-FFF2-40B4-BE49-F238E27FC236}">
                  <a16:creationId xmlns:a16="http://schemas.microsoft.com/office/drawing/2014/main" id="{286DA8C0-E6E1-8BFC-B825-E353CDB1D4B3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1006530" y="4761255"/>
              <a:ext cx="474967" cy="430310"/>
              <a:chOff x="8663730" y="8525169"/>
              <a:chExt cx="716156" cy="648821"/>
            </a:xfrm>
          </p:grpSpPr>
          <p:sp>
            <p:nvSpPr>
              <p:cNvPr id="48" name="Freihandform: Form 175">
                <a:extLst>
                  <a:ext uri="{FF2B5EF4-FFF2-40B4-BE49-F238E27FC236}">
                    <a16:creationId xmlns:a16="http://schemas.microsoft.com/office/drawing/2014/main" id="{2C1F0C23-2E13-2A0C-287B-3C4F0EDB1C90}"/>
                  </a:ext>
                </a:extLst>
              </p:cNvPr>
              <p:cNvSpPr/>
              <p:nvPr/>
            </p:nvSpPr>
            <p:spPr bwMode="gray">
              <a:xfrm>
                <a:off x="8855869" y="8911268"/>
                <a:ext cx="360261" cy="114629"/>
              </a:xfrm>
              <a:custGeom>
                <a:avLst/>
                <a:gdLst>
                  <a:gd name="connsiteX0" fmla="*/ 205708 w 360261"/>
                  <a:gd name="connsiteY0" fmla="*/ 107623 h 114628"/>
                  <a:gd name="connsiteX1" fmla="*/ 239005 w 360261"/>
                  <a:gd name="connsiteY1" fmla="*/ 107623 h 114628"/>
                  <a:gd name="connsiteX2" fmla="*/ 327978 w 360261"/>
                  <a:gd name="connsiteY2" fmla="*/ 80331 h 114628"/>
                  <a:gd name="connsiteX3" fmla="*/ 352541 w 360261"/>
                  <a:gd name="connsiteY3" fmla="*/ 63955 h 114628"/>
                  <a:gd name="connsiteX4" fmla="*/ 355271 w 360261"/>
                  <a:gd name="connsiteY4" fmla="*/ 51946 h 114628"/>
                  <a:gd name="connsiteX5" fmla="*/ 341078 w 360261"/>
                  <a:gd name="connsiteY5" fmla="*/ 38846 h 114628"/>
                  <a:gd name="connsiteX6" fmla="*/ 302323 w 360261"/>
                  <a:gd name="connsiteY6" fmla="*/ 38300 h 114628"/>
                  <a:gd name="connsiteX7" fmla="*/ 217171 w 360261"/>
                  <a:gd name="connsiteY7" fmla="*/ 41576 h 114628"/>
                  <a:gd name="connsiteX8" fmla="*/ 175140 w 360261"/>
                  <a:gd name="connsiteY8" fmla="*/ 19741 h 114628"/>
                  <a:gd name="connsiteX9" fmla="*/ 7018 w 360261"/>
                  <a:gd name="connsiteY9" fmla="*/ 40483 h 114628"/>
                  <a:gd name="connsiteX10" fmla="*/ 7018 w 360261"/>
                  <a:gd name="connsiteY10" fmla="*/ 40483 h 11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0261" h="114628">
                    <a:moveTo>
                      <a:pt x="205708" y="107623"/>
                    </a:moveTo>
                    <a:lnTo>
                      <a:pt x="239005" y="107623"/>
                    </a:lnTo>
                    <a:cubicBezTo>
                      <a:pt x="270664" y="107623"/>
                      <a:pt x="301777" y="98343"/>
                      <a:pt x="327978" y="80331"/>
                    </a:cubicBezTo>
                    <a:lnTo>
                      <a:pt x="352541" y="63955"/>
                    </a:lnTo>
                    <a:cubicBezTo>
                      <a:pt x="356362" y="61226"/>
                      <a:pt x="358000" y="55768"/>
                      <a:pt x="355271" y="51946"/>
                    </a:cubicBezTo>
                    <a:cubicBezTo>
                      <a:pt x="351450" y="45942"/>
                      <a:pt x="346537" y="42121"/>
                      <a:pt x="341078" y="38846"/>
                    </a:cubicBezTo>
                    <a:cubicBezTo>
                      <a:pt x="329070" y="31750"/>
                      <a:pt x="314332" y="32296"/>
                      <a:pt x="302323" y="38300"/>
                    </a:cubicBezTo>
                    <a:cubicBezTo>
                      <a:pt x="257018" y="60134"/>
                      <a:pt x="217171" y="41576"/>
                      <a:pt x="217171" y="41576"/>
                    </a:cubicBezTo>
                    <a:cubicBezTo>
                      <a:pt x="202433" y="32296"/>
                      <a:pt x="188786" y="25200"/>
                      <a:pt x="175140" y="19741"/>
                    </a:cubicBezTo>
                    <a:cubicBezTo>
                      <a:pt x="119463" y="-3185"/>
                      <a:pt x="55599" y="5549"/>
                      <a:pt x="7018" y="40483"/>
                    </a:cubicBezTo>
                    <a:lnTo>
                      <a:pt x="7018" y="40483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9" name="Freihandform: Form 176">
                <a:extLst>
                  <a:ext uri="{FF2B5EF4-FFF2-40B4-BE49-F238E27FC236}">
                    <a16:creationId xmlns:a16="http://schemas.microsoft.com/office/drawing/2014/main" id="{2FCA1D6E-F1A4-7384-7056-3913E5F75F2E}"/>
                  </a:ext>
                </a:extLst>
              </p:cNvPr>
              <p:cNvSpPr/>
              <p:nvPr/>
            </p:nvSpPr>
            <p:spPr bwMode="gray">
              <a:xfrm>
                <a:off x="8855869" y="8898661"/>
                <a:ext cx="524017" cy="174672"/>
              </a:xfrm>
              <a:custGeom>
                <a:avLst/>
                <a:gdLst>
                  <a:gd name="connsiteX0" fmla="*/ 7018 w 524016"/>
                  <a:gd name="connsiteY0" fmla="*/ 169902 h 174672"/>
                  <a:gd name="connsiteX1" fmla="*/ 213895 w 524016"/>
                  <a:gd name="connsiteY1" fmla="*/ 162806 h 174672"/>
                  <a:gd name="connsiteX2" fmla="*/ 313786 w 524016"/>
                  <a:gd name="connsiteY2" fmla="*/ 140972 h 174672"/>
                  <a:gd name="connsiteX3" fmla="*/ 514113 w 524016"/>
                  <a:gd name="connsiteY3" fmla="*/ 35077 h 174672"/>
                  <a:gd name="connsiteX4" fmla="*/ 516842 w 524016"/>
                  <a:gd name="connsiteY4" fmla="*/ 23068 h 174672"/>
                  <a:gd name="connsiteX5" fmla="*/ 460620 w 524016"/>
                  <a:gd name="connsiteY5" fmla="*/ 9967 h 174672"/>
                  <a:gd name="connsiteX6" fmla="*/ 449703 w 524016"/>
                  <a:gd name="connsiteY6" fmla="*/ 13789 h 174672"/>
                  <a:gd name="connsiteX7" fmla="*/ 348720 w 524016"/>
                  <a:gd name="connsiteY7" fmla="*/ 56911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4016" h="174672">
                    <a:moveTo>
                      <a:pt x="7018" y="169902"/>
                    </a:moveTo>
                    <a:cubicBezTo>
                      <a:pt x="7018" y="169902"/>
                      <a:pt x="82345" y="155164"/>
                      <a:pt x="213895" y="162806"/>
                    </a:cubicBezTo>
                    <a:cubicBezTo>
                      <a:pt x="248830" y="164989"/>
                      <a:pt x="283218" y="156801"/>
                      <a:pt x="313786" y="140972"/>
                    </a:cubicBezTo>
                    <a:lnTo>
                      <a:pt x="514113" y="35077"/>
                    </a:lnTo>
                    <a:cubicBezTo>
                      <a:pt x="518480" y="32894"/>
                      <a:pt x="519572" y="26889"/>
                      <a:pt x="516842" y="23068"/>
                    </a:cubicBezTo>
                    <a:cubicBezTo>
                      <a:pt x="509746" y="13789"/>
                      <a:pt x="493371" y="1234"/>
                      <a:pt x="460620" y="9967"/>
                    </a:cubicBezTo>
                    <a:cubicBezTo>
                      <a:pt x="456799" y="11059"/>
                      <a:pt x="453524" y="12151"/>
                      <a:pt x="449703" y="13789"/>
                    </a:cubicBezTo>
                    <a:lnTo>
                      <a:pt x="348720" y="56911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0" name="Freihandform: Form 177">
                <a:extLst>
                  <a:ext uri="{FF2B5EF4-FFF2-40B4-BE49-F238E27FC236}">
                    <a16:creationId xmlns:a16="http://schemas.microsoft.com/office/drawing/2014/main" id="{53B74D0C-FE90-397B-49C4-A1B6B67483AC}"/>
                  </a:ext>
                </a:extLst>
              </p:cNvPr>
              <p:cNvSpPr/>
              <p:nvPr/>
            </p:nvSpPr>
            <p:spPr bwMode="gray">
              <a:xfrm>
                <a:off x="8779996" y="8918533"/>
                <a:ext cx="87336" cy="201965"/>
              </a:xfrm>
              <a:custGeom>
                <a:avLst/>
                <a:gdLst>
                  <a:gd name="connsiteX0" fmla="*/ 7018 w 87336"/>
                  <a:gd name="connsiteY0" fmla="*/ 198066 h 201964"/>
                  <a:gd name="connsiteX1" fmla="*/ 80708 w 87336"/>
                  <a:gd name="connsiteY1" fmla="*/ 198066 h 201964"/>
                  <a:gd name="connsiteX2" fmla="*/ 80708 w 87336"/>
                  <a:gd name="connsiteY2" fmla="*/ 7018 h 201964"/>
                  <a:gd name="connsiteX3" fmla="*/ 7018 w 87336"/>
                  <a:gd name="connsiteY3" fmla="*/ 7018 h 201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7336" h="201964">
                    <a:moveTo>
                      <a:pt x="7018" y="198066"/>
                    </a:moveTo>
                    <a:lnTo>
                      <a:pt x="80708" y="198066"/>
                    </a:lnTo>
                    <a:lnTo>
                      <a:pt x="80708" y="7018"/>
                    </a:lnTo>
                    <a:lnTo>
                      <a:pt x="7018" y="7018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1" name="Freihandform: Form 178">
                <a:extLst>
                  <a:ext uri="{FF2B5EF4-FFF2-40B4-BE49-F238E27FC236}">
                    <a16:creationId xmlns:a16="http://schemas.microsoft.com/office/drawing/2014/main" id="{16C34792-1994-48E2-F244-70B3A0605D5E}"/>
                  </a:ext>
                </a:extLst>
              </p:cNvPr>
              <p:cNvSpPr/>
              <p:nvPr/>
            </p:nvSpPr>
            <p:spPr bwMode="gray">
              <a:xfrm>
                <a:off x="8663730" y="8862855"/>
                <a:ext cx="125546" cy="311135"/>
              </a:xfrm>
              <a:custGeom>
                <a:avLst/>
                <a:gdLst>
                  <a:gd name="connsiteX0" fmla="*/ 7018 w 125545"/>
                  <a:gd name="connsiteY0" fmla="*/ 304507 h 311134"/>
                  <a:gd name="connsiteX1" fmla="*/ 123284 w 125545"/>
                  <a:gd name="connsiteY1" fmla="*/ 304507 h 311134"/>
                  <a:gd name="connsiteX2" fmla="*/ 123284 w 125545"/>
                  <a:gd name="connsiteY2" fmla="*/ 7018 h 311134"/>
                  <a:gd name="connsiteX3" fmla="*/ 7018 w 125545"/>
                  <a:gd name="connsiteY3" fmla="*/ 7018 h 311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5545" h="311134">
                    <a:moveTo>
                      <a:pt x="7018" y="304507"/>
                    </a:moveTo>
                    <a:lnTo>
                      <a:pt x="123284" y="304507"/>
                    </a:lnTo>
                    <a:lnTo>
                      <a:pt x="123284" y="7018"/>
                    </a:lnTo>
                    <a:lnTo>
                      <a:pt x="7018" y="7018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2" name="Freihandform: Form 179">
                <a:extLst>
                  <a:ext uri="{FF2B5EF4-FFF2-40B4-BE49-F238E27FC236}">
                    <a16:creationId xmlns:a16="http://schemas.microsoft.com/office/drawing/2014/main" id="{1FBA7514-9694-B559-D0BA-352095D8E010}"/>
                  </a:ext>
                </a:extLst>
              </p:cNvPr>
              <p:cNvSpPr/>
              <p:nvPr/>
            </p:nvSpPr>
            <p:spPr bwMode="gray">
              <a:xfrm>
                <a:off x="9052024" y="8745147"/>
                <a:ext cx="87336" cy="147380"/>
              </a:xfrm>
              <a:custGeom>
                <a:avLst/>
                <a:gdLst>
                  <a:gd name="connsiteX0" fmla="*/ 12282 w 87336"/>
                  <a:gd name="connsiteY0" fmla="*/ 107260 h 147379"/>
                  <a:gd name="connsiteX1" fmla="*/ 43941 w 87336"/>
                  <a:gd name="connsiteY1" fmla="*/ 138919 h 147379"/>
                  <a:gd name="connsiteX2" fmla="*/ 75601 w 87336"/>
                  <a:gd name="connsiteY2" fmla="*/ 107260 h 147379"/>
                  <a:gd name="connsiteX3" fmla="*/ 43941 w 87336"/>
                  <a:gd name="connsiteY3" fmla="*/ 75600 h 147379"/>
                  <a:gd name="connsiteX4" fmla="*/ 12282 w 87336"/>
                  <a:gd name="connsiteY4" fmla="*/ 43941 h 147379"/>
                  <a:gd name="connsiteX5" fmla="*/ 43941 w 87336"/>
                  <a:gd name="connsiteY5" fmla="*/ 12282 h 147379"/>
                  <a:gd name="connsiteX6" fmla="*/ 75601 w 87336"/>
                  <a:gd name="connsiteY6" fmla="*/ 43941 h 14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7336" h="147379">
                    <a:moveTo>
                      <a:pt x="12282" y="107260"/>
                    </a:moveTo>
                    <a:cubicBezTo>
                      <a:pt x="12282" y="124727"/>
                      <a:pt x="26474" y="138919"/>
                      <a:pt x="43941" y="138919"/>
                    </a:cubicBezTo>
                    <a:cubicBezTo>
                      <a:pt x="61408" y="138919"/>
                      <a:pt x="75601" y="124727"/>
                      <a:pt x="75601" y="107260"/>
                    </a:cubicBezTo>
                    <a:cubicBezTo>
                      <a:pt x="75601" y="89792"/>
                      <a:pt x="62500" y="81604"/>
                      <a:pt x="43941" y="75600"/>
                    </a:cubicBezTo>
                    <a:cubicBezTo>
                      <a:pt x="27565" y="70142"/>
                      <a:pt x="12282" y="61408"/>
                      <a:pt x="12282" y="43941"/>
                    </a:cubicBezTo>
                    <a:cubicBezTo>
                      <a:pt x="12282" y="26474"/>
                      <a:pt x="26474" y="12282"/>
                      <a:pt x="43941" y="12282"/>
                    </a:cubicBezTo>
                    <a:cubicBezTo>
                      <a:pt x="61408" y="12282"/>
                      <a:pt x="75601" y="26474"/>
                      <a:pt x="75601" y="4394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3" name="Freihandform: Form 180">
                <a:extLst>
                  <a:ext uri="{FF2B5EF4-FFF2-40B4-BE49-F238E27FC236}">
                    <a16:creationId xmlns:a16="http://schemas.microsoft.com/office/drawing/2014/main" id="{5378908A-3CD7-C218-E24B-66C8DAE0DD3F}"/>
                  </a:ext>
                </a:extLst>
              </p:cNvPr>
              <p:cNvSpPr/>
              <p:nvPr/>
            </p:nvSpPr>
            <p:spPr bwMode="gray">
              <a:xfrm>
                <a:off x="9083684" y="8727134"/>
                <a:ext cx="21834" cy="38210"/>
              </a:xfrm>
              <a:custGeom>
                <a:avLst/>
                <a:gdLst>
                  <a:gd name="connsiteX0" fmla="*/ 12282 w 21834"/>
                  <a:gd name="connsiteY0" fmla="*/ 12281 h 38209"/>
                  <a:gd name="connsiteX1" fmla="*/ 12282 w 21834"/>
                  <a:gd name="connsiteY1" fmla="*/ 30295 h 3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8209">
                    <a:moveTo>
                      <a:pt x="12282" y="12281"/>
                    </a:moveTo>
                    <a:lnTo>
                      <a:pt x="12282" y="3029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4" name="Freihandform: Form 181">
                <a:extLst>
                  <a:ext uri="{FF2B5EF4-FFF2-40B4-BE49-F238E27FC236}">
                    <a16:creationId xmlns:a16="http://schemas.microsoft.com/office/drawing/2014/main" id="{13B0C4FF-803B-28E0-E847-1C9AA02F20F8}"/>
                  </a:ext>
                </a:extLst>
              </p:cNvPr>
              <p:cNvSpPr/>
              <p:nvPr/>
            </p:nvSpPr>
            <p:spPr bwMode="gray">
              <a:xfrm>
                <a:off x="9083684" y="8871784"/>
                <a:ext cx="21834" cy="38210"/>
              </a:xfrm>
              <a:custGeom>
                <a:avLst/>
                <a:gdLst>
                  <a:gd name="connsiteX0" fmla="*/ 12282 w 21834"/>
                  <a:gd name="connsiteY0" fmla="*/ 12281 h 38209"/>
                  <a:gd name="connsiteX1" fmla="*/ 12282 w 21834"/>
                  <a:gd name="connsiteY1" fmla="*/ 29749 h 3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8209">
                    <a:moveTo>
                      <a:pt x="12282" y="12281"/>
                    </a:moveTo>
                    <a:lnTo>
                      <a:pt x="12282" y="2974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5" name="Freihandform: Form 182">
                <a:extLst>
                  <a:ext uri="{FF2B5EF4-FFF2-40B4-BE49-F238E27FC236}">
                    <a16:creationId xmlns:a16="http://schemas.microsoft.com/office/drawing/2014/main" id="{3D0AC06F-7936-238E-CC89-14ECA6136DA1}"/>
                  </a:ext>
                </a:extLst>
              </p:cNvPr>
              <p:cNvSpPr/>
              <p:nvPr/>
            </p:nvSpPr>
            <p:spPr bwMode="gray">
              <a:xfrm>
                <a:off x="9198858" y="8709121"/>
                <a:ext cx="103712" cy="229257"/>
              </a:xfrm>
              <a:custGeom>
                <a:avLst/>
                <a:gdLst>
                  <a:gd name="connsiteX0" fmla="*/ 64137 w 103711"/>
                  <a:gd name="connsiteY0" fmla="*/ 221888 h 229257"/>
                  <a:gd name="connsiteX1" fmla="*/ 85425 w 103711"/>
                  <a:gd name="connsiteY1" fmla="*/ 94705 h 229257"/>
                  <a:gd name="connsiteX2" fmla="*/ 12282 w 103711"/>
                  <a:gd name="connsiteY2" fmla="*/ 12282 h 229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3711" h="229257">
                    <a:moveTo>
                      <a:pt x="64137" y="221888"/>
                    </a:moveTo>
                    <a:cubicBezTo>
                      <a:pt x="87609" y="193504"/>
                      <a:pt x="108351" y="140011"/>
                      <a:pt x="85425" y="94705"/>
                    </a:cubicBezTo>
                    <a:cubicBezTo>
                      <a:pt x="70688" y="65775"/>
                      <a:pt x="47216" y="36845"/>
                      <a:pt x="12282" y="1228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6" name="Freihandform: Form 183">
                <a:extLst>
                  <a:ext uri="{FF2B5EF4-FFF2-40B4-BE49-F238E27FC236}">
                    <a16:creationId xmlns:a16="http://schemas.microsoft.com/office/drawing/2014/main" id="{4FBFF65C-FB3C-EC76-F17C-E16B054A1B36}"/>
                  </a:ext>
                </a:extLst>
              </p:cNvPr>
              <p:cNvSpPr/>
              <p:nvPr/>
            </p:nvSpPr>
            <p:spPr bwMode="gray">
              <a:xfrm>
                <a:off x="8883582" y="8708575"/>
                <a:ext cx="109170" cy="223799"/>
              </a:xfrm>
              <a:custGeom>
                <a:avLst/>
                <a:gdLst>
                  <a:gd name="connsiteX0" fmla="*/ 97209 w 109170"/>
                  <a:gd name="connsiteY0" fmla="*/ 12282 h 223798"/>
                  <a:gd name="connsiteX1" fmla="*/ 24065 w 109170"/>
                  <a:gd name="connsiteY1" fmla="*/ 94705 h 223798"/>
                  <a:gd name="connsiteX2" fmla="*/ 39895 w 109170"/>
                  <a:gd name="connsiteY2" fmla="*/ 214792 h 223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170" h="223798">
                    <a:moveTo>
                      <a:pt x="97209" y="12282"/>
                    </a:moveTo>
                    <a:cubicBezTo>
                      <a:pt x="61729" y="36845"/>
                      <a:pt x="38803" y="65775"/>
                      <a:pt x="24065" y="94705"/>
                    </a:cubicBezTo>
                    <a:cubicBezTo>
                      <a:pt x="2231" y="136735"/>
                      <a:pt x="12602" y="187500"/>
                      <a:pt x="39895" y="21479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7" name="Freihandform: Form 184">
                <a:extLst>
                  <a:ext uri="{FF2B5EF4-FFF2-40B4-BE49-F238E27FC236}">
                    <a16:creationId xmlns:a16="http://schemas.microsoft.com/office/drawing/2014/main" id="{8C6E00CB-1ED1-241B-EACC-B33DE9B81184}"/>
                  </a:ext>
                </a:extLst>
              </p:cNvPr>
              <p:cNvSpPr/>
              <p:nvPr/>
            </p:nvSpPr>
            <p:spPr bwMode="gray">
              <a:xfrm>
                <a:off x="8920474" y="8619055"/>
                <a:ext cx="349344" cy="114629"/>
              </a:xfrm>
              <a:custGeom>
                <a:avLst/>
                <a:gdLst>
                  <a:gd name="connsiteX0" fmla="*/ 12282 w 349344"/>
                  <a:gd name="connsiteY0" fmla="*/ 107260 h 114628"/>
                  <a:gd name="connsiteX1" fmla="*/ 12282 w 349344"/>
                  <a:gd name="connsiteY1" fmla="*/ 68504 h 114628"/>
                  <a:gd name="connsiteX2" fmla="*/ 68504 w 349344"/>
                  <a:gd name="connsiteY2" fmla="*/ 12282 h 114628"/>
                  <a:gd name="connsiteX3" fmla="*/ 281932 w 349344"/>
                  <a:gd name="connsiteY3" fmla="*/ 12282 h 114628"/>
                  <a:gd name="connsiteX4" fmla="*/ 338155 w 349344"/>
                  <a:gd name="connsiteY4" fmla="*/ 68504 h 114628"/>
                  <a:gd name="connsiteX5" fmla="*/ 338155 w 349344"/>
                  <a:gd name="connsiteY5" fmla="*/ 107260 h 11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9344" h="114628">
                    <a:moveTo>
                      <a:pt x="12282" y="107260"/>
                    </a:moveTo>
                    <a:lnTo>
                      <a:pt x="12282" y="68504"/>
                    </a:lnTo>
                    <a:cubicBezTo>
                      <a:pt x="12282" y="37391"/>
                      <a:pt x="37391" y="12282"/>
                      <a:pt x="68504" y="12282"/>
                    </a:cubicBezTo>
                    <a:lnTo>
                      <a:pt x="281932" y="12282"/>
                    </a:lnTo>
                    <a:cubicBezTo>
                      <a:pt x="313045" y="12282"/>
                      <a:pt x="338155" y="37391"/>
                      <a:pt x="338155" y="68504"/>
                    </a:cubicBezTo>
                    <a:lnTo>
                      <a:pt x="338155" y="10726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8" name="Freihandform: Form 185">
                <a:extLst>
                  <a:ext uri="{FF2B5EF4-FFF2-40B4-BE49-F238E27FC236}">
                    <a16:creationId xmlns:a16="http://schemas.microsoft.com/office/drawing/2014/main" id="{C0FD4CFA-44AF-109A-F6A6-B5DD4EC6FB80}"/>
                  </a:ext>
                </a:extLst>
              </p:cNvPr>
              <p:cNvSpPr/>
              <p:nvPr/>
            </p:nvSpPr>
            <p:spPr bwMode="gray">
              <a:xfrm>
                <a:off x="9030736" y="8525169"/>
                <a:ext cx="81878" cy="81878"/>
              </a:xfrm>
              <a:custGeom>
                <a:avLst/>
                <a:gdLst>
                  <a:gd name="connsiteX0" fmla="*/ 71234 w 81877"/>
                  <a:gd name="connsiteY0" fmla="*/ 41757 h 81877"/>
                  <a:gd name="connsiteX1" fmla="*/ 41758 w 81877"/>
                  <a:gd name="connsiteY1" fmla="*/ 71234 h 81877"/>
                  <a:gd name="connsiteX2" fmla="*/ 12281 w 81877"/>
                  <a:gd name="connsiteY2" fmla="*/ 41757 h 81877"/>
                  <a:gd name="connsiteX3" fmla="*/ 41758 w 81877"/>
                  <a:gd name="connsiteY3" fmla="*/ 12281 h 81877"/>
                  <a:gd name="connsiteX4" fmla="*/ 71234 w 81877"/>
                  <a:gd name="connsiteY4" fmla="*/ 41757 h 81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877" h="81877">
                    <a:moveTo>
                      <a:pt x="71234" y="41757"/>
                    </a:moveTo>
                    <a:cubicBezTo>
                      <a:pt x="71234" y="58036"/>
                      <a:pt x="58037" y="71234"/>
                      <a:pt x="41758" y="71234"/>
                    </a:cubicBezTo>
                    <a:cubicBezTo>
                      <a:pt x="25478" y="71234"/>
                      <a:pt x="12281" y="58037"/>
                      <a:pt x="12281" y="41757"/>
                    </a:cubicBezTo>
                    <a:cubicBezTo>
                      <a:pt x="12281" y="25479"/>
                      <a:pt x="25478" y="12281"/>
                      <a:pt x="41758" y="12281"/>
                    </a:cubicBezTo>
                    <a:cubicBezTo>
                      <a:pt x="58037" y="12281"/>
                      <a:pt x="71234" y="25478"/>
                      <a:pt x="71234" y="41757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9" name="Freihandform: Form 186">
                <a:extLst>
                  <a:ext uri="{FF2B5EF4-FFF2-40B4-BE49-F238E27FC236}">
                    <a16:creationId xmlns:a16="http://schemas.microsoft.com/office/drawing/2014/main" id="{131B7C5F-B3F2-6AC7-752E-5D9FFF694C9F}"/>
                  </a:ext>
                </a:extLst>
              </p:cNvPr>
              <p:cNvSpPr/>
              <p:nvPr/>
            </p:nvSpPr>
            <p:spPr bwMode="gray">
              <a:xfrm>
                <a:off x="9107155" y="8525169"/>
                <a:ext cx="49127" cy="81878"/>
              </a:xfrm>
              <a:custGeom>
                <a:avLst/>
                <a:gdLst>
                  <a:gd name="connsiteX0" fmla="*/ 12282 w 49126"/>
                  <a:gd name="connsiteY0" fmla="*/ 12282 h 81877"/>
                  <a:gd name="connsiteX1" fmla="*/ 41757 w 49126"/>
                  <a:gd name="connsiteY1" fmla="*/ 41758 h 81877"/>
                  <a:gd name="connsiteX2" fmla="*/ 12282 w 49126"/>
                  <a:gd name="connsiteY2" fmla="*/ 71234 h 81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126" h="81877">
                    <a:moveTo>
                      <a:pt x="12282" y="12282"/>
                    </a:moveTo>
                    <a:cubicBezTo>
                      <a:pt x="28657" y="12282"/>
                      <a:pt x="41757" y="25382"/>
                      <a:pt x="41757" y="41758"/>
                    </a:cubicBezTo>
                    <a:cubicBezTo>
                      <a:pt x="41757" y="58133"/>
                      <a:pt x="28657" y="71234"/>
                      <a:pt x="12282" y="71234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0" name="Freihandform: Form 187">
                <a:extLst>
                  <a:ext uri="{FF2B5EF4-FFF2-40B4-BE49-F238E27FC236}">
                    <a16:creationId xmlns:a16="http://schemas.microsoft.com/office/drawing/2014/main" id="{27B08D01-A4E2-B7EE-C6BD-32BB2313D96A}"/>
                  </a:ext>
                </a:extLst>
              </p:cNvPr>
              <p:cNvSpPr/>
              <p:nvPr/>
            </p:nvSpPr>
            <p:spPr bwMode="gray">
              <a:xfrm>
                <a:off x="8971784" y="8668728"/>
                <a:ext cx="245633" cy="21834"/>
              </a:xfrm>
              <a:custGeom>
                <a:avLst/>
                <a:gdLst>
                  <a:gd name="connsiteX0" fmla="*/ 12282 w 245632"/>
                  <a:gd name="connsiteY0" fmla="*/ 12282 h 21834"/>
                  <a:gd name="connsiteX1" fmla="*/ 236080 w 245632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632" h="21834">
                    <a:moveTo>
                      <a:pt x="12282" y="12282"/>
                    </a:moveTo>
                    <a:lnTo>
                      <a:pt x="236080" y="12282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7" name="Gruppieren 188">
              <a:extLst>
                <a:ext uri="{FF2B5EF4-FFF2-40B4-BE49-F238E27FC236}">
                  <a16:creationId xmlns:a16="http://schemas.microsoft.com/office/drawing/2014/main" id="{E5004FEF-1CB9-75AE-521A-250C7EEA12F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5505450" y="4751731"/>
              <a:ext cx="429848" cy="500110"/>
              <a:chOff x="3034366" y="4089085"/>
              <a:chExt cx="619260" cy="720479"/>
            </a:xfrm>
          </p:grpSpPr>
          <p:sp>
            <p:nvSpPr>
              <p:cNvPr id="28" name="Freihandform: Form 189">
                <a:extLst>
                  <a:ext uri="{FF2B5EF4-FFF2-40B4-BE49-F238E27FC236}">
                    <a16:creationId xmlns:a16="http://schemas.microsoft.com/office/drawing/2014/main" id="{72F8F7BA-E28E-ABA6-B7EB-E63B84C6EAAE}"/>
                  </a:ext>
                </a:extLst>
              </p:cNvPr>
              <p:cNvSpPr/>
              <p:nvPr/>
            </p:nvSpPr>
            <p:spPr bwMode="gray">
              <a:xfrm>
                <a:off x="3136154" y="4089085"/>
                <a:ext cx="420801" cy="420801"/>
              </a:xfrm>
              <a:custGeom>
                <a:avLst/>
                <a:gdLst>
                  <a:gd name="connsiteX0" fmla="*/ 585211 w 602722"/>
                  <a:gd name="connsiteY0" fmla="*/ 301768 h 602722"/>
                  <a:gd name="connsiteX1" fmla="*/ 301768 w 602722"/>
                  <a:gd name="connsiteY1" fmla="*/ 585211 h 602722"/>
                  <a:gd name="connsiteX2" fmla="*/ 18326 w 602722"/>
                  <a:gd name="connsiteY2" fmla="*/ 301768 h 602722"/>
                  <a:gd name="connsiteX3" fmla="*/ 301768 w 602722"/>
                  <a:gd name="connsiteY3" fmla="*/ 18326 h 602722"/>
                  <a:gd name="connsiteX4" fmla="*/ 585211 w 602722"/>
                  <a:gd name="connsiteY4" fmla="*/ 301768 h 602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2722" h="602722">
                    <a:moveTo>
                      <a:pt x="585211" y="301768"/>
                    </a:moveTo>
                    <a:cubicBezTo>
                      <a:pt x="585211" y="458309"/>
                      <a:pt x="458309" y="585211"/>
                      <a:pt x="301768" y="585211"/>
                    </a:cubicBezTo>
                    <a:cubicBezTo>
                      <a:pt x="145228" y="585211"/>
                      <a:pt x="18326" y="458309"/>
                      <a:pt x="18326" y="301768"/>
                    </a:cubicBezTo>
                    <a:cubicBezTo>
                      <a:pt x="18326" y="145227"/>
                      <a:pt x="145228" y="18326"/>
                      <a:pt x="301768" y="18326"/>
                    </a:cubicBezTo>
                    <a:cubicBezTo>
                      <a:pt x="458309" y="18326"/>
                      <a:pt x="585211" y="145227"/>
                      <a:pt x="585211" y="301768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9" name="Freihandform: Form 190">
                <a:extLst>
                  <a:ext uri="{FF2B5EF4-FFF2-40B4-BE49-F238E27FC236}">
                    <a16:creationId xmlns:a16="http://schemas.microsoft.com/office/drawing/2014/main" id="{9CDF5512-B185-06AD-4E3D-8F384B0E58B2}"/>
                  </a:ext>
                </a:extLst>
              </p:cNvPr>
              <p:cNvSpPr/>
              <p:nvPr/>
            </p:nvSpPr>
            <p:spPr bwMode="gray">
              <a:xfrm>
                <a:off x="3334045" y="4130028"/>
                <a:ext cx="181968" cy="181968"/>
              </a:xfrm>
              <a:custGeom>
                <a:avLst/>
                <a:gdLst>
                  <a:gd name="connsiteX0" fmla="*/ 243125 w 260636"/>
                  <a:gd name="connsiteY0" fmla="*/ 243125 h 260636"/>
                  <a:gd name="connsiteX1" fmla="*/ 18326 w 260636"/>
                  <a:gd name="connsiteY1" fmla="*/ 18326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0636" h="260636">
                    <a:moveTo>
                      <a:pt x="243125" y="243125"/>
                    </a:moveTo>
                    <a:cubicBezTo>
                      <a:pt x="243125" y="118508"/>
                      <a:pt x="142128" y="18326"/>
                      <a:pt x="18326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0" name="Freihandform: Form 191">
                <a:extLst>
                  <a:ext uri="{FF2B5EF4-FFF2-40B4-BE49-F238E27FC236}">
                    <a16:creationId xmlns:a16="http://schemas.microsoft.com/office/drawing/2014/main" id="{2343172D-0C97-9A4B-1DED-674410A0B3EF}"/>
                  </a:ext>
                </a:extLst>
              </p:cNvPr>
              <p:cNvSpPr/>
              <p:nvPr/>
            </p:nvSpPr>
            <p:spPr bwMode="gray">
              <a:xfrm>
                <a:off x="3305043" y="4484297"/>
                <a:ext cx="79611" cy="96670"/>
              </a:xfrm>
              <a:custGeom>
                <a:avLst/>
                <a:gdLst>
                  <a:gd name="connsiteX0" fmla="*/ 18326 w 114028"/>
                  <a:gd name="connsiteY0" fmla="*/ 18326 h 138463"/>
                  <a:gd name="connsiteX1" fmla="*/ 18326 w 114028"/>
                  <a:gd name="connsiteY1" fmla="*/ 121766 h 138463"/>
                  <a:gd name="connsiteX2" fmla="*/ 100589 w 114028"/>
                  <a:gd name="connsiteY2" fmla="*/ 121766 h 138463"/>
                  <a:gd name="connsiteX3" fmla="*/ 100589 w 114028"/>
                  <a:gd name="connsiteY3" fmla="*/ 18326 h 13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028" h="138463">
                    <a:moveTo>
                      <a:pt x="18326" y="18326"/>
                    </a:moveTo>
                    <a:lnTo>
                      <a:pt x="18326" y="121766"/>
                    </a:lnTo>
                    <a:lnTo>
                      <a:pt x="100589" y="121766"/>
                    </a:lnTo>
                    <a:lnTo>
                      <a:pt x="100589" y="1832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1" name="Freihandform: Form 192">
                <a:extLst>
                  <a:ext uri="{FF2B5EF4-FFF2-40B4-BE49-F238E27FC236}">
                    <a16:creationId xmlns:a16="http://schemas.microsoft.com/office/drawing/2014/main" id="{11CAEDF4-8D33-677C-7EF5-CC7CE800DD32}"/>
                  </a:ext>
                </a:extLst>
              </p:cNvPr>
              <p:cNvSpPr/>
              <p:nvPr/>
            </p:nvSpPr>
            <p:spPr bwMode="gray">
              <a:xfrm>
                <a:off x="3228844" y="4263661"/>
                <a:ext cx="90984" cy="119417"/>
              </a:xfrm>
              <a:custGeom>
                <a:avLst/>
                <a:gdLst>
                  <a:gd name="connsiteX0" fmla="*/ 18326 w 130318"/>
                  <a:gd name="connsiteY0" fmla="*/ 18326 h 171042"/>
                  <a:gd name="connsiteX1" fmla="*/ 118508 w 130318"/>
                  <a:gd name="connsiteY1" fmla="*/ 18326 h 171042"/>
                  <a:gd name="connsiteX2" fmla="*/ 118508 w 130318"/>
                  <a:gd name="connsiteY2" fmla="*/ 153531 h 171042"/>
                  <a:gd name="connsiteX3" fmla="*/ 18326 w 130318"/>
                  <a:gd name="connsiteY3" fmla="*/ 153531 h 17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171042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153531"/>
                    </a:lnTo>
                    <a:lnTo>
                      <a:pt x="18326" y="153531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2" name="Freihandform: Form 193">
                <a:extLst>
                  <a:ext uri="{FF2B5EF4-FFF2-40B4-BE49-F238E27FC236}">
                    <a16:creationId xmlns:a16="http://schemas.microsoft.com/office/drawing/2014/main" id="{F2C9E232-02AA-2DA4-F8F2-6365ABC0F283}"/>
                  </a:ext>
                </a:extLst>
              </p:cNvPr>
              <p:cNvSpPr/>
              <p:nvPr/>
            </p:nvSpPr>
            <p:spPr bwMode="gray">
              <a:xfrm>
                <a:off x="3298788" y="4215325"/>
                <a:ext cx="90984" cy="164909"/>
              </a:xfrm>
              <a:custGeom>
                <a:avLst/>
                <a:gdLst>
                  <a:gd name="connsiteX0" fmla="*/ 18326 w 130318"/>
                  <a:gd name="connsiteY0" fmla="*/ 18326 h 236201"/>
                  <a:gd name="connsiteX1" fmla="*/ 118508 w 130318"/>
                  <a:gd name="connsiteY1" fmla="*/ 18326 h 236201"/>
                  <a:gd name="connsiteX2" fmla="*/ 118508 w 130318"/>
                  <a:gd name="connsiteY2" fmla="*/ 221948 h 236201"/>
                  <a:gd name="connsiteX3" fmla="*/ 18326 w 130318"/>
                  <a:gd name="connsiteY3" fmla="*/ 221948 h 236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236201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221948"/>
                    </a:lnTo>
                    <a:lnTo>
                      <a:pt x="18326" y="221948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3" name="Freihandform: Form 194">
                <a:extLst>
                  <a:ext uri="{FF2B5EF4-FFF2-40B4-BE49-F238E27FC236}">
                    <a16:creationId xmlns:a16="http://schemas.microsoft.com/office/drawing/2014/main" id="{B9FC8572-16EA-F290-574B-6FE2E863EB33}"/>
                  </a:ext>
                </a:extLst>
              </p:cNvPr>
              <p:cNvSpPr/>
              <p:nvPr/>
            </p:nvSpPr>
            <p:spPr bwMode="gray">
              <a:xfrm>
                <a:off x="3368732" y="4263661"/>
                <a:ext cx="90984" cy="119417"/>
              </a:xfrm>
              <a:custGeom>
                <a:avLst/>
                <a:gdLst>
                  <a:gd name="connsiteX0" fmla="*/ 18326 w 130318"/>
                  <a:gd name="connsiteY0" fmla="*/ 18326 h 171042"/>
                  <a:gd name="connsiteX1" fmla="*/ 118508 w 130318"/>
                  <a:gd name="connsiteY1" fmla="*/ 18326 h 171042"/>
                  <a:gd name="connsiteX2" fmla="*/ 118508 w 130318"/>
                  <a:gd name="connsiteY2" fmla="*/ 153531 h 171042"/>
                  <a:gd name="connsiteX3" fmla="*/ 18326 w 130318"/>
                  <a:gd name="connsiteY3" fmla="*/ 153531 h 17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171042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153531"/>
                    </a:lnTo>
                    <a:lnTo>
                      <a:pt x="18326" y="153531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4" name="Freihandform: Form 195">
                <a:extLst>
                  <a:ext uri="{FF2B5EF4-FFF2-40B4-BE49-F238E27FC236}">
                    <a16:creationId xmlns:a16="http://schemas.microsoft.com/office/drawing/2014/main" id="{0900DC53-3944-D6C4-2848-0E08AEBBC72C}"/>
                  </a:ext>
                </a:extLst>
              </p:cNvPr>
              <p:cNvSpPr/>
              <p:nvPr/>
            </p:nvSpPr>
            <p:spPr bwMode="gray">
              <a:xfrm>
                <a:off x="3074740" y="4629302"/>
                <a:ext cx="56865" cy="62552"/>
              </a:xfrm>
              <a:custGeom>
                <a:avLst/>
                <a:gdLst>
                  <a:gd name="connsiteX0" fmla="*/ 69639 w 81448"/>
                  <a:gd name="connsiteY0" fmla="*/ 18326 h 89593"/>
                  <a:gd name="connsiteX1" fmla="*/ 18326 w 81448"/>
                  <a:gd name="connsiteY1" fmla="*/ 72897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69639" y="18326"/>
                    </a:moveTo>
                    <a:lnTo>
                      <a:pt x="18326" y="72897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5" name="Freihandform: Form 196">
                <a:extLst>
                  <a:ext uri="{FF2B5EF4-FFF2-40B4-BE49-F238E27FC236}">
                    <a16:creationId xmlns:a16="http://schemas.microsoft.com/office/drawing/2014/main" id="{EEC04866-8488-C1EF-9757-2E57FF6C13EC}"/>
                  </a:ext>
                </a:extLst>
              </p:cNvPr>
              <p:cNvSpPr/>
              <p:nvPr/>
            </p:nvSpPr>
            <p:spPr bwMode="gray">
              <a:xfrm>
                <a:off x="3143547" y="4629302"/>
                <a:ext cx="56865" cy="62552"/>
              </a:xfrm>
              <a:custGeom>
                <a:avLst/>
                <a:gdLst>
                  <a:gd name="connsiteX0" fmla="*/ 69639 w 81448"/>
                  <a:gd name="connsiteY0" fmla="*/ 72897 h 89593"/>
                  <a:gd name="connsiteX1" fmla="*/ 18326 w 81448"/>
                  <a:gd name="connsiteY1" fmla="*/ 18326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69639" y="72897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6" name="Freihandform: Form 197">
                <a:extLst>
                  <a:ext uri="{FF2B5EF4-FFF2-40B4-BE49-F238E27FC236}">
                    <a16:creationId xmlns:a16="http://schemas.microsoft.com/office/drawing/2014/main" id="{EADB51F9-8B32-68BF-6426-D6D59E515B47}"/>
                  </a:ext>
                </a:extLst>
              </p:cNvPr>
              <p:cNvSpPr/>
              <p:nvPr/>
            </p:nvSpPr>
            <p:spPr bwMode="gray">
              <a:xfrm>
                <a:off x="3212353" y="4627027"/>
                <a:ext cx="62552" cy="62552"/>
              </a:xfrm>
              <a:custGeom>
                <a:avLst/>
                <a:gdLst>
                  <a:gd name="connsiteX0" fmla="*/ 73711 w 89593"/>
                  <a:gd name="connsiteY0" fmla="*/ 18326 h 89593"/>
                  <a:gd name="connsiteX1" fmla="*/ 18326 w 89593"/>
                  <a:gd name="connsiteY1" fmla="*/ 76155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89593">
                    <a:moveTo>
                      <a:pt x="73711" y="18326"/>
                    </a:moveTo>
                    <a:lnTo>
                      <a:pt x="18326" y="7615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7" name="Freihandform: Form 198">
                <a:extLst>
                  <a:ext uri="{FF2B5EF4-FFF2-40B4-BE49-F238E27FC236}">
                    <a16:creationId xmlns:a16="http://schemas.microsoft.com/office/drawing/2014/main" id="{1EF7EDC9-6770-6D0B-71B1-9E2BE7B5327A}"/>
                  </a:ext>
                </a:extLst>
              </p:cNvPr>
              <p:cNvSpPr/>
              <p:nvPr/>
            </p:nvSpPr>
            <p:spPr bwMode="gray">
              <a:xfrm>
                <a:off x="3034366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4 w 97738"/>
                  <a:gd name="connsiteY1" fmla="*/ 86743 h 97738"/>
                  <a:gd name="connsiteX2" fmla="*/ 18326 w 97738"/>
                  <a:gd name="connsiteY2" fmla="*/ 52535 h 97738"/>
                  <a:gd name="connsiteX3" fmla="*/ 52534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4" y="86743"/>
                    </a:cubicBezTo>
                    <a:cubicBezTo>
                      <a:pt x="33641" y="86743"/>
                      <a:pt x="18326" y="71427"/>
                      <a:pt x="18326" y="52535"/>
                    </a:cubicBezTo>
                    <a:cubicBezTo>
                      <a:pt x="18326" y="33642"/>
                      <a:pt x="33641" y="18326"/>
                      <a:pt x="52534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8" name="Freihandform: Form 199">
                <a:extLst>
                  <a:ext uri="{FF2B5EF4-FFF2-40B4-BE49-F238E27FC236}">
                    <a16:creationId xmlns:a16="http://schemas.microsoft.com/office/drawing/2014/main" id="{C3183271-AB83-07D4-C2E5-E928AE7F49FD}"/>
                  </a:ext>
                </a:extLst>
              </p:cNvPr>
              <p:cNvSpPr/>
              <p:nvPr/>
            </p:nvSpPr>
            <p:spPr bwMode="gray">
              <a:xfrm>
                <a:off x="3103172" y="4588359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9" name="Freihandform: Form 200">
                <a:extLst>
                  <a:ext uri="{FF2B5EF4-FFF2-40B4-BE49-F238E27FC236}">
                    <a16:creationId xmlns:a16="http://schemas.microsoft.com/office/drawing/2014/main" id="{2D9F1285-D86D-07CA-7A2C-6CF98AD820F5}"/>
                  </a:ext>
                </a:extLst>
              </p:cNvPr>
              <p:cNvSpPr/>
              <p:nvPr/>
            </p:nvSpPr>
            <p:spPr bwMode="gray">
              <a:xfrm>
                <a:off x="3172548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18326 h 97738"/>
                  <a:gd name="connsiteX2" fmla="*/ 18326 w 97738"/>
                  <a:gd name="connsiteY2" fmla="*/ 52535 h 97738"/>
                  <a:gd name="connsiteX3" fmla="*/ 52535 w 97738"/>
                  <a:gd name="connsiteY3" fmla="*/ 86743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33801"/>
                      <a:pt x="71268" y="18326"/>
                      <a:pt x="52535" y="18326"/>
                    </a:cubicBezTo>
                    <a:cubicBezTo>
                      <a:pt x="33801" y="18326"/>
                      <a:pt x="18326" y="33801"/>
                      <a:pt x="18326" y="52535"/>
                    </a:cubicBezTo>
                    <a:cubicBezTo>
                      <a:pt x="18326" y="71268"/>
                      <a:pt x="33801" y="86743"/>
                      <a:pt x="52535" y="86743"/>
                    </a:cubicBezTo>
                    <a:cubicBezTo>
                      <a:pt x="71268" y="87558"/>
                      <a:pt x="86743" y="7208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0" name="Freihandform: Form 201">
                <a:extLst>
                  <a:ext uri="{FF2B5EF4-FFF2-40B4-BE49-F238E27FC236}">
                    <a16:creationId xmlns:a16="http://schemas.microsoft.com/office/drawing/2014/main" id="{E646A08B-1033-EBC5-790E-43BA5FCD94EA}"/>
                  </a:ext>
                </a:extLst>
              </p:cNvPr>
              <p:cNvSpPr/>
              <p:nvPr/>
            </p:nvSpPr>
            <p:spPr bwMode="gray">
              <a:xfrm>
                <a:off x="3283434" y="4556515"/>
                <a:ext cx="125103" cy="181968"/>
              </a:xfrm>
              <a:custGeom>
                <a:avLst/>
                <a:gdLst>
                  <a:gd name="connsiteX0" fmla="*/ 162491 w 179187"/>
                  <a:gd name="connsiteY0" fmla="*/ 242311 h 260636"/>
                  <a:gd name="connsiteX1" fmla="*/ 162491 w 179187"/>
                  <a:gd name="connsiteY1" fmla="*/ 44390 h 260636"/>
                  <a:gd name="connsiteX2" fmla="*/ 136427 w 179187"/>
                  <a:gd name="connsiteY2" fmla="*/ 18326 h 260636"/>
                  <a:gd name="connsiteX3" fmla="*/ 44390 w 179187"/>
                  <a:gd name="connsiteY3" fmla="*/ 18326 h 260636"/>
                  <a:gd name="connsiteX4" fmla="*/ 18326 w 179187"/>
                  <a:gd name="connsiteY4" fmla="*/ 44390 h 260636"/>
                  <a:gd name="connsiteX5" fmla="*/ 18326 w 179187"/>
                  <a:gd name="connsiteY5" fmla="*/ 242311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187" h="260636">
                    <a:moveTo>
                      <a:pt x="162491" y="242311"/>
                    </a:moveTo>
                    <a:lnTo>
                      <a:pt x="162491" y="44390"/>
                    </a:lnTo>
                    <a:cubicBezTo>
                      <a:pt x="162491" y="29729"/>
                      <a:pt x="151088" y="18326"/>
                      <a:pt x="136427" y="18326"/>
                    </a:cubicBezTo>
                    <a:lnTo>
                      <a:pt x="44390" y="18326"/>
                    </a:lnTo>
                    <a:cubicBezTo>
                      <a:pt x="29729" y="18326"/>
                      <a:pt x="18326" y="29729"/>
                      <a:pt x="18326" y="44390"/>
                    </a:cubicBezTo>
                    <a:lnTo>
                      <a:pt x="18326" y="242311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1" name="Freihandform: Form 202">
                <a:extLst>
                  <a:ext uri="{FF2B5EF4-FFF2-40B4-BE49-F238E27FC236}">
                    <a16:creationId xmlns:a16="http://schemas.microsoft.com/office/drawing/2014/main" id="{C283D8C7-B5E0-1406-382D-50B18E01D644}"/>
                  </a:ext>
                </a:extLst>
              </p:cNvPr>
              <p:cNvSpPr/>
              <p:nvPr/>
            </p:nvSpPr>
            <p:spPr bwMode="gray">
              <a:xfrm>
                <a:off x="3283434" y="4712894"/>
                <a:ext cx="125103" cy="96670"/>
              </a:xfrm>
              <a:custGeom>
                <a:avLst/>
                <a:gdLst>
                  <a:gd name="connsiteX0" fmla="*/ 18326 w 179187"/>
                  <a:gd name="connsiteY0" fmla="*/ 18326 h 138463"/>
                  <a:gd name="connsiteX1" fmla="*/ 18326 w 179187"/>
                  <a:gd name="connsiteY1" fmla="*/ 99775 h 138463"/>
                  <a:gd name="connsiteX2" fmla="*/ 44390 w 179187"/>
                  <a:gd name="connsiteY2" fmla="*/ 125839 h 138463"/>
                  <a:gd name="connsiteX3" fmla="*/ 136427 w 179187"/>
                  <a:gd name="connsiteY3" fmla="*/ 125839 h 138463"/>
                  <a:gd name="connsiteX4" fmla="*/ 162491 w 179187"/>
                  <a:gd name="connsiteY4" fmla="*/ 99775 h 138463"/>
                  <a:gd name="connsiteX5" fmla="*/ 162491 w 179187"/>
                  <a:gd name="connsiteY5" fmla="*/ 18326 h 13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187" h="138463">
                    <a:moveTo>
                      <a:pt x="18326" y="18326"/>
                    </a:moveTo>
                    <a:lnTo>
                      <a:pt x="18326" y="99775"/>
                    </a:lnTo>
                    <a:cubicBezTo>
                      <a:pt x="18326" y="114436"/>
                      <a:pt x="29729" y="125839"/>
                      <a:pt x="44390" y="125839"/>
                    </a:cubicBezTo>
                    <a:lnTo>
                      <a:pt x="136427" y="125839"/>
                    </a:lnTo>
                    <a:cubicBezTo>
                      <a:pt x="151088" y="125839"/>
                      <a:pt x="162491" y="114436"/>
                      <a:pt x="162491" y="99775"/>
                    </a:cubicBezTo>
                    <a:lnTo>
                      <a:pt x="162491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2" name="Freihandform: Form 203">
                <a:extLst>
                  <a:ext uri="{FF2B5EF4-FFF2-40B4-BE49-F238E27FC236}">
                    <a16:creationId xmlns:a16="http://schemas.microsoft.com/office/drawing/2014/main" id="{FA69EA19-FDF8-0603-CDED-9932D7F2EC60}"/>
                  </a:ext>
                </a:extLst>
              </p:cNvPr>
              <p:cNvSpPr/>
              <p:nvPr/>
            </p:nvSpPr>
            <p:spPr bwMode="gray">
              <a:xfrm>
                <a:off x="3556955" y="4629302"/>
                <a:ext cx="56865" cy="62552"/>
              </a:xfrm>
              <a:custGeom>
                <a:avLst/>
                <a:gdLst>
                  <a:gd name="connsiteX0" fmla="*/ 18326 w 81448"/>
                  <a:gd name="connsiteY0" fmla="*/ 18326 h 89593"/>
                  <a:gd name="connsiteX1" fmla="*/ 69639 w 81448"/>
                  <a:gd name="connsiteY1" fmla="*/ 72897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18326" y="18326"/>
                    </a:moveTo>
                    <a:lnTo>
                      <a:pt x="69639" y="72897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3" name="Freihandform: Form 204">
                <a:extLst>
                  <a:ext uri="{FF2B5EF4-FFF2-40B4-BE49-F238E27FC236}">
                    <a16:creationId xmlns:a16="http://schemas.microsoft.com/office/drawing/2014/main" id="{BC03D6E7-D08D-B45C-D28C-7CF8BA03C999}"/>
                  </a:ext>
                </a:extLst>
              </p:cNvPr>
              <p:cNvSpPr/>
              <p:nvPr/>
            </p:nvSpPr>
            <p:spPr bwMode="gray">
              <a:xfrm>
                <a:off x="3488148" y="4629302"/>
                <a:ext cx="56865" cy="62552"/>
              </a:xfrm>
              <a:custGeom>
                <a:avLst/>
                <a:gdLst>
                  <a:gd name="connsiteX0" fmla="*/ 18326 w 81448"/>
                  <a:gd name="connsiteY0" fmla="*/ 72897 h 89593"/>
                  <a:gd name="connsiteX1" fmla="*/ 69639 w 81448"/>
                  <a:gd name="connsiteY1" fmla="*/ 18326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18326" y="72897"/>
                    </a:moveTo>
                    <a:lnTo>
                      <a:pt x="69639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4" name="Freihandform: Form 205">
                <a:extLst>
                  <a:ext uri="{FF2B5EF4-FFF2-40B4-BE49-F238E27FC236}">
                    <a16:creationId xmlns:a16="http://schemas.microsoft.com/office/drawing/2014/main" id="{4AFE3C38-E252-EC11-E2CB-6E0D2B373E55}"/>
                  </a:ext>
                </a:extLst>
              </p:cNvPr>
              <p:cNvSpPr/>
              <p:nvPr/>
            </p:nvSpPr>
            <p:spPr bwMode="gray">
              <a:xfrm>
                <a:off x="3417067" y="4627027"/>
                <a:ext cx="62552" cy="62552"/>
              </a:xfrm>
              <a:custGeom>
                <a:avLst/>
                <a:gdLst>
                  <a:gd name="connsiteX0" fmla="*/ 18326 w 89593"/>
                  <a:gd name="connsiteY0" fmla="*/ 18326 h 89593"/>
                  <a:gd name="connsiteX1" fmla="*/ 72897 w 89593"/>
                  <a:gd name="connsiteY1" fmla="*/ 76155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89593">
                    <a:moveTo>
                      <a:pt x="18326" y="18326"/>
                    </a:moveTo>
                    <a:lnTo>
                      <a:pt x="72897" y="7615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5" name="Freihandform: Form 206">
                <a:extLst>
                  <a:ext uri="{FF2B5EF4-FFF2-40B4-BE49-F238E27FC236}">
                    <a16:creationId xmlns:a16="http://schemas.microsoft.com/office/drawing/2014/main" id="{FCC2BEEE-CC1F-E8BC-1B4F-F4E9B5949F5E}"/>
                  </a:ext>
                </a:extLst>
              </p:cNvPr>
              <p:cNvSpPr/>
              <p:nvPr/>
            </p:nvSpPr>
            <p:spPr bwMode="gray">
              <a:xfrm>
                <a:off x="3585388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6" name="Freihandform: Form 207">
                <a:extLst>
                  <a:ext uri="{FF2B5EF4-FFF2-40B4-BE49-F238E27FC236}">
                    <a16:creationId xmlns:a16="http://schemas.microsoft.com/office/drawing/2014/main" id="{7A16A5F0-0CCF-3BB3-A0A1-F92A40FA9A73}"/>
                  </a:ext>
                </a:extLst>
              </p:cNvPr>
              <p:cNvSpPr/>
              <p:nvPr/>
            </p:nvSpPr>
            <p:spPr bwMode="gray">
              <a:xfrm>
                <a:off x="3516581" y="4588359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7" name="Freihandform: Form 208">
                <a:extLst>
                  <a:ext uri="{FF2B5EF4-FFF2-40B4-BE49-F238E27FC236}">
                    <a16:creationId xmlns:a16="http://schemas.microsoft.com/office/drawing/2014/main" id="{353352E0-0648-06D3-1FB2-D72B4219458B}"/>
                  </a:ext>
                </a:extLst>
              </p:cNvPr>
              <p:cNvSpPr/>
              <p:nvPr/>
            </p:nvSpPr>
            <p:spPr bwMode="gray">
              <a:xfrm>
                <a:off x="3447774" y="4660578"/>
                <a:ext cx="68238" cy="68238"/>
              </a:xfrm>
              <a:custGeom>
                <a:avLst/>
                <a:gdLst>
                  <a:gd name="connsiteX0" fmla="*/ 18326 w 97738"/>
                  <a:gd name="connsiteY0" fmla="*/ 52535 h 97738"/>
                  <a:gd name="connsiteX1" fmla="*/ 52535 w 97738"/>
                  <a:gd name="connsiteY1" fmla="*/ 18326 h 97738"/>
                  <a:gd name="connsiteX2" fmla="*/ 86743 w 97738"/>
                  <a:gd name="connsiteY2" fmla="*/ 52535 h 97738"/>
                  <a:gd name="connsiteX3" fmla="*/ 52535 w 97738"/>
                  <a:gd name="connsiteY3" fmla="*/ 86743 h 97738"/>
                  <a:gd name="connsiteX4" fmla="*/ 18326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18326" y="52535"/>
                    </a:moveTo>
                    <a:cubicBezTo>
                      <a:pt x="18326" y="33801"/>
                      <a:pt x="33801" y="18326"/>
                      <a:pt x="52535" y="18326"/>
                    </a:cubicBezTo>
                    <a:cubicBezTo>
                      <a:pt x="71268" y="18326"/>
                      <a:pt x="86743" y="33801"/>
                      <a:pt x="86743" y="52535"/>
                    </a:cubicBezTo>
                    <a:cubicBezTo>
                      <a:pt x="86743" y="71268"/>
                      <a:pt x="71268" y="86743"/>
                      <a:pt x="52535" y="86743"/>
                    </a:cubicBezTo>
                    <a:cubicBezTo>
                      <a:pt x="32987" y="87558"/>
                      <a:pt x="18326" y="72082"/>
                      <a:pt x="18326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</p:grpSp>
      <p:sp>
        <p:nvSpPr>
          <p:cNvPr id="254" name="Gefaltete Ecke 50">
            <a:extLst>
              <a:ext uri="{FF2B5EF4-FFF2-40B4-BE49-F238E27FC236}">
                <a16:creationId xmlns:a16="http://schemas.microsoft.com/office/drawing/2014/main" id="{CB42A211-8E9A-E190-0313-140DE1F5E18E}"/>
              </a:ext>
            </a:extLst>
          </p:cNvPr>
          <p:cNvSpPr/>
          <p:nvPr/>
        </p:nvSpPr>
        <p:spPr bwMode="gray">
          <a:xfrm rot="21420000">
            <a:off x="7350127" y="1868979"/>
            <a:ext cx="958324" cy="665014"/>
          </a:xfrm>
          <a:prstGeom prst="foldedCorner">
            <a:avLst/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Protein ingredient suppliers</a:t>
            </a:r>
          </a:p>
        </p:txBody>
      </p:sp>
      <p:sp>
        <p:nvSpPr>
          <p:cNvPr id="16" name="Gefaltete Ecke 47">
            <a:extLst>
              <a:ext uri="{FF2B5EF4-FFF2-40B4-BE49-F238E27FC236}">
                <a16:creationId xmlns:a16="http://schemas.microsoft.com/office/drawing/2014/main" id="{01BA08A1-BAFA-4AA8-4518-3601BE2A0D5F}"/>
              </a:ext>
            </a:extLst>
          </p:cNvPr>
          <p:cNvSpPr/>
          <p:nvPr/>
        </p:nvSpPr>
        <p:spPr bwMode="gray">
          <a:xfrm rot="21420000">
            <a:off x="735863" y="3894723"/>
            <a:ext cx="741908" cy="345936"/>
          </a:xfrm>
          <a:prstGeom prst="foldedCorner">
            <a:avLst>
              <a:gd name="adj" fmla="val 26113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Raw material</a:t>
            </a:r>
          </a:p>
        </p:txBody>
      </p:sp>
      <p:sp>
        <p:nvSpPr>
          <p:cNvPr id="122" name="Gefaltete Ecke 47">
            <a:extLst>
              <a:ext uri="{FF2B5EF4-FFF2-40B4-BE49-F238E27FC236}">
                <a16:creationId xmlns:a16="http://schemas.microsoft.com/office/drawing/2014/main" id="{691E64B9-ABD3-E576-1509-C6D258BBEC4B}"/>
              </a:ext>
            </a:extLst>
          </p:cNvPr>
          <p:cNvSpPr/>
          <p:nvPr/>
        </p:nvSpPr>
        <p:spPr bwMode="gray">
          <a:xfrm rot="21420000">
            <a:off x="1551955" y="3894723"/>
            <a:ext cx="741908" cy="345936"/>
          </a:xfrm>
          <a:prstGeom prst="foldedCorner">
            <a:avLst>
              <a:gd name="adj" fmla="val 26113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HR</a:t>
            </a:r>
          </a:p>
        </p:txBody>
      </p:sp>
      <p:sp>
        <p:nvSpPr>
          <p:cNvPr id="123" name="Gefaltete Ecke 47">
            <a:extLst>
              <a:ext uri="{FF2B5EF4-FFF2-40B4-BE49-F238E27FC236}">
                <a16:creationId xmlns:a16="http://schemas.microsoft.com/office/drawing/2014/main" id="{FCFB8997-D6AE-C0FD-45A6-097259F3BCA3}"/>
              </a:ext>
            </a:extLst>
          </p:cNvPr>
          <p:cNvSpPr/>
          <p:nvPr/>
        </p:nvSpPr>
        <p:spPr bwMode="gray">
          <a:xfrm rot="21420000">
            <a:off x="2417147" y="3886937"/>
            <a:ext cx="741908" cy="345936"/>
          </a:xfrm>
          <a:prstGeom prst="foldedCorner">
            <a:avLst>
              <a:gd name="adj" fmla="val 26113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Marketing</a:t>
            </a:r>
          </a:p>
        </p:txBody>
      </p:sp>
      <p:sp>
        <p:nvSpPr>
          <p:cNvPr id="124" name="Gefaltete Ecke 47">
            <a:extLst>
              <a:ext uri="{FF2B5EF4-FFF2-40B4-BE49-F238E27FC236}">
                <a16:creationId xmlns:a16="http://schemas.microsoft.com/office/drawing/2014/main" id="{775EFEE5-AA50-8584-0725-0BF5DE6C6670}"/>
              </a:ext>
            </a:extLst>
          </p:cNvPr>
          <p:cNvSpPr/>
          <p:nvPr/>
        </p:nvSpPr>
        <p:spPr bwMode="gray">
          <a:xfrm rot="21420000">
            <a:off x="3198440" y="4167408"/>
            <a:ext cx="1120038" cy="345936"/>
          </a:xfrm>
          <a:prstGeom prst="foldedCorner">
            <a:avLst>
              <a:gd name="adj" fmla="val 26113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Subcontracting</a:t>
            </a:r>
          </a:p>
        </p:txBody>
      </p:sp>
      <p:sp>
        <p:nvSpPr>
          <p:cNvPr id="125" name="Gefaltete Ecke 46">
            <a:extLst>
              <a:ext uri="{FF2B5EF4-FFF2-40B4-BE49-F238E27FC236}">
                <a16:creationId xmlns:a16="http://schemas.microsoft.com/office/drawing/2014/main" id="{37CA297A-99C1-0217-1269-6C68A08A44DD}"/>
              </a:ext>
            </a:extLst>
          </p:cNvPr>
          <p:cNvSpPr/>
          <p:nvPr/>
        </p:nvSpPr>
        <p:spPr bwMode="gray">
          <a:xfrm rot="21420000">
            <a:off x="5492086" y="2611215"/>
            <a:ext cx="710512" cy="361991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ebsite</a:t>
            </a:r>
          </a:p>
        </p:txBody>
      </p:sp>
      <p:sp>
        <p:nvSpPr>
          <p:cNvPr id="126" name="Gefaltete Ecke 46">
            <a:extLst>
              <a:ext uri="{FF2B5EF4-FFF2-40B4-BE49-F238E27FC236}">
                <a16:creationId xmlns:a16="http://schemas.microsoft.com/office/drawing/2014/main" id="{4C505616-F9F0-7DEB-89B0-562C22AB2E61}"/>
              </a:ext>
            </a:extLst>
          </p:cNvPr>
          <p:cNvSpPr/>
          <p:nvPr/>
        </p:nvSpPr>
        <p:spPr bwMode="gray">
          <a:xfrm rot="21420000">
            <a:off x="5895717" y="2987625"/>
            <a:ext cx="710512" cy="361991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Trade shows</a:t>
            </a:r>
          </a:p>
        </p:txBody>
      </p:sp>
      <p:sp>
        <p:nvSpPr>
          <p:cNvPr id="127" name="Gefaltete Ecke 46">
            <a:extLst>
              <a:ext uri="{FF2B5EF4-FFF2-40B4-BE49-F238E27FC236}">
                <a16:creationId xmlns:a16="http://schemas.microsoft.com/office/drawing/2014/main" id="{239A958C-EC67-2BB0-FC40-EB5C39CE6650}"/>
              </a:ext>
            </a:extLst>
          </p:cNvPr>
          <p:cNvSpPr/>
          <p:nvPr/>
        </p:nvSpPr>
        <p:spPr bwMode="gray">
          <a:xfrm rot="21420000">
            <a:off x="5378093" y="1345092"/>
            <a:ext cx="710512" cy="361991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Long-term contracts</a:t>
            </a:r>
          </a:p>
        </p:txBody>
      </p:sp>
      <p:sp>
        <p:nvSpPr>
          <p:cNvPr id="192" name="Gefaltete Ecke 46">
            <a:extLst>
              <a:ext uri="{FF2B5EF4-FFF2-40B4-BE49-F238E27FC236}">
                <a16:creationId xmlns:a16="http://schemas.microsoft.com/office/drawing/2014/main" id="{A90B7861-CAAC-7DAB-A677-23031AEBB039}"/>
              </a:ext>
            </a:extLst>
          </p:cNvPr>
          <p:cNvSpPr/>
          <p:nvPr/>
        </p:nvSpPr>
        <p:spPr bwMode="gray">
          <a:xfrm rot="21420000">
            <a:off x="5935106" y="1759365"/>
            <a:ext cx="710512" cy="361991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Customer support</a:t>
            </a:r>
          </a:p>
        </p:txBody>
      </p:sp>
      <p:sp>
        <p:nvSpPr>
          <p:cNvPr id="194" name="Gefaltete Ecke 46">
            <a:extLst>
              <a:ext uri="{FF2B5EF4-FFF2-40B4-BE49-F238E27FC236}">
                <a16:creationId xmlns:a16="http://schemas.microsoft.com/office/drawing/2014/main" id="{BF856EB1-E59B-B15D-903E-DE39292127B0}"/>
              </a:ext>
            </a:extLst>
          </p:cNvPr>
          <p:cNvSpPr/>
          <p:nvPr/>
        </p:nvSpPr>
        <p:spPr bwMode="gray">
          <a:xfrm rot="21420000">
            <a:off x="2074303" y="2953566"/>
            <a:ext cx="868614" cy="207376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Testing lab</a:t>
            </a:r>
          </a:p>
        </p:txBody>
      </p:sp>
      <p:sp>
        <p:nvSpPr>
          <p:cNvPr id="195" name="Gefaltete Ecke 46">
            <a:extLst>
              <a:ext uri="{FF2B5EF4-FFF2-40B4-BE49-F238E27FC236}">
                <a16:creationId xmlns:a16="http://schemas.microsoft.com/office/drawing/2014/main" id="{256AED8D-5B01-62AA-FA8B-4C2927C69FFB}"/>
              </a:ext>
            </a:extLst>
          </p:cNvPr>
          <p:cNvSpPr/>
          <p:nvPr/>
        </p:nvSpPr>
        <p:spPr bwMode="gray">
          <a:xfrm rot="21420000">
            <a:off x="2107816" y="3211729"/>
            <a:ext cx="868614" cy="207376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Patent</a:t>
            </a:r>
          </a:p>
        </p:txBody>
      </p:sp>
      <p:sp>
        <p:nvSpPr>
          <p:cNvPr id="196" name="Gefaltete Ecke 46">
            <a:extLst>
              <a:ext uri="{FF2B5EF4-FFF2-40B4-BE49-F238E27FC236}">
                <a16:creationId xmlns:a16="http://schemas.microsoft.com/office/drawing/2014/main" id="{78F9E43F-C7A5-16CA-447B-06DB4D4F94B3}"/>
              </a:ext>
            </a:extLst>
          </p:cNvPr>
          <p:cNvSpPr/>
          <p:nvPr/>
        </p:nvSpPr>
        <p:spPr bwMode="gray">
          <a:xfrm rot="21420000">
            <a:off x="2062210" y="1357653"/>
            <a:ext cx="981875" cy="328293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Powder production</a:t>
            </a:r>
          </a:p>
        </p:txBody>
      </p:sp>
      <p:sp>
        <p:nvSpPr>
          <p:cNvPr id="197" name="Gefaltete Ecke 46">
            <a:extLst>
              <a:ext uri="{FF2B5EF4-FFF2-40B4-BE49-F238E27FC236}">
                <a16:creationId xmlns:a16="http://schemas.microsoft.com/office/drawing/2014/main" id="{892E40ED-8083-7C3F-1D43-7F14EAE6DB3F}"/>
              </a:ext>
            </a:extLst>
          </p:cNvPr>
          <p:cNvSpPr/>
          <p:nvPr/>
        </p:nvSpPr>
        <p:spPr bwMode="gray">
          <a:xfrm rot="21420000">
            <a:off x="2070154" y="1726203"/>
            <a:ext cx="820064" cy="229896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Quality</a:t>
            </a:r>
          </a:p>
        </p:txBody>
      </p:sp>
      <p:sp>
        <p:nvSpPr>
          <p:cNvPr id="198" name="Gefaltete Ecke 46">
            <a:extLst>
              <a:ext uri="{FF2B5EF4-FFF2-40B4-BE49-F238E27FC236}">
                <a16:creationId xmlns:a16="http://schemas.microsoft.com/office/drawing/2014/main" id="{B5DD4DDF-223C-F2DC-A614-A4F28EA4767E}"/>
              </a:ext>
            </a:extLst>
          </p:cNvPr>
          <p:cNvSpPr/>
          <p:nvPr/>
        </p:nvSpPr>
        <p:spPr bwMode="gray">
          <a:xfrm rot="21420000">
            <a:off x="2561065" y="1965251"/>
            <a:ext cx="981875" cy="328293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Distribution and logistics</a:t>
            </a:r>
          </a:p>
        </p:txBody>
      </p:sp>
      <p:sp>
        <p:nvSpPr>
          <p:cNvPr id="201" name="Gefaltete Ecke 46">
            <a:extLst>
              <a:ext uri="{FF2B5EF4-FFF2-40B4-BE49-F238E27FC236}">
                <a16:creationId xmlns:a16="http://schemas.microsoft.com/office/drawing/2014/main" id="{5BE20046-7AB7-DED1-B49B-3FA4D866D763}"/>
              </a:ext>
            </a:extLst>
          </p:cNvPr>
          <p:cNvSpPr/>
          <p:nvPr/>
        </p:nvSpPr>
        <p:spPr bwMode="gray">
          <a:xfrm rot="21420000">
            <a:off x="327866" y="1867096"/>
            <a:ext cx="981875" cy="328293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Logistics</a:t>
            </a:r>
          </a:p>
        </p:txBody>
      </p:sp>
      <p:sp>
        <p:nvSpPr>
          <p:cNvPr id="202" name="Gefaltete Ecke 46">
            <a:extLst>
              <a:ext uri="{FF2B5EF4-FFF2-40B4-BE49-F238E27FC236}">
                <a16:creationId xmlns:a16="http://schemas.microsoft.com/office/drawing/2014/main" id="{B8501F74-B20B-37CF-7A9C-829670777DBC}"/>
              </a:ext>
            </a:extLst>
          </p:cNvPr>
          <p:cNvSpPr/>
          <p:nvPr/>
        </p:nvSpPr>
        <p:spPr bwMode="gray">
          <a:xfrm rot="21420000">
            <a:off x="327866" y="2316676"/>
            <a:ext cx="981875" cy="328293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Marketing</a:t>
            </a:r>
          </a:p>
        </p:txBody>
      </p:sp>
      <p:sp>
        <p:nvSpPr>
          <p:cNvPr id="203" name="Gefaltete Ecke 46">
            <a:extLst>
              <a:ext uri="{FF2B5EF4-FFF2-40B4-BE49-F238E27FC236}">
                <a16:creationId xmlns:a16="http://schemas.microsoft.com/office/drawing/2014/main" id="{15CD26AC-123E-8446-70E5-0BE4C9FB9AF0}"/>
              </a:ext>
            </a:extLst>
          </p:cNvPr>
          <p:cNvSpPr/>
          <p:nvPr/>
        </p:nvSpPr>
        <p:spPr bwMode="gray">
          <a:xfrm rot="21420000">
            <a:off x="334029" y="2715218"/>
            <a:ext cx="981875" cy="328293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R&amp;D</a:t>
            </a:r>
          </a:p>
        </p:txBody>
      </p:sp>
      <p:sp>
        <p:nvSpPr>
          <p:cNvPr id="204" name="Gefaltete Ecke 46">
            <a:extLst>
              <a:ext uri="{FF2B5EF4-FFF2-40B4-BE49-F238E27FC236}">
                <a16:creationId xmlns:a16="http://schemas.microsoft.com/office/drawing/2014/main" id="{527A5E1D-E9C6-78C9-A30C-4B089ECAF62C}"/>
              </a:ext>
            </a:extLst>
          </p:cNvPr>
          <p:cNvSpPr/>
          <p:nvPr/>
        </p:nvSpPr>
        <p:spPr bwMode="gray">
          <a:xfrm rot="21420000">
            <a:off x="298292" y="1439485"/>
            <a:ext cx="981875" cy="328293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Larvae provider</a:t>
            </a:r>
          </a:p>
        </p:txBody>
      </p:sp>
      <p:sp>
        <p:nvSpPr>
          <p:cNvPr id="205" name="Gefaltete Ecke 46">
            <a:extLst>
              <a:ext uri="{FF2B5EF4-FFF2-40B4-BE49-F238E27FC236}">
                <a16:creationId xmlns:a16="http://schemas.microsoft.com/office/drawing/2014/main" id="{EF14DF00-5C50-7140-2093-2B97646475DF}"/>
              </a:ext>
            </a:extLst>
          </p:cNvPr>
          <p:cNvSpPr/>
          <p:nvPr/>
        </p:nvSpPr>
        <p:spPr bwMode="gray">
          <a:xfrm rot="21420000">
            <a:off x="2045271" y="2667495"/>
            <a:ext cx="1120774" cy="207376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Manufacturing</a:t>
            </a:r>
          </a:p>
        </p:txBody>
      </p:sp>
      <p:sp>
        <p:nvSpPr>
          <p:cNvPr id="206" name="Gefaltete Ecke 52">
            <a:extLst>
              <a:ext uri="{FF2B5EF4-FFF2-40B4-BE49-F238E27FC236}">
                <a16:creationId xmlns:a16="http://schemas.microsoft.com/office/drawing/2014/main" id="{C8FFC757-120F-0AED-F7AC-7E6F88802687}"/>
              </a:ext>
            </a:extLst>
          </p:cNvPr>
          <p:cNvSpPr/>
          <p:nvPr/>
        </p:nvSpPr>
        <p:spPr bwMode="gray">
          <a:xfrm rot="21420000">
            <a:off x="3794872" y="1505341"/>
            <a:ext cx="1190360" cy="946681"/>
          </a:xfrm>
          <a:prstGeom prst="foldedCorner">
            <a:avLst/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high-quality insect protein powder that is nutritious, cost-effective, and environmentally friendly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2213C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207" name="Gefaltete Ecke 52">
            <a:extLst>
              <a:ext uri="{FF2B5EF4-FFF2-40B4-BE49-F238E27FC236}">
                <a16:creationId xmlns:a16="http://schemas.microsoft.com/office/drawing/2014/main" id="{10F45642-7C47-F5C4-A138-6EDDAFBA91D0}"/>
              </a:ext>
            </a:extLst>
          </p:cNvPr>
          <p:cNvSpPr/>
          <p:nvPr/>
        </p:nvSpPr>
        <p:spPr bwMode="gray">
          <a:xfrm rot="21420000">
            <a:off x="3773176" y="2521237"/>
            <a:ext cx="1414581" cy="946681"/>
          </a:xfrm>
          <a:prstGeom prst="foldedCorner">
            <a:avLst/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e ensure a consistent supply chain and scale up according to the needs of ingredient supplier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2213C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208" name="Gefaltete Ecke 47">
            <a:extLst>
              <a:ext uri="{FF2B5EF4-FFF2-40B4-BE49-F238E27FC236}">
                <a16:creationId xmlns:a16="http://schemas.microsoft.com/office/drawing/2014/main" id="{90ECB080-0489-E11A-C3A1-D9A20C034D50}"/>
              </a:ext>
            </a:extLst>
          </p:cNvPr>
          <p:cNvSpPr/>
          <p:nvPr/>
        </p:nvSpPr>
        <p:spPr bwMode="gray">
          <a:xfrm rot="21420000">
            <a:off x="5126858" y="3857789"/>
            <a:ext cx="996631" cy="522184"/>
          </a:xfrm>
          <a:prstGeom prst="foldedCorner">
            <a:avLst>
              <a:gd name="adj" fmla="val 26113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Insect protein powder</a:t>
            </a:r>
          </a:p>
        </p:txBody>
      </p:sp>
      <p:sp>
        <p:nvSpPr>
          <p:cNvPr id="165" name="Freeform 8">
            <a:extLst>
              <a:ext uri="{FF2B5EF4-FFF2-40B4-BE49-F238E27FC236}">
                <a16:creationId xmlns:a16="http://schemas.microsoft.com/office/drawing/2014/main" id="{DC6A4940-6514-4F37-8EC3-22B6D004FB6B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sp>
        <p:nvSpPr>
          <p:cNvPr id="3" name="Freeform 7">
            <a:extLst>
              <a:ext uri="{FF2B5EF4-FFF2-40B4-BE49-F238E27FC236}">
                <a16:creationId xmlns:a16="http://schemas.microsoft.com/office/drawing/2014/main" id="{4261230C-BA59-FFE3-2438-1F2B0ECC6707}"/>
              </a:ext>
            </a:extLst>
          </p:cNvPr>
          <p:cNvSpPr/>
          <p:nvPr/>
        </p:nvSpPr>
        <p:spPr>
          <a:xfrm>
            <a:off x="6110909" y="460258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85946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-67598" y="0"/>
            <a:ext cx="4639598" cy="5143500"/>
            <a:chOff x="0" y="0"/>
            <a:chExt cx="3957966" cy="2709333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3957966" cy="2709333"/>
            </a:xfrm>
            <a:custGeom>
              <a:avLst/>
              <a:gdLst/>
              <a:ahLst/>
              <a:cxnLst/>
              <a:rect l="l" t="t" r="r" b="b"/>
              <a:pathLst>
                <a:path w="3957966" h="2709333">
                  <a:moveTo>
                    <a:pt x="51517" y="0"/>
                  </a:moveTo>
                  <a:lnTo>
                    <a:pt x="3906449" y="0"/>
                  </a:lnTo>
                  <a:cubicBezTo>
                    <a:pt x="3920112" y="0"/>
                    <a:pt x="3933216" y="5428"/>
                    <a:pt x="3942877" y="15089"/>
                  </a:cubicBezTo>
                  <a:cubicBezTo>
                    <a:pt x="3952539" y="24750"/>
                    <a:pt x="3957966" y="37854"/>
                    <a:pt x="3957966" y="51517"/>
                  </a:cubicBezTo>
                  <a:lnTo>
                    <a:pt x="3957966" y="2657816"/>
                  </a:lnTo>
                  <a:cubicBezTo>
                    <a:pt x="3957966" y="2686268"/>
                    <a:pt x="3934901" y="2709333"/>
                    <a:pt x="3906449" y="2709333"/>
                  </a:cubicBezTo>
                  <a:lnTo>
                    <a:pt x="51517" y="2709333"/>
                  </a:lnTo>
                  <a:cubicBezTo>
                    <a:pt x="23065" y="2709333"/>
                    <a:pt x="0" y="2686268"/>
                    <a:pt x="0" y="2657816"/>
                  </a:cubicBezTo>
                  <a:lnTo>
                    <a:pt x="0" y="51517"/>
                  </a:lnTo>
                  <a:cubicBezTo>
                    <a:pt x="0" y="23065"/>
                    <a:pt x="23065" y="0"/>
                    <a:pt x="51517" y="0"/>
                  </a:cubicBezTo>
                  <a:close/>
                </a:path>
              </a:pathLst>
            </a:custGeom>
            <a:solidFill>
              <a:srgbClr val="CAC0F6"/>
            </a:solidFill>
          </p:spPr>
          <p:txBody>
            <a:bodyPr/>
            <a:lstStyle/>
            <a:p>
              <a:endParaRPr lang="pl-PL" sz="700">
                <a:latin typeface="Titillium Web" panose="00000500000000000000" pitchFamily="2" charset="0"/>
              </a:endParaRPr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-38100"/>
              <a:ext cx="3957966" cy="2747433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algn="ctr">
                <a:lnSpc>
                  <a:spcPts val="1330"/>
                </a:lnSpc>
              </a:pPr>
              <a:endParaRPr sz="700">
                <a:latin typeface="Titillium Web" panose="00000500000000000000" pitchFamily="2" charset="0"/>
              </a:endParaRPr>
            </a:p>
          </p:txBody>
        </p:sp>
      </p:grpSp>
      <p:sp>
        <p:nvSpPr>
          <p:cNvPr id="16" name="Freeform 7">
            <a:extLst>
              <a:ext uri="{FF2B5EF4-FFF2-40B4-BE49-F238E27FC236}">
                <a16:creationId xmlns:a16="http://schemas.microsoft.com/office/drawing/2014/main" id="{E624FB3A-714F-46AA-B1BF-A4A370CBC559}"/>
              </a:ext>
            </a:extLst>
          </p:cNvPr>
          <p:cNvSpPr/>
          <p:nvPr/>
        </p:nvSpPr>
        <p:spPr>
          <a:xfrm>
            <a:off x="6110909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pl-PL" sz="700"/>
          </a:p>
        </p:txBody>
      </p:sp>
      <p:sp>
        <p:nvSpPr>
          <p:cNvPr id="17" name="Freeform 8">
            <a:extLst>
              <a:ext uri="{FF2B5EF4-FFF2-40B4-BE49-F238E27FC236}">
                <a16:creationId xmlns:a16="http://schemas.microsoft.com/office/drawing/2014/main" id="{E836C171-1312-41B2-A9EF-15E40752FD2E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sp>
        <p:nvSpPr>
          <p:cNvPr id="20" name="Google Shape;827;p54">
            <a:extLst>
              <a:ext uri="{FF2B5EF4-FFF2-40B4-BE49-F238E27FC236}">
                <a16:creationId xmlns:a16="http://schemas.microsoft.com/office/drawing/2014/main" id="{C74A719F-2AD3-480C-9D9D-A118D61E1BAA}"/>
              </a:ext>
            </a:extLst>
          </p:cNvPr>
          <p:cNvSpPr txBox="1">
            <a:spLocks/>
          </p:cNvSpPr>
          <p:nvPr/>
        </p:nvSpPr>
        <p:spPr>
          <a:xfrm>
            <a:off x="323302" y="1347983"/>
            <a:ext cx="3790200" cy="71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338C"/>
              </a:buClr>
              <a:buSzPts val="2800"/>
              <a:buFont typeface="Titillium Web"/>
              <a:buNone/>
              <a:tabLst/>
              <a:defRPr/>
            </a:pPr>
            <a:r>
              <a:rPr kumimoji="0" lang="en-GB" sz="3100" b="1" i="0" u="none" strike="noStrike" kern="0" cap="none" spc="0" normalizeH="0" baseline="0" noProof="0" dirty="0">
                <a:ln>
                  <a:noFill/>
                </a:ln>
                <a:solidFill>
                  <a:srgbClr val="36338C"/>
                </a:solidFill>
                <a:effectLst/>
                <a:uLnTx/>
                <a:uFillTx/>
                <a:latin typeface="Titillium Web" panose="00000500000000000000" pitchFamily="2" charset="0"/>
                <a:sym typeface="Titillium Web"/>
              </a:rPr>
              <a:t>Team Work</a:t>
            </a:r>
          </a:p>
        </p:txBody>
      </p:sp>
      <p:sp>
        <p:nvSpPr>
          <p:cNvPr id="21" name="Google Shape;828;p54">
            <a:extLst>
              <a:ext uri="{FF2B5EF4-FFF2-40B4-BE49-F238E27FC236}">
                <a16:creationId xmlns:a16="http://schemas.microsoft.com/office/drawing/2014/main" id="{CA050A27-37BC-4F4F-89D1-86DFCA9BB2DB}"/>
              </a:ext>
            </a:extLst>
          </p:cNvPr>
          <p:cNvSpPr txBox="1">
            <a:spLocks/>
          </p:cNvSpPr>
          <p:nvPr/>
        </p:nvSpPr>
        <p:spPr>
          <a:xfrm>
            <a:off x="187689" y="2015608"/>
            <a:ext cx="3790199" cy="12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338C"/>
              </a:buClr>
              <a:buSzPts val="18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6338C"/>
                </a:solidFill>
                <a:effectLst/>
                <a:uLnTx/>
                <a:uFillTx/>
                <a:latin typeface="Titillium Web" panose="00000500000000000000" pitchFamily="2" charset="0"/>
                <a:sym typeface="Titillium Web"/>
              </a:rPr>
              <a:t>Breakout room for each tea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338C"/>
              </a:buClr>
              <a:buSzPts val="1800"/>
              <a:buFont typeface="Wingdings" panose="05000000000000000000" pitchFamily="2" charset="2"/>
              <a:buChar char="§"/>
              <a:tabLst/>
              <a:defRPr/>
            </a:pPr>
            <a:r>
              <a:rPr lang="en-US" sz="1400" dirty="0">
                <a:solidFill>
                  <a:srgbClr val="36338C"/>
                </a:solidFill>
                <a:latin typeface="Titillium Web" panose="00000500000000000000" pitchFamily="2" charset="0"/>
              </a:rPr>
              <a:t>Return to the main session at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6338C"/>
                </a:solidFill>
                <a:effectLst/>
                <a:uLnTx/>
                <a:uFillTx/>
                <a:latin typeface="Titillium Web" panose="00000500000000000000" pitchFamily="2" charset="0"/>
                <a:sym typeface="Titillium Web"/>
              </a:rPr>
              <a:t> 18:15 CET</a:t>
            </a:r>
            <a:r>
              <a:rPr lang="en-US" sz="1400" dirty="0">
                <a:solidFill>
                  <a:srgbClr val="36338C"/>
                </a:solidFill>
                <a:latin typeface="Titillium Web" panose="00000500000000000000" pitchFamily="2" charset="0"/>
              </a:rPr>
              <a:t> 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36338C"/>
              </a:solidFill>
              <a:effectLst/>
              <a:uLnTx/>
              <a:uFillTx/>
              <a:latin typeface="Titillium Web" panose="00000500000000000000" pitchFamily="2" charset="0"/>
              <a:sym typeface="Titillium Web"/>
            </a:endParaRPr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5CABC40D-C5AA-FFF9-2F58-D4CDDE5668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3778" y="423527"/>
            <a:ext cx="4883319" cy="3883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111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Business Modellin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Common pitfalls (basic examples)</a:t>
            </a:r>
            <a:endParaRPr lang="en-GB" dirty="0"/>
          </a:p>
        </p:txBody>
      </p:sp>
      <p:sp>
        <p:nvSpPr>
          <p:cNvPr id="34" name="Rechteck 33"/>
          <p:cNvSpPr/>
          <p:nvPr/>
        </p:nvSpPr>
        <p:spPr>
          <a:xfrm>
            <a:off x="397046" y="2918514"/>
            <a:ext cx="4274388" cy="154552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61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5" name="Rechteck 34"/>
          <p:cNvSpPr/>
          <p:nvPr/>
        </p:nvSpPr>
        <p:spPr>
          <a:xfrm>
            <a:off x="397047" y="1275906"/>
            <a:ext cx="8584967" cy="144112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61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415292" y="1609446"/>
            <a:ext cx="2121545" cy="7797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467D"/>
                </a:solidFill>
                <a:effectLst/>
                <a:uLnTx/>
                <a:uFillTx/>
                <a:latin typeface="ars-maquette-web"/>
                <a:ea typeface="+mn-ea"/>
                <a:cs typeface="Arial"/>
                <a:sym typeface="Arial"/>
              </a:rPr>
              <a:t>Pitfall 1</a:t>
            </a:r>
          </a:p>
          <a:p>
            <a:pPr marL="0" marR="0" lvl="0" indent="0" algn="ctr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467D"/>
                </a:solidFill>
                <a:effectLst/>
                <a:uLnTx/>
                <a:uFillTx/>
                <a:latin typeface="ars-maquette-web"/>
                <a:ea typeface="+mn-ea"/>
                <a:cs typeface="Arial"/>
                <a:sym typeface="Arial"/>
              </a:rPr>
              <a:t>Solving an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467D"/>
                </a:solidFill>
                <a:effectLst/>
                <a:uLnTx/>
                <a:uFillTx/>
                <a:latin typeface="ars-maquette-web"/>
                <a:ea typeface="+mn-ea"/>
                <a:cs typeface="Arial"/>
                <a:sym typeface="Arial"/>
              </a:rPr>
              <a:t>irrelevant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467D"/>
                </a:solidFill>
                <a:effectLst/>
                <a:uLnTx/>
                <a:uFillTx/>
                <a:latin typeface="ars-maquette-web"/>
                <a:ea typeface="+mn-ea"/>
                <a:cs typeface="Arial"/>
                <a:sym typeface="Arial"/>
              </a:rPr>
              <a:t> customer job</a:t>
            </a:r>
          </a:p>
        </p:txBody>
      </p:sp>
      <p:sp>
        <p:nvSpPr>
          <p:cNvPr id="37" name="Rechteck 36"/>
          <p:cNvSpPr/>
          <p:nvPr/>
        </p:nvSpPr>
        <p:spPr>
          <a:xfrm>
            <a:off x="7301740" y="1628674"/>
            <a:ext cx="1285929" cy="77970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467D"/>
                </a:solidFill>
                <a:effectLst/>
                <a:uLnTx/>
                <a:uFillTx/>
                <a:latin typeface="ars-maquette-web"/>
                <a:ea typeface="+mn-ea"/>
                <a:cs typeface="Arial"/>
                <a:sym typeface="Arial"/>
              </a:rPr>
              <a:t>Pitfall 2</a:t>
            </a:r>
          </a:p>
          <a:p>
            <a:pPr marL="0" marR="0" lvl="0" indent="0" algn="ctr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467D"/>
                </a:solidFill>
                <a:effectLst/>
                <a:uLnTx/>
                <a:uFillTx/>
                <a:latin typeface="ars-maquette-web"/>
                <a:ea typeface="+mn-ea"/>
                <a:cs typeface="Arial"/>
                <a:sym typeface="Arial"/>
              </a:rPr>
              <a:t>A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467D"/>
                </a:solidFill>
                <a:effectLst/>
                <a:uLnTx/>
                <a:uFillTx/>
                <a:latin typeface="ars-maquette-web"/>
                <a:ea typeface="+mn-ea"/>
                <a:cs typeface="Arial"/>
                <a:sym typeface="Arial"/>
              </a:rPr>
              <a:t>flawed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467D"/>
                </a:solidFill>
                <a:effectLst/>
                <a:uLnTx/>
                <a:uFillTx/>
                <a:latin typeface="ars-maquette-web"/>
                <a:ea typeface="+mn-ea"/>
                <a:cs typeface="Arial"/>
                <a:sym typeface="Arial"/>
              </a:rPr>
              <a:t> </a:t>
            </a:r>
            <a:b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467D"/>
                </a:solidFill>
                <a:effectLst/>
                <a:uLnTx/>
                <a:uFillTx/>
                <a:latin typeface="ars-maquette-web"/>
                <a:ea typeface="+mn-ea"/>
                <a:cs typeface="Arial"/>
                <a:sym typeface="Arial"/>
              </a:rPr>
            </a:b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467D"/>
                </a:solidFill>
                <a:effectLst/>
                <a:uLnTx/>
                <a:uFillTx/>
                <a:latin typeface="ars-maquette-web"/>
                <a:ea typeface="+mn-ea"/>
                <a:cs typeface="Arial"/>
                <a:sym typeface="Arial"/>
              </a:rPr>
              <a:t>Business Model</a:t>
            </a:r>
          </a:p>
        </p:txBody>
      </p:sp>
      <p:sp>
        <p:nvSpPr>
          <p:cNvPr id="38" name="Rechteck 37"/>
          <p:cNvSpPr/>
          <p:nvPr/>
        </p:nvSpPr>
        <p:spPr>
          <a:xfrm>
            <a:off x="332555" y="3055855"/>
            <a:ext cx="2287016" cy="7797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467D"/>
                </a:solidFill>
                <a:effectLst/>
                <a:uLnTx/>
                <a:uFillTx/>
                <a:latin typeface="ars-maquette-web"/>
                <a:ea typeface="+mn-ea"/>
                <a:cs typeface="Arial"/>
                <a:sym typeface="Arial"/>
              </a:rPr>
              <a:t>Pitfall 3</a:t>
            </a:r>
          </a:p>
          <a:p>
            <a:pPr marL="0" marR="0" lvl="0" indent="0" algn="ctr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467D"/>
                </a:solidFill>
                <a:effectLst/>
                <a:uLnTx/>
                <a:uFillTx/>
                <a:latin typeface="ars-maquette-web"/>
                <a:ea typeface="+mn-ea"/>
                <a:cs typeface="Arial"/>
                <a:sym typeface="Arial"/>
              </a:rPr>
              <a:t>Neglecting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467D"/>
                </a:solidFill>
                <a:effectLst/>
                <a:uLnTx/>
                <a:uFillTx/>
                <a:latin typeface="ars-maquette-web"/>
                <a:ea typeface="+mn-ea"/>
                <a:cs typeface="Arial"/>
                <a:sym typeface="Arial"/>
              </a:rPr>
              <a:t>external threats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467D"/>
                </a:solidFill>
                <a:effectLst/>
                <a:uLnTx/>
                <a:uFillTx/>
                <a:latin typeface="ars-maquette-web"/>
                <a:ea typeface="+mn-ea"/>
                <a:cs typeface="Arial"/>
                <a:sym typeface="Arial"/>
              </a:rPr>
              <a:t>in </a:t>
            </a:r>
            <a:b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467D"/>
                </a:solidFill>
                <a:effectLst/>
                <a:uLnTx/>
                <a:uFillTx/>
                <a:latin typeface="ars-maquette-web"/>
                <a:ea typeface="+mn-ea"/>
                <a:cs typeface="Arial"/>
                <a:sym typeface="Arial"/>
              </a:rPr>
            </a:b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467D"/>
                </a:solidFill>
                <a:effectLst/>
                <a:uLnTx/>
                <a:uFillTx/>
                <a:latin typeface="ars-maquette-web"/>
                <a:ea typeface="+mn-ea"/>
                <a:cs typeface="Arial"/>
                <a:sym typeface="Arial"/>
              </a:rPr>
              <a:t>the business environment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2559348" y="1772145"/>
            <a:ext cx="2138807" cy="5528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61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23D6B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To create value for your business, you need to create value for your customer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4827816" y="1751252"/>
            <a:ext cx="2134088" cy="5528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defRPr sz="1400"/>
            </a:lvl1pPr>
          </a:lstStyle>
          <a:p>
            <a:pPr marL="0" marR="0" lvl="0" indent="0" algn="ctr" defTabSz="68561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23D6B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To sustainably create value for your customer, you ned to create value for your business</a:t>
            </a:r>
          </a:p>
        </p:txBody>
      </p:sp>
      <p:grpSp>
        <p:nvGrpSpPr>
          <p:cNvPr id="41" name="Gruppieren 40"/>
          <p:cNvGrpSpPr/>
          <p:nvPr/>
        </p:nvGrpSpPr>
        <p:grpSpPr bwMode="gray">
          <a:xfrm>
            <a:off x="3269209" y="2966775"/>
            <a:ext cx="1311429" cy="1311698"/>
            <a:chOff x="7227128" y="1579218"/>
            <a:chExt cx="4959308" cy="5100985"/>
          </a:xfrm>
        </p:grpSpPr>
        <p:sp>
          <p:nvSpPr>
            <p:cNvPr id="42" name="Parallelogramm 2"/>
            <p:cNvSpPr/>
            <p:nvPr/>
          </p:nvSpPr>
          <p:spPr bwMode="gray">
            <a:xfrm rot="5400000">
              <a:off x="7718130" y="2211898"/>
              <a:ext cx="4730751" cy="4205860"/>
            </a:xfrm>
            <a:custGeom>
              <a:avLst/>
              <a:gdLst/>
              <a:ahLst/>
              <a:cxnLst/>
              <a:rect l="l" t="t" r="r" b="b"/>
              <a:pathLst>
                <a:path w="5010151" h="4205860">
                  <a:moveTo>
                    <a:pt x="0" y="2636036"/>
                  </a:moveTo>
                  <a:lnTo>
                    <a:pt x="1168053" y="1"/>
                  </a:lnTo>
                  <a:lnTo>
                    <a:pt x="2100074" y="1"/>
                  </a:lnTo>
                  <a:lnTo>
                    <a:pt x="2100074" y="0"/>
                  </a:lnTo>
                  <a:lnTo>
                    <a:pt x="5010151" y="0"/>
                  </a:lnTo>
                  <a:lnTo>
                    <a:pt x="3146492" y="4205860"/>
                  </a:lnTo>
                  <a:lnTo>
                    <a:pt x="236415" y="4205860"/>
                  </a:lnTo>
                  <a:lnTo>
                    <a:pt x="932020" y="2636036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6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grpSp>
          <p:nvGrpSpPr>
            <p:cNvPr id="43" name="Gruppieren 42"/>
            <p:cNvGrpSpPr/>
            <p:nvPr/>
          </p:nvGrpSpPr>
          <p:grpSpPr bwMode="gray">
            <a:xfrm>
              <a:off x="7227128" y="1579218"/>
              <a:ext cx="3523159" cy="3797301"/>
              <a:chOff x="7254875" y="1973263"/>
              <a:chExt cx="3162300" cy="3408363"/>
            </a:xfrm>
          </p:grpSpPr>
          <p:sp>
            <p:nvSpPr>
              <p:cNvPr id="44" name="Freeform 17"/>
              <p:cNvSpPr>
                <a:spLocks/>
              </p:cNvSpPr>
              <p:nvPr/>
            </p:nvSpPr>
            <p:spPr bwMode="gray">
              <a:xfrm>
                <a:off x="7554913" y="2894013"/>
                <a:ext cx="2187575" cy="2187575"/>
              </a:xfrm>
              <a:custGeom>
                <a:avLst/>
                <a:gdLst>
                  <a:gd name="T0" fmla="*/ 480 w 820"/>
                  <a:gd name="T1" fmla="*/ 820 h 820"/>
                  <a:gd name="T2" fmla="*/ 820 w 820"/>
                  <a:gd name="T3" fmla="*/ 679 h 820"/>
                  <a:gd name="T4" fmla="*/ 141 w 820"/>
                  <a:gd name="T5" fmla="*/ 0 h 820"/>
                  <a:gd name="T6" fmla="*/ 0 w 820"/>
                  <a:gd name="T7" fmla="*/ 340 h 820"/>
                  <a:gd name="T8" fmla="*/ 480 w 820"/>
                  <a:gd name="T9" fmla="*/ 820 h 8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0" h="820">
                    <a:moveTo>
                      <a:pt x="480" y="820"/>
                    </a:moveTo>
                    <a:cubicBezTo>
                      <a:pt x="613" y="820"/>
                      <a:pt x="733" y="766"/>
                      <a:pt x="820" y="679"/>
                    </a:cubicBezTo>
                    <a:cubicBezTo>
                      <a:pt x="141" y="0"/>
                      <a:pt x="141" y="0"/>
                      <a:pt x="141" y="0"/>
                    </a:cubicBezTo>
                    <a:cubicBezTo>
                      <a:pt x="54" y="87"/>
                      <a:pt x="0" y="207"/>
                      <a:pt x="0" y="340"/>
                    </a:cubicBezTo>
                    <a:cubicBezTo>
                      <a:pt x="0" y="605"/>
                      <a:pt x="215" y="820"/>
                      <a:pt x="480" y="820"/>
                    </a:cubicBezTo>
                    <a:close/>
                  </a:path>
                </a:pathLst>
              </a:custGeom>
              <a:solidFill>
                <a:srgbClr val="ECF0F1"/>
              </a:solidFill>
              <a:ln>
                <a:solidFill>
                  <a:srgbClr val="ECF0F1"/>
                </a:solidFill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6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00467D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45" name="Freeform 18"/>
              <p:cNvSpPr>
                <a:spLocks/>
              </p:cNvSpPr>
              <p:nvPr/>
            </p:nvSpPr>
            <p:spPr bwMode="gray">
              <a:xfrm>
                <a:off x="7931150" y="2517776"/>
                <a:ext cx="2187575" cy="2187575"/>
              </a:xfrm>
              <a:custGeom>
                <a:avLst/>
                <a:gdLst>
                  <a:gd name="T0" fmla="*/ 820 w 820"/>
                  <a:gd name="T1" fmla="*/ 481 h 820"/>
                  <a:gd name="T2" fmla="*/ 339 w 820"/>
                  <a:gd name="T3" fmla="*/ 0 h 820"/>
                  <a:gd name="T4" fmla="*/ 0 w 820"/>
                  <a:gd name="T5" fmla="*/ 141 h 820"/>
                  <a:gd name="T6" fmla="*/ 679 w 820"/>
                  <a:gd name="T7" fmla="*/ 820 h 820"/>
                  <a:gd name="T8" fmla="*/ 820 w 820"/>
                  <a:gd name="T9" fmla="*/ 481 h 8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0" h="820">
                    <a:moveTo>
                      <a:pt x="820" y="481"/>
                    </a:moveTo>
                    <a:cubicBezTo>
                      <a:pt x="820" y="215"/>
                      <a:pt x="605" y="0"/>
                      <a:pt x="339" y="0"/>
                    </a:cubicBezTo>
                    <a:cubicBezTo>
                      <a:pt x="207" y="0"/>
                      <a:pt x="87" y="54"/>
                      <a:pt x="0" y="141"/>
                    </a:cubicBezTo>
                    <a:cubicBezTo>
                      <a:pt x="679" y="820"/>
                      <a:pt x="679" y="820"/>
                      <a:pt x="679" y="820"/>
                    </a:cubicBezTo>
                    <a:cubicBezTo>
                      <a:pt x="766" y="733"/>
                      <a:pt x="820" y="613"/>
                      <a:pt x="820" y="481"/>
                    </a:cubicBezTo>
                    <a:close/>
                  </a:path>
                </a:pathLst>
              </a:custGeom>
              <a:solidFill>
                <a:srgbClr val="F3F6F7"/>
              </a:solidFill>
              <a:ln>
                <a:solidFill>
                  <a:srgbClr val="F3F6F7"/>
                </a:solidFill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6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00467D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46" name="Freeform 19"/>
              <p:cNvSpPr>
                <a:spLocks/>
              </p:cNvSpPr>
              <p:nvPr/>
            </p:nvSpPr>
            <p:spPr bwMode="gray">
              <a:xfrm>
                <a:off x="7716838" y="1973263"/>
                <a:ext cx="2700337" cy="2946400"/>
              </a:xfrm>
              <a:custGeom>
                <a:avLst/>
                <a:gdLst>
                  <a:gd name="T0" fmla="*/ 1012 w 1012"/>
                  <a:gd name="T1" fmla="*/ 685 h 1104"/>
                  <a:gd name="T2" fmla="*/ 521 w 1012"/>
                  <a:gd name="T3" fmla="*/ 101 h 1104"/>
                  <a:gd name="T4" fmla="*/ 521 w 1012"/>
                  <a:gd name="T5" fmla="*/ 0 h 1104"/>
                  <a:gd name="T6" fmla="*/ 315 w 1012"/>
                  <a:gd name="T7" fmla="*/ 0 h 1104"/>
                  <a:gd name="T8" fmla="*/ 315 w 1012"/>
                  <a:gd name="T9" fmla="*/ 101 h 1104"/>
                  <a:gd name="T10" fmla="*/ 0 w 1012"/>
                  <a:gd name="T11" fmla="*/ 265 h 1104"/>
                  <a:gd name="T12" fmla="*/ 80 w 1012"/>
                  <a:gd name="T13" fmla="*/ 345 h 1104"/>
                  <a:gd name="T14" fmla="*/ 419 w 1012"/>
                  <a:gd name="T15" fmla="*/ 204 h 1104"/>
                  <a:gd name="T16" fmla="*/ 900 w 1012"/>
                  <a:gd name="T17" fmla="*/ 685 h 1104"/>
                  <a:gd name="T18" fmla="*/ 759 w 1012"/>
                  <a:gd name="T19" fmla="*/ 1024 h 1104"/>
                  <a:gd name="T20" fmla="*/ 838 w 1012"/>
                  <a:gd name="T21" fmla="*/ 1104 h 1104"/>
                  <a:gd name="T22" fmla="*/ 1012 w 1012"/>
                  <a:gd name="T23" fmla="*/ 685 h 1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12" h="1104">
                    <a:moveTo>
                      <a:pt x="1012" y="685"/>
                    </a:moveTo>
                    <a:cubicBezTo>
                      <a:pt x="1012" y="392"/>
                      <a:pt x="800" y="149"/>
                      <a:pt x="521" y="101"/>
                    </a:cubicBezTo>
                    <a:cubicBezTo>
                      <a:pt x="521" y="0"/>
                      <a:pt x="521" y="0"/>
                      <a:pt x="521" y="0"/>
                    </a:cubicBezTo>
                    <a:cubicBezTo>
                      <a:pt x="315" y="0"/>
                      <a:pt x="315" y="0"/>
                      <a:pt x="315" y="0"/>
                    </a:cubicBezTo>
                    <a:cubicBezTo>
                      <a:pt x="315" y="101"/>
                      <a:pt x="315" y="101"/>
                      <a:pt x="315" y="101"/>
                    </a:cubicBezTo>
                    <a:cubicBezTo>
                      <a:pt x="193" y="123"/>
                      <a:pt x="84" y="181"/>
                      <a:pt x="0" y="265"/>
                    </a:cubicBezTo>
                    <a:cubicBezTo>
                      <a:pt x="80" y="345"/>
                      <a:pt x="80" y="345"/>
                      <a:pt x="80" y="345"/>
                    </a:cubicBezTo>
                    <a:cubicBezTo>
                      <a:pt x="167" y="258"/>
                      <a:pt x="287" y="204"/>
                      <a:pt x="419" y="204"/>
                    </a:cubicBezTo>
                    <a:cubicBezTo>
                      <a:pt x="685" y="204"/>
                      <a:pt x="900" y="419"/>
                      <a:pt x="900" y="685"/>
                    </a:cubicBezTo>
                    <a:cubicBezTo>
                      <a:pt x="900" y="817"/>
                      <a:pt x="846" y="937"/>
                      <a:pt x="759" y="1024"/>
                    </a:cubicBezTo>
                    <a:cubicBezTo>
                      <a:pt x="838" y="1104"/>
                      <a:pt x="838" y="1104"/>
                      <a:pt x="838" y="1104"/>
                    </a:cubicBezTo>
                    <a:cubicBezTo>
                      <a:pt x="946" y="996"/>
                      <a:pt x="1012" y="848"/>
                      <a:pt x="1012" y="685"/>
                    </a:cubicBezTo>
                    <a:close/>
                  </a:path>
                </a:pathLst>
              </a:custGeom>
              <a:solidFill>
                <a:srgbClr val="515869"/>
              </a:solidFill>
              <a:ln>
                <a:solidFill>
                  <a:srgbClr val="515869"/>
                </a:solidFill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6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00467D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47" name="Freeform 20"/>
              <p:cNvSpPr>
                <a:spLocks/>
              </p:cNvSpPr>
              <p:nvPr/>
            </p:nvSpPr>
            <p:spPr bwMode="gray">
              <a:xfrm>
                <a:off x="7254875" y="2681288"/>
                <a:ext cx="2698750" cy="2700338"/>
              </a:xfrm>
              <a:custGeom>
                <a:avLst/>
                <a:gdLst>
                  <a:gd name="T0" fmla="*/ 592 w 1011"/>
                  <a:gd name="T1" fmla="*/ 900 h 1012"/>
                  <a:gd name="T2" fmla="*/ 112 w 1011"/>
                  <a:gd name="T3" fmla="*/ 420 h 1012"/>
                  <a:gd name="T4" fmla="*/ 253 w 1011"/>
                  <a:gd name="T5" fmla="*/ 80 h 1012"/>
                  <a:gd name="T6" fmla="*/ 173 w 1011"/>
                  <a:gd name="T7" fmla="*/ 0 h 1012"/>
                  <a:gd name="T8" fmla="*/ 0 w 1011"/>
                  <a:gd name="T9" fmla="*/ 420 h 1012"/>
                  <a:gd name="T10" fmla="*/ 592 w 1011"/>
                  <a:gd name="T11" fmla="*/ 1012 h 1012"/>
                  <a:gd name="T12" fmla="*/ 1011 w 1011"/>
                  <a:gd name="T13" fmla="*/ 839 h 1012"/>
                  <a:gd name="T14" fmla="*/ 932 w 1011"/>
                  <a:gd name="T15" fmla="*/ 759 h 1012"/>
                  <a:gd name="T16" fmla="*/ 592 w 1011"/>
                  <a:gd name="T17" fmla="*/ 900 h 10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1" h="1012">
                    <a:moveTo>
                      <a:pt x="592" y="900"/>
                    </a:moveTo>
                    <a:cubicBezTo>
                      <a:pt x="327" y="900"/>
                      <a:pt x="112" y="685"/>
                      <a:pt x="112" y="420"/>
                    </a:cubicBezTo>
                    <a:cubicBezTo>
                      <a:pt x="112" y="287"/>
                      <a:pt x="166" y="167"/>
                      <a:pt x="253" y="80"/>
                    </a:cubicBezTo>
                    <a:cubicBezTo>
                      <a:pt x="173" y="0"/>
                      <a:pt x="173" y="0"/>
                      <a:pt x="173" y="0"/>
                    </a:cubicBezTo>
                    <a:cubicBezTo>
                      <a:pt x="66" y="108"/>
                      <a:pt x="0" y="256"/>
                      <a:pt x="0" y="420"/>
                    </a:cubicBezTo>
                    <a:cubicBezTo>
                      <a:pt x="0" y="747"/>
                      <a:pt x="265" y="1012"/>
                      <a:pt x="592" y="1012"/>
                    </a:cubicBezTo>
                    <a:cubicBezTo>
                      <a:pt x="756" y="1012"/>
                      <a:pt x="904" y="946"/>
                      <a:pt x="1011" y="839"/>
                    </a:cubicBezTo>
                    <a:cubicBezTo>
                      <a:pt x="932" y="759"/>
                      <a:pt x="932" y="759"/>
                      <a:pt x="932" y="759"/>
                    </a:cubicBezTo>
                    <a:cubicBezTo>
                      <a:pt x="845" y="846"/>
                      <a:pt x="725" y="900"/>
                      <a:pt x="592" y="900"/>
                    </a:cubicBezTo>
                    <a:close/>
                  </a:path>
                </a:pathLst>
              </a:custGeom>
              <a:solidFill>
                <a:srgbClr val="2D3E50"/>
              </a:solidFill>
              <a:ln>
                <a:solidFill>
                  <a:srgbClr val="2D3E50"/>
                </a:solidFill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6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00467D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48" name="Line 23"/>
              <p:cNvSpPr>
                <a:spLocks noChangeShapeType="1"/>
              </p:cNvSpPr>
              <p:nvPr/>
            </p:nvSpPr>
            <p:spPr bwMode="gray">
              <a:xfrm>
                <a:off x="7370763" y="2384426"/>
                <a:ext cx="0" cy="0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6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00467D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49" name="Freeform 24"/>
              <p:cNvSpPr>
                <a:spLocks/>
              </p:cNvSpPr>
              <p:nvPr/>
            </p:nvSpPr>
            <p:spPr bwMode="gray">
              <a:xfrm>
                <a:off x="8485188" y="3451226"/>
                <a:ext cx="700087" cy="696913"/>
              </a:xfrm>
              <a:custGeom>
                <a:avLst/>
                <a:gdLst>
                  <a:gd name="T0" fmla="*/ 441 w 441"/>
                  <a:gd name="T1" fmla="*/ 439 h 439"/>
                  <a:gd name="T2" fmla="*/ 342 w 441"/>
                  <a:gd name="T3" fmla="*/ 316 h 439"/>
                  <a:gd name="T4" fmla="*/ 246 w 441"/>
                  <a:gd name="T5" fmla="*/ 195 h 439"/>
                  <a:gd name="T6" fmla="*/ 125 w 441"/>
                  <a:gd name="T7" fmla="*/ 98 h 439"/>
                  <a:gd name="T8" fmla="*/ 0 w 441"/>
                  <a:gd name="T9" fmla="*/ 0 h 439"/>
                  <a:gd name="T10" fmla="*/ 441 w 441"/>
                  <a:gd name="T11" fmla="*/ 439 h 439"/>
                  <a:gd name="T12" fmla="*/ 441 w 441"/>
                  <a:gd name="T13" fmla="*/ 439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1" h="439">
                    <a:moveTo>
                      <a:pt x="441" y="439"/>
                    </a:moveTo>
                    <a:lnTo>
                      <a:pt x="342" y="316"/>
                    </a:lnTo>
                    <a:lnTo>
                      <a:pt x="246" y="195"/>
                    </a:lnTo>
                    <a:lnTo>
                      <a:pt x="125" y="98"/>
                    </a:lnTo>
                    <a:lnTo>
                      <a:pt x="0" y="0"/>
                    </a:lnTo>
                    <a:lnTo>
                      <a:pt x="441" y="439"/>
                    </a:lnTo>
                    <a:lnTo>
                      <a:pt x="441" y="439"/>
                    </a:lnTo>
                    <a:close/>
                  </a:path>
                </a:pathLst>
              </a:custGeom>
              <a:solidFill>
                <a:srgbClr val="CED3D3"/>
              </a:solidFill>
              <a:ln>
                <a:solidFill>
                  <a:srgbClr val="CED3D3"/>
                </a:solidFill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6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00467D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50" name="Freeform 25"/>
              <p:cNvSpPr>
                <a:spLocks/>
              </p:cNvSpPr>
              <p:nvPr/>
            </p:nvSpPr>
            <p:spPr bwMode="gray">
              <a:xfrm>
                <a:off x="8485188" y="3451226"/>
                <a:ext cx="700087" cy="696913"/>
              </a:xfrm>
              <a:custGeom>
                <a:avLst/>
                <a:gdLst>
                  <a:gd name="T0" fmla="*/ 0 w 441"/>
                  <a:gd name="T1" fmla="*/ 0 h 439"/>
                  <a:gd name="T2" fmla="*/ 99 w 441"/>
                  <a:gd name="T3" fmla="*/ 125 h 439"/>
                  <a:gd name="T4" fmla="*/ 195 w 441"/>
                  <a:gd name="T5" fmla="*/ 246 h 439"/>
                  <a:gd name="T6" fmla="*/ 316 w 441"/>
                  <a:gd name="T7" fmla="*/ 342 h 439"/>
                  <a:gd name="T8" fmla="*/ 441 w 441"/>
                  <a:gd name="T9" fmla="*/ 439 h 439"/>
                  <a:gd name="T10" fmla="*/ 0 w 441"/>
                  <a:gd name="T11" fmla="*/ 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39">
                    <a:moveTo>
                      <a:pt x="0" y="0"/>
                    </a:moveTo>
                    <a:lnTo>
                      <a:pt x="99" y="125"/>
                    </a:lnTo>
                    <a:lnTo>
                      <a:pt x="195" y="246"/>
                    </a:lnTo>
                    <a:lnTo>
                      <a:pt x="316" y="342"/>
                    </a:lnTo>
                    <a:lnTo>
                      <a:pt x="441" y="43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BB8B8"/>
              </a:solidFill>
              <a:ln>
                <a:solidFill>
                  <a:srgbClr val="ABB8B8"/>
                </a:solidFill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6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00467D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51" name="Freeform 32"/>
              <p:cNvSpPr>
                <a:spLocks/>
              </p:cNvSpPr>
              <p:nvPr/>
            </p:nvSpPr>
            <p:spPr bwMode="gray">
              <a:xfrm>
                <a:off x="8743950" y="2905125"/>
                <a:ext cx="198438" cy="990600"/>
              </a:xfrm>
              <a:custGeom>
                <a:avLst/>
                <a:gdLst>
                  <a:gd name="T0" fmla="*/ 125 w 125"/>
                  <a:gd name="T1" fmla="*/ 567 h 624"/>
                  <a:gd name="T2" fmla="*/ 93 w 125"/>
                  <a:gd name="T3" fmla="*/ 288 h 624"/>
                  <a:gd name="T4" fmla="*/ 59 w 125"/>
                  <a:gd name="T5" fmla="*/ 0 h 624"/>
                  <a:gd name="T6" fmla="*/ 27 w 125"/>
                  <a:gd name="T7" fmla="*/ 288 h 624"/>
                  <a:gd name="T8" fmla="*/ 0 w 125"/>
                  <a:gd name="T9" fmla="*/ 508 h 624"/>
                  <a:gd name="T10" fmla="*/ 118 w 125"/>
                  <a:gd name="T11" fmla="*/ 624 h 624"/>
                  <a:gd name="T12" fmla="*/ 125 w 125"/>
                  <a:gd name="T13" fmla="*/ 567 h 6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5" h="624">
                    <a:moveTo>
                      <a:pt x="125" y="567"/>
                    </a:moveTo>
                    <a:lnTo>
                      <a:pt x="93" y="288"/>
                    </a:lnTo>
                    <a:lnTo>
                      <a:pt x="59" y="0"/>
                    </a:lnTo>
                    <a:lnTo>
                      <a:pt x="27" y="288"/>
                    </a:lnTo>
                    <a:lnTo>
                      <a:pt x="0" y="508"/>
                    </a:lnTo>
                    <a:lnTo>
                      <a:pt x="118" y="624"/>
                    </a:lnTo>
                    <a:lnTo>
                      <a:pt x="125" y="567"/>
                    </a:lnTo>
                    <a:close/>
                  </a:path>
                </a:pathLst>
              </a:custGeom>
              <a:solidFill>
                <a:srgbClr val="CED3D3"/>
              </a:solidFill>
              <a:ln>
                <a:solidFill>
                  <a:srgbClr val="CED3D3"/>
                </a:solidFill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6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00467D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52" name="Freeform 33"/>
              <p:cNvSpPr>
                <a:spLocks/>
              </p:cNvSpPr>
              <p:nvPr/>
            </p:nvSpPr>
            <p:spPr bwMode="gray">
              <a:xfrm>
                <a:off x="8734425" y="3711575"/>
                <a:ext cx="196850" cy="990600"/>
              </a:xfrm>
              <a:custGeom>
                <a:avLst/>
                <a:gdLst>
                  <a:gd name="T0" fmla="*/ 6 w 124"/>
                  <a:gd name="T1" fmla="*/ 0 h 624"/>
                  <a:gd name="T2" fmla="*/ 0 w 124"/>
                  <a:gd name="T3" fmla="*/ 59 h 624"/>
                  <a:gd name="T4" fmla="*/ 33 w 124"/>
                  <a:gd name="T5" fmla="*/ 338 h 624"/>
                  <a:gd name="T6" fmla="*/ 65 w 124"/>
                  <a:gd name="T7" fmla="*/ 624 h 624"/>
                  <a:gd name="T8" fmla="*/ 99 w 124"/>
                  <a:gd name="T9" fmla="*/ 338 h 624"/>
                  <a:gd name="T10" fmla="*/ 124 w 124"/>
                  <a:gd name="T11" fmla="*/ 116 h 624"/>
                  <a:gd name="T12" fmla="*/ 6 w 124"/>
                  <a:gd name="T13" fmla="*/ 0 h 6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4" h="624">
                    <a:moveTo>
                      <a:pt x="6" y="0"/>
                    </a:moveTo>
                    <a:lnTo>
                      <a:pt x="0" y="59"/>
                    </a:lnTo>
                    <a:lnTo>
                      <a:pt x="33" y="338"/>
                    </a:lnTo>
                    <a:lnTo>
                      <a:pt x="65" y="624"/>
                    </a:lnTo>
                    <a:lnTo>
                      <a:pt x="99" y="338"/>
                    </a:lnTo>
                    <a:lnTo>
                      <a:pt x="124" y="116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ABB8B8"/>
              </a:solidFill>
              <a:ln>
                <a:solidFill>
                  <a:srgbClr val="ABB8B8"/>
                </a:solidFill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6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00467D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53" name="Freeform 34"/>
              <p:cNvSpPr>
                <a:spLocks/>
              </p:cNvSpPr>
              <p:nvPr/>
            </p:nvSpPr>
            <p:spPr bwMode="gray">
              <a:xfrm>
                <a:off x="7940675" y="3711575"/>
                <a:ext cx="990600" cy="195263"/>
              </a:xfrm>
              <a:custGeom>
                <a:avLst/>
                <a:gdLst>
                  <a:gd name="T0" fmla="*/ 286 w 624"/>
                  <a:gd name="T1" fmla="*/ 25 h 123"/>
                  <a:gd name="T2" fmla="*/ 0 w 624"/>
                  <a:gd name="T3" fmla="*/ 59 h 123"/>
                  <a:gd name="T4" fmla="*/ 286 w 624"/>
                  <a:gd name="T5" fmla="*/ 91 h 123"/>
                  <a:gd name="T6" fmla="*/ 565 w 624"/>
                  <a:gd name="T7" fmla="*/ 123 h 123"/>
                  <a:gd name="T8" fmla="*/ 624 w 624"/>
                  <a:gd name="T9" fmla="*/ 116 h 123"/>
                  <a:gd name="T10" fmla="*/ 506 w 624"/>
                  <a:gd name="T11" fmla="*/ 0 h 123"/>
                  <a:gd name="T12" fmla="*/ 286 w 624"/>
                  <a:gd name="T13" fmla="*/ 25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24" h="123">
                    <a:moveTo>
                      <a:pt x="286" y="25"/>
                    </a:moveTo>
                    <a:lnTo>
                      <a:pt x="0" y="59"/>
                    </a:lnTo>
                    <a:lnTo>
                      <a:pt x="286" y="91"/>
                    </a:lnTo>
                    <a:lnTo>
                      <a:pt x="565" y="123"/>
                    </a:lnTo>
                    <a:lnTo>
                      <a:pt x="624" y="116"/>
                    </a:lnTo>
                    <a:lnTo>
                      <a:pt x="506" y="0"/>
                    </a:lnTo>
                    <a:lnTo>
                      <a:pt x="286" y="25"/>
                    </a:lnTo>
                    <a:close/>
                  </a:path>
                </a:pathLst>
              </a:custGeom>
              <a:solidFill>
                <a:srgbClr val="ABB8B8"/>
              </a:solidFill>
              <a:ln>
                <a:solidFill>
                  <a:srgbClr val="ABB8B8"/>
                </a:solidFill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6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00467D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54" name="Freeform 35"/>
              <p:cNvSpPr>
                <a:spLocks/>
              </p:cNvSpPr>
              <p:nvPr/>
            </p:nvSpPr>
            <p:spPr bwMode="gray">
              <a:xfrm>
                <a:off x="8743950" y="3700463"/>
                <a:ext cx="993775" cy="195263"/>
              </a:xfrm>
              <a:custGeom>
                <a:avLst/>
                <a:gdLst>
                  <a:gd name="T0" fmla="*/ 626 w 626"/>
                  <a:gd name="T1" fmla="*/ 66 h 123"/>
                  <a:gd name="T2" fmla="*/ 338 w 626"/>
                  <a:gd name="T3" fmla="*/ 32 h 123"/>
                  <a:gd name="T4" fmla="*/ 59 w 626"/>
                  <a:gd name="T5" fmla="*/ 0 h 123"/>
                  <a:gd name="T6" fmla="*/ 0 w 626"/>
                  <a:gd name="T7" fmla="*/ 7 h 123"/>
                  <a:gd name="T8" fmla="*/ 118 w 626"/>
                  <a:gd name="T9" fmla="*/ 123 h 123"/>
                  <a:gd name="T10" fmla="*/ 338 w 626"/>
                  <a:gd name="T11" fmla="*/ 98 h 123"/>
                  <a:gd name="T12" fmla="*/ 626 w 626"/>
                  <a:gd name="T13" fmla="*/ 66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26" h="123">
                    <a:moveTo>
                      <a:pt x="626" y="66"/>
                    </a:moveTo>
                    <a:lnTo>
                      <a:pt x="338" y="32"/>
                    </a:lnTo>
                    <a:lnTo>
                      <a:pt x="59" y="0"/>
                    </a:lnTo>
                    <a:lnTo>
                      <a:pt x="0" y="7"/>
                    </a:lnTo>
                    <a:lnTo>
                      <a:pt x="118" y="123"/>
                    </a:lnTo>
                    <a:lnTo>
                      <a:pt x="338" y="98"/>
                    </a:lnTo>
                    <a:lnTo>
                      <a:pt x="626" y="66"/>
                    </a:lnTo>
                    <a:close/>
                  </a:path>
                </a:pathLst>
              </a:custGeom>
              <a:solidFill>
                <a:srgbClr val="CED3D3"/>
              </a:solidFill>
              <a:ln>
                <a:solidFill>
                  <a:srgbClr val="CED3D3"/>
                </a:solidFill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6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00467D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55" name="Freeform 26"/>
              <p:cNvSpPr>
                <a:spLocks/>
              </p:cNvSpPr>
              <p:nvPr/>
            </p:nvSpPr>
            <p:spPr bwMode="gray">
              <a:xfrm>
                <a:off x="8664575" y="3067051"/>
                <a:ext cx="904875" cy="904875"/>
              </a:xfrm>
              <a:custGeom>
                <a:avLst/>
                <a:gdLst>
                  <a:gd name="T0" fmla="*/ 392 w 570"/>
                  <a:gd name="T1" fmla="*/ 290 h 570"/>
                  <a:gd name="T2" fmla="*/ 570 w 570"/>
                  <a:gd name="T3" fmla="*/ 0 h 570"/>
                  <a:gd name="T4" fmla="*/ 281 w 570"/>
                  <a:gd name="T5" fmla="*/ 179 h 570"/>
                  <a:gd name="T6" fmla="*/ 0 w 570"/>
                  <a:gd name="T7" fmla="*/ 353 h 570"/>
                  <a:gd name="T8" fmla="*/ 217 w 570"/>
                  <a:gd name="T9" fmla="*/ 570 h 570"/>
                  <a:gd name="T10" fmla="*/ 392 w 570"/>
                  <a:gd name="T11" fmla="*/ 29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0" h="570">
                    <a:moveTo>
                      <a:pt x="392" y="290"/>
                    </a:moveTo>
                    <a:lnTo>
                      <a:pt x="570" y="0"/>
                    </a:lnTo>
                    <a:lnTo>
                      <a:pt x="281" y="179"/>
                    </a:lnTo>
                    <a:lnTo>
                      <a:pt x="0" y="353"/>
                    </a:lnTo>
                    <a:lnTo>
                      <a:pt x="217" y="570"/>
                    </a:lnTo>
                    <a:lnTo>
                      <a:pt x="392" y="290"/>
                    </a:lnTo>
                    <a:close/>
                  </a:path>
                </a:pathLst>
              </a:custGeom>
              <a:solidFill>
                <a:srgbClr val="E74E3D"/>
              </a:solidFill>
              <a:ln>
                <a:solidFill>
                  <a:srgbClr val="E74E3D"/>
                </a:solidFill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6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00467D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56" name="Freeform 27"/>
              <p:cNvSpPr>
                <a:spLocks/>
              </p:cNvSpPr>
              <p:nvPr/>
            </p:nvSpPr>
            <p:spPr bwMode="gray">
              <a:xfrm>
                <a:off x="8104188" y="3627438"/>
                <a:ext cx="904875" cy="904875"/>
              </a:xfrm>
              <a:custGeom>
                <a:avLst/>
                <a:gdLst>
                  <a:gd name="T0" fmla="*/ 353 w 570"/>
                  <a:gd name="T1" fmla="*/ 0 h 570"/>
                  <a:gd name="T2" fmla="*/ 353 w 570"/>
                  <a:gd name="T3" fmla="*/ 0 h 570"/>
                  <a:gd name="T4" fmla="*/ 178 w 570"/>
                  <a:gd name="T5" fmla="*/ 281 h 570"/>
                  <a:gd name="T6" fmla="*/ 0 w 570"/>
                  <a:gd name="T7" fmla="*/ 570 h 570"/>
                  <a:gd name="T8" fmla="*/ 289 w 570"/>
                  <a:gd name="T9" fmla="*/ 392 h 570"/>
                  <a:gd name="T10" fmla="*/ 570 w 570"/>
                  <a:gd name="T11" fmla="*/ 217 h 570"/>
                  <a:gd name="T12" fmla="*/ 570 w 570"/>
                  <a:gd name="T13" fmla="*/ 217 h 570"/>
                  <a:gd name="T14" fmla="*/ 570 w 570"/>
                  <a:gd name="T15" fmla="*/ 217 h 570"/>
                  <a:gd name="T16" fmla="*/ 353 w 570"/>
                  <a:gd name="T17" fmla="*/ 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0" h="570">
                    <a:moveTo>
                      <a:pt x="353" y="0"/>
                    </a:moveTo>
                    <a:lnTo>
                      <a:pt x="353" y="0"/>
                    </a:lnTo>
                    <a:lnTo>
                      <a:pt x="178" y="281"/>
                    </a:lnTo>
                    <a:lnTo>
                      <a:pt x="0" y="570"/>
                    </a:lnTo>
                    <a:lnTo>
                      <a:pt x="289" y="392"/>
                    </a:lnTo>
                    <a:lnTo>
                      <a:pt x="570" y="217"/>
                    </a:lnTo>
                    <a:lnTo>
                      <a:pt x="570" y="217"/>
                    </a:lnTo>
                    <a:lnTo>
                      <a:pt x="570" y="217"/>
                    </a:lnTo>
                    <a:lnTo>
                      <a:pt x="353" y="0"/>
                    </a:lnTo>
                    <a:close/>
                  </a:path>
                </a:pathLst>
              </a:custGeom>
              <a:solidFill>
                <a:srgbClr val="3F96CE"/>
              </a:solidFill>
              <a:ln>
                <a:solidFill>
                  <a:srgbClr val="3F96CE"/>
                </a:solidFill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6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00467D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</p:grpSp>
      </p:grpSp>
      <p:sp>
        <p:nvSpPr>
          <p:cNvPr id="57" name="Rechteck 56"/>
          <p:cNvSpPr/>
          <p:nvPr/>
        </p:nvSpPr>
        <p:spPr>
          <a:xfrm>
            <a:off x="4797183" y="2918514"/>
            <a:ext cx="4150906" cy="154300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61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8" name="Textfeld 57"/>
          <p:cNvSpPr txBox="1"/>
          <p:nvPr/>
        </p:nvSpPr>
        <p:spPr>
          <a:xfrm>
            <a:off x="1482559" y="3998178"/>
            <a:ext cx="3573300" cy="4154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>
                <a:solidFill>
                  <a:srgbClr val="023D6B"/>
                </a:solidFill>
              </a:defRPr>
            </a:lvl1pPr>
          </a:lstStyle>
          <a:p>
            <a:pPr marL="0" marR="0" lvl="0" indent="0" algn="l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23D6B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Use market analysis as means of self- 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23D6B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</a:b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23D6B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reflection and input for the creation process</a:t>
            </a:r>
          </a:p>
        </p:txBody>
      </p:sp>
      <p:sp>
        <p:nvSpPr>
          <p:cNvPr id="59" name="Rechteck 58"/>
          <p:cNvSpPr/>
          <p:nvPr/>
        </p:nvSpPr>
        <p:spPr>
          <a:xfrm>
            <a:off x="4959025" y="3055855"/>
            <a:ext cx="2758689" cy="7797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467D"/>
                </a:solidFill>
                <a:effectLst/>
                <a:uLnTx/>
                <a:uFillTx/>
                <a:latin typeface="ars-maquette-web"/>
                <a:ea typeface="+mn-ea"/>
                <a:cs typeface="Arial"/>
                <a:sym typeface="Arial"/>
              </a:rPr>
              <a:t>Pitfall 4</a:t>
            </a:r>
          </a:p>
          <a:p>
            <a:pPr marL="0" marR="0" lvl="0" indent="0" algn="ctr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467D"/>
                </a:solidFill>
                <a:effectLst/>
                <a:uLnTx/>
                <a:uFillTx/>
                <a:latin typeface="ars-maquette-web"/>
                <a:ea typeface="+mn-ea"/>
                <a:cs typeface="Arial"/>
                <a:sym typeface="Arial"/>
              </a:rPr>
              <a:t>Wait for action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467D"/>
                </a:solidFill>
                <a:effectLst/>
                <a:uLnTx/>
                <a:uFillTx/>
                <a:latin typeface="ars-maquette-web"/>
                <a:ea typeface="+mn-ea"/>
                <a:cs typeface="Arial"/>
                <a:sym typeface="Arial"/>
              </a:rPr>
              <a:t>until you finally thought through every detail</a:t>
            </a:r>
          </a:p>
        </p:txBody>
      </p:sp>
      <p:pic>
        <p:nvPicPr>
          <p:cNvPr id="60" name="Grafik 5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2584" y="2888496"/>
            <a:ext cx="1160635" cy="1337165"/>
          </a:xfrm>
          <a:prstGeom prst="rect">
            <a:avLst/>
          </a:prstGeom>
        </p:spPr>
      </p:pic>
      <p:sp>
        <p:nvSpPr>
          <p:cNvPr id="61" name="Rechteck 60"/>
          <p:cNvSpPr/>
          <p:nvPr/>
        </p:nvSpPr>
        <p:spPr>
          <a:xfrm>
            <a:off x="5850391" y="3908532"/>
            <a:ext cx="286165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23D6B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Validate and test your business model 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23D6B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</a:b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23D6B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s early as possible (Interviewing can help)</a:t>
            </a:r>
          </a:p>
        </p:txBody>
      </p:sp>
      <p:sp>
        <p:nvSpPr>
          <p:cNvPr id="62" name="Pfeil: nach unten gekrümmt 2">
            <a:extLst>
              <a:ext uri="{FF2B5EF4-FFF2-40B4-BE49-F238E27FC236}">
                <a16:creationId xmlns:a16="http://schemas.microsoft.com/office/drawing/2014/main" id="{E3D638E7-47E0-48BB-BAFA-067156967551}"/>
              </a:ext>
            </a:extLst>
          </p:cNvPr>
          <p:cNvSpPr/>
          <p:nvPr/>
        </p:nvSpPr>
        <p:spPr>
          <a:xfrm>
            <a:off x="3677453" y="1191758"/>
            <a:ext cx="2052162" cy="571261"/>
          </a:xfrm>
          <a:prstGeom prst="curvedDownArrow">
            <a:avLst/>
          </a:prstGeom>
          <a:solidFill>
            <a:srgbClr val="00467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350" b="0" i="0" u="none" strike="noStrike" kern="0" cap="none" spc="0" normalizeH="0" baseline="0" noProof="0">
              <a:ln>
                <a:noFill/>
              </a:ln>
              <a:solidFill>
                <a:srgbClr val="00467D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3" name="Pfeil: nach unten gekrümmt 38">
            <a:extLst>
              <a:ext uri="{FF2B5EF4-FFF2-40B4-BE49-F238E27FC236}">
                <a16:creationId xmlns:a16="http://schemas.microsoft.com/office/drawing/2014/main" id="{58C069E9-0A5A-46EB-83B3-68CBA3B2D174}"/>
              </a:ext>
            </a:extLst>
          </p:cNvPr>
          <p:cNvSpPr/>
          <p:nvPr/>
        </p:nvSpPr>
        <p:spPr>
          <a:xfrm flipH="1" flipV="1">
            <a:off x="3663449" y="2263167"/>
            <a:ext cx="2052162" cy="571261"/>
          </a:xfrm>
          <a:prstGeom prst="curvedDownArrow">
            <a:avLst/>
          </a:prstGeom>
          <a:solidFill>
            <a:srgbClr val="00467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350" b="0" i="0" u="none" strike="noStrike" kern="0" cap="none" spc="0" normalizeH="0" baseline="0" noProof="0">
              <a:ln>
                <a:noFill/>
              </a:ln>
              <a:solidFill>
                <a:srgbClr val="00467D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858971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" name="Google Shape;870;g2157e93a457_0_149"/>
          <p:cNvSpPr/>
          <p:nvPr/>
        </p:nvSpPr>
        <p:spPr>
          <a:xfrm>
            <a:off x="6110908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1" name="Google Shape;871;g2157e93a457_0_149"/>
          <p:cNvSpPr/>
          <p:nvPr/>
        </p:nvSpPr>
        <p:spPr>
          <a:xfrm>
            <a:off x="514350" y="45200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4" name="Google Shape;874;g2157e93a457_0_149"/>
          <p:cNvSpPr txBox="1"/>
          <p:nvPr/>
        </p:nvSpPr>
        <p:spPr>
          <a:xfrm>
            <a:off x="1418225" y="3238088"/>
            <a:ext cx="1053900" cy="10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August 26th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ssion 5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Target groups</a:t>
            </a: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cxnSp>
        <p:nvCxnSpPr>
          <p:cNvPr id="875" name="Google Shape;875;g2157e93a457_0_149"/>
          <p:cNvCxnSpPr/>
          <p:nvPr/>
        </p:nvCxnSpPr>
        <p:spPr>
          <a:xfrm rot="10800000" flipH="1">
            <a:off x="896850" y="2798500"/>
            <a:ext cx="7350300" cy="114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oval" w="med" len="med"/>
          </a:ln>
        </p:spPr>
      </p:cxnSp>
      <p:cxnSp>
        <p:nvCxnSpPr>
          <p:cNvPr id="876" name="Google Shape;876;g2157e93a457_0_149"/>
          <p:cNvCxnSpPr/>
          <p:nvPr/>
        </p:nvCxnSpPr>
        <p:spPr>
          <a:xfrm rot="10800000">
            <a:off x="1945184" y="2811326"/>
            <a:ext cx="0" cy="2859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cxnSp>
        <p:nvCxnSpPr>
          <p:cNvPr id="877" name="Google Shape;877;g2157e93a457_0_149"/>
          <p:cNvCxnSpPr/>
          <p:nvPr/>
        </p:nvCxnSpPr>
        <p:spPr>
          <a:xfrm rot="10800000">
            <a:off x="5240366" y="2803001"/>
            <a:ext cx="0" cy="2859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cxnSp>
        <p:nvCxnSpPr>
          <p:cNvPr id="878" name="Google Shape;878;g2157e93a457_0_149"/>
          <p:cNvCxnSpPr/>
          <p:nvPr/>
        </p:nvCxnSpPr>
        <p:spPr>
          <a:xfrm>
            <a:off x="6901970" y="2500903"/>
            <a:ext cx="0" cy="2976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cxnSp>
        <p:nvCxnSpPr>
          <p:cNvPr id="879" name="Google Shape;879;g2157e93a457_0_149"/>
          <p:cNvCxnSpPr/>
          <p:nvPr/>
        </p:nvCxnSpPr>
        <p:spPr>
          <a:xfrm>
            <a:off x="3621095" y="2500903"/>
            <a:ext cx="0" cy="2976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sp>
        <p:nvSpPr>
          <p:cNvPr id="880" name="Google Shape;880;g2157e93a457_0_149"/>
          <p:cNvSpPr txBox="1"/>
          <p:nvPr/>
        </p:nvSpPr>
        <p:spPr>
          <a:xfrm>
            <a:off x="3094150" y="1344475"/>
            <a:ext cx="1053900" cy="10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August 28th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ssion 6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Primary research</a:t>
            </a: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881" name="Google Shape;881;g2157e93a457_0_149"/>
          <p:cNvSpPr txBox="1"/>
          <p:nvPr/>
        </p:nvSpPr>
        <p:spPr>
          <a:xfrm>
            <a:off x="4651775" y="3181225"/>
            <a:ext cx="1298752" cy="10156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ptember 2nd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ssion 7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Business model</a:t>
            </a: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882" name="Google Shape;882;g2157e93a457_0_149"/>
          <p:cNvSpPr txBox="1"/>
          <p:nvPr/>
        </p:nvSpPr>
        <p:spPr>
          <a:xfrm>
            <a:off x="6202675" y="1513175"/>
            <a:ext cx="1398600" cy="78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ptember 4th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ssion 8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Legal issues</a:t>
            </a: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grpSp>
        <p:nvGrpSpPr>
          <p:cNvPr id="15" name="Google Shape;917;g2157e93a457_0_184">
            <a:extLst>
              <a:ext uri="{FF2B5EF4-FFF2-40B4-BE49-F238E27FC236}">
                <a16:creationId xmlns:a16="http://schemas.microsoft.com/office/drawing/2014/main" id="{D0D13528-7458-45F2-9666-EB392701F59E}"/>
              </a:ext>
            </a:extLst>
          </p:cNvPr>
          <p:cNvGrpSpPr/>
          <p:nvPr/>
        </p:nvGrpSpPr>
        <p:grpSpPr>
          <a:xfrm>
            <a:off x="6110908" y="3235618"/>
            <a:ext cx="1144024" cy="1159616"/>
            <a:chOff x="10299" y="4607"/>
            <a:chExt cx="2327617" cy="2359341"/>
          </a:xfrm>
        </p:grpSpPr>
        <p:grpSp>
          <p:nvGrpSpPr>
            <p:cNvPr id="16" name="Google Shape;918;g2157e93a457_0_184">
              <a:extLst>
                <a:ext uri="{FF2B5EF4-FFF2-40B4-BE49-F238E27FC236}">
                  <a16:creationId xmlns:a16="http://schemas.microsoft.com/office/drawing/2014/main" id="{F1E6FEE4-9DC1-4BC9-BE76-947C5FE830B6}"/>
                </a:ext>
              </a:extLst>
            </p:cNvPr>
            <p:cNvGrpSpPr/>
            <p:nvPr/>
          </p:nvGrpSpPr>
          <p:grpSpPr>
            <a:xfrm>
              <a:off x="10299" y="4607"/>
              <a:ext cx="2327617" cy="2359341"/>
              <a:chOff x="15240" y="6818"/>
              <a:chExt cx="3444240" cy="3491181"/>
            </a:xfrm>
          </p:grpSpPr>
          <p:sp>
            <p:nvSpPr>
              <p:cNvPr id="18" name="Google Shape;919;g2157e93a457_0_184">
                <a:extLst>
                  <a:ext uri="{FF2B5EF4-FFF2-40B4-BE49-F238E27FC236}">
                    <a16:creationId xmlns:a16="http://schemas.microsoft.com/office/drawing/2014/main" id="{46D5C63A-5BEB-408E-B46C-23DB7D138143}"/>
                  </a:ext>
                </a:extLst>
              </p:cNvPr>
              <p:cNvSpPr/>
              <p:nvPr/>
            </p:nvSpPr>
            <p:spPr>
              <a:xfrm>
                <a:off x="15240" y="248920"/>
                <a:ext cx="3444240" cy="3249079"/>
              </a:xfrm>
              <a:custGeom>
                <a:avLst/>
                <a:gdLst/>
                <a:ahLst/>
                <a:cxnLst/>
                <a:rect l="l" t="t" r="r" b="b"/>
                <a:pathLst>
                  <a:path w="3444240" h="3249079" extrusionOk="0">
                    <a:moveTo>
                      <a:pt x="3441700" y="645160"/>
                    </a:moveTo>
                    <a:cubicBezTo>
                      <a:pt x="3444240" y="488950"/>
                      <a:pt x="3422650" y="30480"/>
                      <a:pt x="3422650" y="30480"/>
                    </a:cubicBezTo>
                    <a:cubicBezTo>
                      <a:pt x="3422650" y="30480"/>
                      <a:pt x="3037840" y="40640"/>
                      <a:pt x="2684780" y="40640"/>
                    </a:cubicBezTo>
                    <a:cubicBezTo>
                      <a:pt x="2653030" y="40640"/>
                      <a:pt x="2401570" y="40640"/>
                      <a:pt x="2341880" y="40640"/>
                    </a:cubicBezTo>
                    <a:cubicBezTo>
                      <a:pt x="1906270" y="40640"/>
                      <a:pt x="1042670" y="38100"/>
                      <a:pt x="795020" y="33020"/>
                    </a:cubicBezTo>
                    <a:cubicBezTo>
                      <a:pt x="482600" y="20320"/>
                      <a:pt x="11430" y="0"/>
                      <a:pt x="10160" y="29210"/>
                    </a:cubicBezTo>
                    <a:cubicBezTo>
                      <a:pt x="8890" y="58420"/>
                      <a:pt x="21590" y="440690"/>
                      <a:pt x="21590" y="440690"/>
                    </a:cubicBezTo>
                    <a:cubicBezTo>
                      <a:pt x="21590" y="440690"/>
                      <a:pt x="21590" y="2400719"/>
                      <a:pt x="21590" y="2592489"/>
                    </a:cubicBezTo>
                    <a:cubicBezTo>
                      <a:pt x="6350" y="2837599"/>
                      <a:pt x="0" y="3210979"/>
                      <a:pt x="0" y="3210979"/>
                    </a:cubicBezTo>
                    <a:cubicBezTo>
                      <a:pt x="204470" y="3241459"/>
                      <a:pt x="450850" y="3249079"/>
                      <a:pt x="657860" y="3246539"/>
                    </a:cubicBezTo>
                    <a:cubicBezTo>
                      <a:pt x="891540" y="3246539"/>
                      <a:pt x="2616200" y="3246539"/>
                      <a:pt x="2616200" y="3246539"/>
                    </a:cubicBezTo>
                    <a:lnTo>
                      <a:pt x="3402330" y="3232569"/>
                    </a:lnTo>
                    <a:cubicBezTo>
                      <a:pt x="3402330" y="3232569"/>
                      <a:pt x="3441700" y="2530259"/>
                      <a:pt x="3441700" y="2404529"/>
                    </a:cubicBezTo>
                    <a:cubicBezTo>
                      <a:pt x="3441700" y="2230539"/>
                      <a:pt x="3439160" y="803910"/>
                      <a:pt x="3441700" y="645160"/>
                    </a:cubicBezTo>
                    <a:close/>
                  </a:path>
                </a:pathLst>
              </a:custGeom>
              <a:solidFill>
                <a:srgbClr val="CAC0F6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920;g2157e93a457_0_184">
                <a:extLst>
                  <a:ext uri="{FF2B5EF4-FFF2-40B4-BE49-F238E27FC236}">
                    <a16:creationId xmlns:a16="http://schemas.microsoft.com/office/drawing/2014/main" id="{A70FB02E-EDF1-4819-8F1B-3868F31FAA16}"/>
                  </a:ext>
                </a:extLst>
              </p:cNvPr>
              <p:cNvSpPr/>
              <p:nvPr/>
            </p:nvSpPr>
            <p:spPr>
              <a:xfrm>
                <a:off x="944274" y="6818"/>
                <a:ext cx="1583691" cy="554990"/>
              </a:xfrm>
              <a:custGeom>
                <a:avLst/>
                <a:gdLst/>
                <a:ahLst/>
                <a:cxnLst/>
                <a:rect l="l" t="t" r="r" b="b"/>
                <a:pathLst>
                  <a:path w="1583690" h="554990" extrusionOk="0">
                    <a:moveTo>
                      <a:pt x="27940" y="0"/>
                    </a:moveTo>
                    <a:cubicBezTo>
                      <a:pt x="27940" y="0"/>
                      <a:pt x="990600" y="95250"/>
                      <a:pt x="1109980" y="97790"/>
                    </a:cubicBezTo>
                    <a:lnTo>
                      <a:pt x="1558290" y="106680"/>
                    </a:lnTo>
                    <a:lnTo>
                      <a:pt x="1557020" y="199390"/>
                    </a:lnTo>
                    <a:cubicBezTo>
                      <a:pt x="1557020" y="199390"/>
                      <a:pt x="1583690" y="342900"/>
                      <a:pt x="1582420" y="402590"/>
                    </a:cubicBezTo>
                    <a:lnTo>
                      <a:pt x="1579880" y="554990"/>
                    </a:lnTo>
                    <a:cubicBezTo>
                      <a:pt x="1579880" y="554990"/>
                      <a:pt x="975360" y="504190"/>
                      <a:pt x="825500" y="497840"/>
                    </a:cubicBezTo>
                    <a:cubicBezTo>
                      <a:pt x="511810" y="482600"/>
                      <a:pt x="11430" y="414020"/>
                      <a:pt x="11430" y="414020"/>
                    </a:cubicBezTo>
                    <a:lnTo>
                      <a:pt x="0" y="261620"/>
                    </a:lnTo>
                    <a:lnTo>
                      <a:pt x="48260" y="135890"/>
                    </a:lnTo>
                    <a:lnTo>
                      <a:pt x="2794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" name="Google Shape;921;g2157e93a457_0_184">
              <a:extLst>
                <a:ext uri="{FF2B5EF4-FFF2-40B4-BE49-F238E27FC236}">
                  <a16:creationId xmlns:a16="http://schemas.microsoft.com/office/drawing/2014/main" id="{D18A3B9E-B4B6-4E80-B9EC-0CCA8B8297A7}"/>
                </a:ext>
              </a:extLst>
            </p:cNvPr>
            <p:cNvSpPr txBox="1"/>
            <p:nvPr/>
          </p:nvSpPr>
          <p:spPr>
            <a:xfrm>
              <a:off x="252419" y="591802"/>
              <a:ext cx="1841701" cy="169073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40019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964" b="1" dirty="0">
                  <a:latin typeface="Titillium Web"/>
                  <a:ea typeface="Titillium Web"/>
                  <a:cs typeface="Titillium Web"/>
                  <a:sym typeface="Titillium Web"/>
                </a:rPr>
                <a:t>DELIVERABLE </a:t>
              </a:r>
              <a:endParaRPr sz="964" b="1" dirty="0"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0" marR="0" lvl="0" indent="0" algn="ctr" rtl="0">
                <a:lnSpc>
                  <a:spcPct val="140019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964" dirty="0">
                  <a:latin typeface="Titillium Web"/>
                  <a:ea typeface="Titillium Web"/>
                  <a:cs typeface="Titillium Web"/>
                  <a:sym typeface="Titillium Web"/>
                </a:rPr>
                <a:t>Business </a:t>
              </a:r>
              <a:r>
                <a:rPr lang="de-DE" sz="964" dirty="0" err="1">
                  <a:latin typeface="Titillium Web"/>
                  <a:ea typeface="Titillium Web"/>
                  <a:cs typeface="Titillium Web"/>
                  <a:sym typeface="Titillium Web"/>
                </a:rPr>
                <a:t>model</a:t>
              </a:r>
              <a:r>
                <a:rPr lang="de-DE" sz="964" dirty="0">
                  <a:latin typeface="Titillium Web"/>
                  <a:ea typeface="Titillium Web"/>
                  <a:cs typeface="Titillium Web"/>
                  <a:sym typeface="Titillium Web"/>
                </a:rPr>
                <a:t> &amp; Team </a:t>
              </a:r>
              <a:r>
                <a:rPr lang="de-DE" sz="964" dirty="0" err="1">
                  <a:latin typeface="Titillium Web"/>
                  <a:ea typeface="Titillium Web"/>
                  <a:cs typeface="Titillium Web"/>
                  <a:sym typeface="Titillium Web"/>
                </a:rPr>
                <a:t>Canva</a:t>
              </a:r>
              <a:endParaRPr lang="de-DE" sz="964" dirty="0"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0" marR="0" lvl="0" indent="0" algn="ctr" rtl="0">
                <a:lnSpc>
                  <a:spcPct val="140019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964" b="1" dirty="0">
                  <a:latin typeface="Titillium Web"/>
                  <a:ea typeface="Titillium Web"/>
                  <a:cs typeface="Titillium Web"/>
                  <a:sym typeface="Titillium Web"/>
                </a:rPr>
                <a:t>8th September</a:t>
              </a:r>
            </a:p>
          </p:txBody>
        </p:sp>
      </p:grpSp>
      <p:sp>
        <p:nvSpPr>
          <p:cNvPr id="20" name="Google Shape;855;g2157e93a457_0_114">
            <a:extLst>
              <a:ext uri="{FF2B5EF4-FFF2-40B4-BE49-F238E27FC236}">
                <a16:creationId xmlns:a16="http://schemas.microsoft.com/office/drawing/2014/main" id="{3CBF0567-E2F1-4708-86F8-3391086D4AD2}"/>
              </a:ext>
            </a:extLst>
          </p:cNvPr>
          <p:cNvSpPr txBox="1"/>
          <p:nvPr/>
        </p:nvSpPr>
        <p:spPr>
          <a:xfrm>
            <a:off x="469800" y="475175"/>
            <a:ext cx="6783900" cy="129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rgbClr val="333089"/>
                </a:solidFill>
                <a:latin typeface="Titillium Web" panose="00000500000000000000" pitchFamily="2" charset="0"/>
                <a:ea typeface="Titillium Web"/>
                <a:cs typeface="Titillium Web"/>
                <a:sym typeface="Titillium Web"/>
              </a:rPr>
              <a:t>Sessions </a:t>
            </a:r>
            <a:endParaRPr sz="2800" dirty="0">
              <a:solidFill>
                <a:srgbClr val="333089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800" dirty="0">
              <a:solidFill>
                <a:srgbClr val="333089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800" dirty="0">
              <a:solidFill>
                <a:srgbClr val="333089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</p:txBody>
      </p:sp>
      <p:cxnSp>
        <p:nvCxnSpPr>
          <p:cNvPr id="21" name="Google Shape;856;g2157e93a457_0_114">
            <a:extLst>
              <a:ext uri="{FF2B5EF4-FFF2-40B4-BE49-F238E27FC236}">
                <a16:creationId xmlns:a16="http://schemas.microsoft.com/office/drawing/2014/main" id="{BB7694C9-E8C5-44F7-96DF-2E9BD838E878}"/>
              </a:ext>
            </a:extLst>
          </p:cNvPr>
          <p:cNvCxnSpPr/>
          <p:nvPr/>
        </p:nvCxnSpPr>
        <p:spPr>
          <a:xfrm>
            <a:off x="469810" y="1002556"/>
            <a:ext cx="3444600" cy="4500"/>
          </a:xfrm>
          <a:prstGeom prst="straightConnector1">
            <a:avLst/>
          </a:prstGeom>
          <a:noFill/>
          <a:ln w="28575" cap="rnd" cmpd="sng">
            <a:solidFill>
              <a:srgbClr val="333089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4141805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9" name="Google Shape;799;g2157e93a457_0_83"/>
          <p:cNvSpPr/>
          <p:nvPr/>
        </p:nvSpPr>
        <p:spPr>
          <a:xfrm>
            <a:off x="6110908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Titillium Web" panose="00000500000000000000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800" name="Google Shape;800;g2157e93a457_0_83"/>
          <p:cNvSpPr/>
          <p:nvPr/>
        </p:nvSpPr>
        <p:spPr>
          <a:xfrm>
            <a:off x="514350" y="45200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Titillium Web" panose="00000500000000000000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801" name="Google Shape;801;g2157e93a457_0_83"/>
          <p:cNvSpPr txBox="1"/>
          <p:nvPr/>
        </p:nvSpPr>
        <p:spPr>
          <a:xfrm>
            <a:off x="469800" y="475175"/>
            <a:ext cx="6783900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rgbClr val="333089"/>
                </a:solidFill>
                <a:latin typeface="Titillium Web" panose="00000500000000000000" pitchFamily="2" charset="0"/>
                <a:ea typeface="Titillium Web"/>
                <a:cs typeface="Titillium Web"/>
                <a:sym typeface="Titillium Web"/>
              </a:rPr>
              <a:t>DELIVERABLES</a:t>
            </a:r>
            <a:endParaRPr sz="2800" dirty="0">
              <a:solidFill>
                <a:srgbClr val="333089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800" dirty="0">
              <a:solidFill>
                <a:srgbClr val="333089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</p:txBody>
      </p:sp>
      <p:cxnSp>
        <p:nvCxnSpPr>
          <p:cNvPr id="802" name="Google Shape;802;g2157e93a457_0_83"/>
          <p:cNvCxnSpPr/>
          <p:nvPr/>
        </p:nvCxnSpPr>
        <p:spPr>
          <a:xfrm>
            <a:off x="469810" y="1002556"/>
            <a:ext cx="3645600" cy="0"/>
          </a:xfrm>
          <a:prstGeom prst="straightConnector1">
            <a:avLst/>
          </a:prstGeom>
          <a:noFill/>
          <a:ln w="28575" cap="rnd" cmpd="sng">
            <a:solidFill>
              <a:srgbClr val="33308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03" name="Google Shape;803;g2157e93a457_0_83"/>
          <p:cNvSpPr txBox="1"/>
          <p:nvPr/>
        </p:nvSpPr>
        <p:spPr>
          <a:xfrm>
            <a:off x="1806475" y="2630725"/>
            <a:ext cx="2342400" cy="64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chemeClr val="dk1"/>
                </a:solidFill>
                <a:latin typeface="Titillium Web" panose="00000500000000000000" pitchFamily="2" charset="0"/>
                <a:ea typeface="Titillium Web"/>
                <a:cs typeface="Titillium Web"/>
                <a:sym typeface="Titillium Web"/>
              </a:rPr>
              <a:t>Team canvas + </a:t>
            </a:r>
            <a:endParaRPr sz="1500">
              <a:solidFill>
                <a:schemeClr val="dk1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chemeClr val="dk1"/>
                </a:solidFill>
                <a:latin typeface="Titillium Web" panose="00000500000000000000" pitchFamily="2" charset="0"/>
                <a:ea typeface="Titillium Web"/>
                <a:cs typeface="Titillium Web"/>
                <a:sym typeface="Titillium Web"/>
              </a:rPr>
              <a:t>Business Model canvas</a:t>
            </a:r>
            <a:endParaRPr sz="1500">
              <a:solidFill>
                <a:schemeClr val="dk1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804" name="Google Shape;804;g2157e93a457_0_83"/>
          <p:cNvSpPr txBox="1"/>
          <p:nvPr/>
        </p:nvSpPr>
        <p:spPr>
          <a:xfrm>
            <a:off x="1806476" y="3277225"/>
            <a:ext cx="24837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chemeClr val="dk1"/>
                </a:solidFill>
                <a:latin typeface="Titillium Web" panose="00000500000000000000" pitchFamily="2" charset="0"/>
                <a:ea typeface="Titillium Web"/>
                <a:cs typeface="Titillium Web"/>
                <a:sym typeface="Titillium Web"/>
              </a:rPr>
              <a:t>6-month Roadmap</a:t>
            </a:r>
            <a:endParaRPr sz="1500">
              <a:solidFill>
                <a:schemeClr val="dk1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805" name="Google Shape;805;g2157e93a457_0_83"/>
          <p:cNvSpPr txBox="1"/>
          <p:nvPr/>
        </p:nvSpPr>
        <p:spPr>
          <a:xfrm>
            <a:off x="1806476" y="3793000"/>
            <a:ext cx="24837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chemeClr val="dk1"/>
                </a:solidFill>
                <a:latin typeface="Titillium Web" panose="00000500000000000000" pitchFamily="2" charset="0"/>
                <a:ea typeface="Titillium Web"/>
                <a:cs typeface="Titillium Web"/>
                <a:sym typeface="Titillium Web"/>
              </a:rPr>
              <a:t>Pitch deck</a:t>
            </a:r>
            <a:endParaRPr sz="1500">
              <a:solidFill>
                <a:schemeClr val="dk1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</p:txBody>
      </p:sp>
      <p:grpSp>
        <p:nvGrpSpPr>
          <p:cNvPr id="806" name="Google Shape;806;g2157e93a457_0_83"/>
          <p:cNvGrpSpPr/>
          <p:nvPr/>
        </p:nvGrpSpPr>
        <p:grpSpPr>
          <a:xfrm>
            <a:off x="2260663" y="1467226"/>
            <a:ext cx="1575332" cy="1022964"/>
            <a:chOff x="0" y="0"/>
            <a:chExt cx="827989" cy="537638"/>
          </a:xfrm>
        </p:grpSpPr>
        <p:sp>
          <p:nvSpPr>
            <p:cNvPr id="807" name="Google Shape;807;g2157e93a457_0_83"/>
            <p:cNvSpPr/>
            <p:nvPr/>
          </p:nvSpPr>
          <p:spPr>
            <a:xfrm>
              <a:off x="0" y="0"/>
              <a:ext cx="827989" cy="537638"/>
            </a:xfrm>
            <a:custGeom>
              <a:avLst/>
              <a:gdLst/>
              <a:ahLst/>
              <a:cxnLst/>
              <a:rect l="l" t="t" r="r" b="b"/>
              <a:pathLst>
                <a:path w="827989" h="537638" extrusionOk="0">
                  <a:moveTo>
                    <a:pt x="461490" y="0"/>
                  </a:moveTo>
                  <a:cubicBezTo>
                    <a:pt x="470405" y="0"/>
                    <a:pt x="479374" y="0"/>
                    <a:pt x="488272" y="0"/>
                  </a:cubicBezTo>
                  <a:cubicBezTo>
                    <a:pt x="559210" y="8909"/>
                    <a:pt x="603543" y="38564"/>
                    <a:pt x="623736" y="87090"/>
                  </a:cubicBezTo>
                  <a:cubicBezTo>
                    <a:pt x="742003" y="80618"/>
                    <a:pt x="827989" y="172373"/>
                    <a:pt x="775586" y="262426"/>
                  </a:cubicBezTo>
                  <a:cubicBezTo>
                    <a:pt x="793012" y="281349"/>
                    <a:pt x="807550" y="302517"/>
                    <a:pt x="812800" y="330926"/>
                  </a:cubicBezTo>
                  <a:cubicBezTo>
                    <a:pt x="812800" y="339065"/>
                    <a:pt x="812800" y="347184"/>
                    <a:pt x="812800" y="355321"/>
                  </a:cubicBezTo>
                  <a:cubicBezTo>
                    <a:pt x="797154" y="427627"/>
                    <a:pt x="729827" y="476486"/>
                    <a:pt x="619295" y="463333"/>
                  </a:cubicBezTo>
                  <a:cubicBezTo>
                    <a:pt x="590856" y="500459"/>
                    <a:pt x="540252" y="537638"/>
                    <a:pt x="461507" y="533008"/>
                  </a:cubicBezTo>
                  <a:cubicBezTo>
                    <a:pt x="420804" y="530570"/>
                    <a:pt x="392488" y="516453"/>
                    <a:pt x="367697" y="499302"/>
                  </a:cubicBezTo>
                  <a:cubicBezTo>
                    <a:pt x="341584" y="513559"/>
                    <a:pt x="313304" y="524747"/>
                    <a:pt x="272443" y="524871"/>
                  </a:cubicBezTo>
                  <a:cubicBezTo>
                    <a:pt x="177910" y="525082"/>
                    <a:pt x="114672" y="470155"/>
                    <a:pt x="113139" y="394815"/>
                  </a:cubicBezTo>
                  <a:cubicBezTo>
                    <a:pt x="52367" y="377190"/>
                    <a:pt x="11206" y="344291"/>
                    <a:pt x="0" y="287995"/>
                  </a:cubicBezTo>
                  <a:cubicBezTo>
                    <a:pt x="0" y="279858"/>
                    <a:pt x="0" y="271704"/>
                    <a:pt x="0" y="263601"/>
                  </a:cubicBezTo>
                  <a:cubicBezTo>
                    <a:pt x="12369" y="207816"/>
                    <a:pt x="51292" y="172776"/>
                    <a:pt x="116099" y="157922"/>
                  </a:cubicBezTo>
                  <a:cubicBezTo>
                    <a:pt x="112205" y="63818"/>
                    <a:pt x="241837" y="5016"/>
                    <a:pt x="348333" y="46474"/>
                  </a:cubicBezTo>
                  <a:cubicBezTo>
                    <a:pt x="373689" y="25973"/>
                    <a:pt x="409562" y="3613"/>
                    <a:pt x="461490" y="0"/>
                  </a:cubicBezTo>
                  <a:close/>
                </a:path>
              </a:pathLst>
            </a:custGeom>
            <a:solidFill>
              <a:srgbClr val="CAC0F6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Titillium Web" panose="00000500000000000000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8" name="Google Shape;808;g2157e93a457_0_83"/>
            <p:cNvSpPr txBox="1"/>
            <p:nvPr/>
          </p:nvSpPr>
          <p:spPr>
            <a:xfrm>
              <a:off x="38100" y="50800"/>
              <a:ext cx="736500" cy="406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64666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500" b="1">
                  <a:solidFill>
                    <a:schemeClr val="dk1"/>
                  </a:solidFill>
                  <a:latin typeface="Titillium Web" panose="00000500000000000000" pitchFamily="2" charset="0"/>
                  <a:ea typeface="Titillium Web"/>
                  <a:cs typeface="Titillium Web"/>
                  <a:sym typeface="Titillium Web"/>
                </a:rPr>
                <a:t>DELIVERABLE</a:t>
              </a:r>
              <a:endParaRPr sz="1500" b="1">
                <a:solidFill>
                  <a:schemeClr val="dk1"/>
                </a:solidFill>
                <a:latin typeface="Titillium Web" panose="00000500000000000000" pitchFamily="2" charset="0"/>
                <a:ea typeface="Titillium Web"/>
                <a:cs typeface="Titillium Web"/>
                <a:sym typeface="Titillium Web"/>
              </a:endParaRPr>
            </a:p>
          </p:txBody>
        </p:sp>
      </p:grpSp>
      <p:grpSp>
        <p:nvGrpSpPr>
          <p:cNvPr id="809" name="Google Shape;809;g2157e93a457_0_83"/>
          <p:cNvGrpSpPr/>
          <p:nvPr/>
        </p:nvGrpSpPr>
        <p:grpSpPr>
          <a:xfrm>
            <a:off x="5439763" y="1467226"/>
            <a:ext cx="1575332" cy="1022964"/>
            <a:chOff x="0" y="0"/>
            <a:chExt cx="827989" cy="537638"/>
          </a:xfrm>
        </p:grpSpPr>
        <p:sp>
          <p:nvSpPr>
            <p:cNvPr id="810" name="Google Shape;810;g2157e93a457_0_83"/>
            <p:cNvSpPr/>
            <p:nvPr/>
          </p:nvSpPr>
          <p:spPr>
            <a:xfrm>
              <a:off x="0" y="0"/>
              <a:ext cx="827989" cy="537638"/>
            </a:xfrm>
            <a:custGeom>
              <a:avLst/>
              <a:gdLst/>
              <a:ahLst/>
              <a:cxnLst/>
              <a:rect l="l" t="t" r="r" b="b"/>
              <a:pathLst>
                <a:path w="827989" h="537638" extrusionOk="0">
                  <a:moveTo>
                    <a:pt x="461490" y="0"/>
                  </a:moveTo>
                  <a:cubicBezTo>
                    <a:pt x="470405" y="0"/>
                    <a:pt x="479374" y="0"/>
                    <a:pt x="488272" y="0"/>
                  </a:cubicBezTo>
                  <a:cubicBezTo>
                    <a:pt x="559210" y="8909"/>
                    <a:pt x="603543" y="38564"/>
                    <a:pt x="623736" y="87090"/>
                  </a:cubicBezTo>
                  <a:cubicBezTo>
                    <a:pt x="742003" y="80618"/>
                    <a:pt x="827989" y="172373"/>
                    <a:pt x="775586" y="262426"/>
                  </a:cubicBezTo>
                  <a:cubicBezTo>
                    <a:pt x="793012" y="281349"/>
                    <a:pt x="807550" y="302517"/>
                    <a:pt x="812800" y="330926"/>
                  </a:cubicBezTo>
                  <a:cubicBezTo>
                    <a:pt x="812800" y="339065"/>
                    <a:pt x="812800" y="347184"/>
                    <a:pt x="812800" y="355321"/>
                  </a:cubicBezTo>
                  <a:cubicBezTo>
                    <a:pt x="797154" y="427627"/>
                    <a:pt x="729827" y="476486"/>
                    <a:pt x="619295" y="463333"/>
                  </a:cubicBezTo>
                  <a:cubicBezTo>
                    <a:pt x="590856" y="500459"/>
                    <a:pt x="540252" y="537638"/>
                    <a:pt x="461507" y="533008"/>
                  </a:cubicBezTo>
                  <a:cubicBezTo>
                    <a:pt x="420804" y="530570"/>
                    <a:pt x="392488" y="516453"/>
                    <a:pt x="367697" y="499302"/>
                  </a:cubicBezTo>
                  <a:cubicBezTo>
                    <a:pt x="341584" y="513559"/>
                    <a:pt x="313304" y="524747"/>
                    <a:pt x="272443" y="524871"/>
                  </a:cubicBezTo>
                  <a:cubicBezTo>
                    <a:pt x="177910" y="525082"/>
                    <a:pt x="114672" y="470155"/>
                    <a:pt x="113139" y="394815"/>
                  </a:cubicBezTo>
                  <a:cubicBezTo>
                    <a:pt x="52367" y="377190"/>
                    <a:pt x="11206" y="344291"/>
                    <a:pt x="0" y="287995"/>
                  </a:cubicBezTo>
                  <a:cubicBezTo>
                    <a:pt x="0" y="279858"/>
                    <a:pt x="0" y="271704"/>
                    <a:pt x="0" y="263601"/>
                  </a:cubicBezTo>
                  <a:cubicBezTo>
                    <a:pt x="12369" y="207816"/>
                    <a:pt x="51292" y="172776"/>
                    <a:pt x="116099" y="157922"/>
                  </a:cubicBezTo>
                  <a:cubicBezTo>
                    <a:pt x="112205" y="63818"/>
                    <a:pt x="241837" y="5016"/>
                    <a:pt x="348333" y="46474"/>
                  </a:cubicBezTo>
                  <a:cubicBezTo>
                    <a:pt x="373689" y="25973"/>
                    <a:pt x="409562" y="3613"/>
                    <a:pt x="461490" y="0"/>
                  </a:cubicBezTo>
                  <a:close/>
                </a:path>
              </a:pathLst>
            </a:custGeom>
            <a:solidFill>
              <a:srgbClr val="CAC0F6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Titillium Web" panose="00000500000000000000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1" name="Google Shape;811;g2157e93a457_0_83"/>
            <p:cNvSpPr txBox="1"/>
            <p:nvPr/>
          </p:nvSpPr>
          <p:spPr>
            <a:xfrm>
              <a:off x="38100" y="50800"/>
              <a:ext cx="736500" cy="406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64666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500" b="1" dirty="0">
                  <a:solidFill>
                    <a:schemeClr val="dk1"/>
                  </a:solidFill>
                  <a:latin typeface="Titillium Web" panose="00000500000000000000" pitchFamily="2" charset="0"/>
                  <a:ea typeface="Titillium Web"/>
                  <a:cs typeface="Titillium Web"/>
                  <a:sym typeface="Titillium Web"/>
                </a:rPr>
                <a:t>DEADLINE</a:t>
              </a:r>
              <a:endParaRPr sz="1500" b="1" dirty="0">
                <a:solidFill>
                  <a:schemeClr val="dk1"/>
                </a:solidFill>
                <a:latin typeface="Titillium Web" panose="00000500000000000000" pitchFamily="2" charset="0"/>
                <a:ea typeface="Titillium Web"/>
                <a:cs typeface="Titillium Web"/>
                <a:sym typeface="Titillium Web"/>
              </a:endParaRPr>
            </a:p>
          </p:txBody>
        </p:sp>
      </p:grpSp>
      <p:sp>
        <p:nvSpPr>
          <p:cNvPr id="812" name="Google Shape;812;g2157e93a457_0_83"/>
          <p:cNvSpPr txBox="1"/>
          <p:nvPr/>
        </p:nvSpPr>
        <p:spPr>
          <a:xfrm>
            <a:off x="4480692" y="2746225"/>
            <a:ext cx="34935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dirty="0">
                <a:solidFill>
                  <a:schemeClr val="dk1"/>
                </a:solidFill>
                <a:latin typeface="Titillium Web" panose="00000500000000000000" pitchFamily="2" charset="0"/>
                <a:ea typeface="Titillium Web"/>
                <a:cs typeface="Titillium Web"/>
                <a:sym typeface="Titillium Web"/>
              </a:rPr>
              <a:t>September 8th</a:t>
            </a:r>
            <a:endParaRPr sz="1500" dirty="0">
              <a:solidFill>
                <a:schemeClr val="dk1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813" name="Google Shape;813;g2157e93a457_0_83"/>
          <p:cNvSpPr txBox="1"/>
          <p:nvPr/>
        </p:nvSpPr>
        <p:spPr>
          <a:xfrm>
            <a:off x="4480692" y="3277225"/>
            <a:ext cx="34935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dirty="0">
                <a:solidFill>
                  <a:schemeClr val="dk1"/>
                </a:solidFill>
                <a:latin typeface="Titillium Web" panose="00000500000000000000" pitchFamily="2" charset="0"/>
                <a:ea typeface="Titillium Web"/>
                <a:cs typeface="Titillium Web"/>
                <a:sym typeface="Titillium Web"/>
              </a:rPr>
              <a:t>September 29th</a:t>
            </a:r>
            <a:endParaRPr sz="1500" dirty="0">
              <a:solidFill>
                <a:schemeClr val="dk1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814" name="Google Shape;814;g2157e93a457_0_83"/>
          <p:cNvSpPr txBox="1"/>
          <p:nvPr/>
        </p:nvSpPr>
        <p:spPr>
          <a:xfrm>
            <a:off x="4338194" y="3808225"/>
            <a:ext cx="37785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dirty="0">
                <a:solidFill>
                  <a:schemeClr val="dk1"/>
                </a:solidFill>
                <a:latin typeface="Titillium Web" panose="00000500000000000000" pitchFamily="2" charset="0"/>
                <a:ea typeface="Titillium Web"/>
                <a:cs typeface="Titillium Web"/>
                <a:sym typeface="Titillium Web"/>
              </a:rPr>
              <a:t>October 20th</a:t>
            </a:r>
            <a:endParaRPr sz="1500" dirty="0">
              <a:solidFill>
                <a:schemeClr val="dk1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6"/>
          <p:cNvSpPr/>
          <p:nvPr/>
        </p:nvSpPr>
        <p:spPr>
          <a:xfrm rot="2700000">
            <a:off x="6987357" y="1812782"/>
            <a:ext cx="1364916" cy="1349911"/>
          </a:xfrm>
          <a:custGeom>
            <a:avLst/>
            <a:gdLst/>
            <a:ahLst/>
            <a:cxnLst/>
            <a:rect l="l" t="t" r="r" b="b"/>
            <a:pathLst>
              <a:path w="4091579" h="4114800">
                <a:moveTo>
                  <a:pt x="0" y="0"/>
                </a:moveTo>
                <a:lnTo>
                  <a:pt x="4091579" y="0"/>
                </a:lnTo>
                <a:lnTo>
                  <a:pt x="4091579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sp>
        <p:nvSpPr>
          <p:cNvPr id="2" name="AutoShape 2"/>
          <p:cNvSpPr/>
          <p:nvPr/>
        </p:nvSpPr>
        <p:spPr>
          <a:xfrm rot="5400000">
            <a:off x="1800850" y="2371825"/>
            <a:ext cx="3444407" cy="0"/>
          </a:xfrm>
          <a:prstGeom prst="line">
            <a:avLst/>
          </a:prstGeom>
          <a:ln w="28575" cap="rnd">
            <a:solidFill>
              <a:srgbClr val="CAC0F6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sp>
        <p:nvSpPr>
          <p:cNvPr id="4" name="TextBox 4"/>
          <p:cNvSpPr txBox="1"/>
          <p:nvPr/>
        </p:nvSpPr>
        <p:spPr>
          <a:xfrm>
            <a:off x="760267" y="1033861"/>
            <a:ext cx="2558954" cy="15628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6238"/>
              </a:lnSpc>
              <a:spcBef>
                <a:spcPct val="0"/>
              </a:spcBef>
            </a:pPr>
            <a:r>
              <a:rPr lang="en-US" sz="4456" dirty="0">
                <a:solidFill>
                  <a:schemeClr val="tx1"/>
                </a:solidFill>
                <a:latin typeface="Titillium Web" panose="00000500000000000000" pitchFamily="2" charset="0"/>
              </a:rPr>
              <a:t>Today’s Agenda</a:t>
            </a:r>
          </a:p>
        </p:txBody>
      </p:sp>
      <p:sp>
        <p:nvSpPr>
          <p:cNvPr id="8" name="Freeform 8"/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15BA3C0-3121-4971-BD7E-FEBF7A144B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06875" y="2327003"/>
            <a:ext cx="1212970" cy="1243244"/>
          </a:xfrm>
          <a:prstGeom prst="rect">
            <a:avLst/>
          </a:prstGeom>
        </p:spPr>
      </p:pic>
      <p:sp>
        <p:nvSpPr>
          <p:cNvPr id="10" name="Freeform 15">
            <a:extLst>
              <a:ext uri="{FF2B5EF4-FFF2-40B4-BE49-F238E27FC236}">
                <a16:creationId xmlns:a16="http://schemas.microsoft.com/office/drawing/2014/main" id="{B17546E4-8161-40F0-A289-7B41138B8440}"/>
              </a:ext>
            </a:extLst>
          </p:cNvPr>
          <p:cNvSpPr/>
          <p:nvPr/>
        </p:nvSpPr>
        <p:spPr>
          <a:xfrm>
            <a:off x="7394627" y="1320089"/>
            <a:ext cx="1244421" cy="1419920"/>
          </a:xfrm>
          <a:custGeom>
            <a:avLst/>
            <a:gdLst/>
            <a:ahLst/>
            <a:cxnLst/>
            <a:rect l="l" t="t" r="r" b="b"/>
            <a:pathLst>
              <a:path w="1879152" h="1879152">
                <a:moveTo>
                  <a:pt x="0" y="0"/>
                </a:moveTo>
                <a:lnTo>
                  <a:pt x="1879153" y="0"/>
                </a:lnTo>
                <a:lnTo>
                  <a:pt x="1879153" y="1879152"/>
                </a:lnTo>
                <a:lnTo>
                  <a:pt x="0" y="1879152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>
              <a:latin typeface="Titillium Web" panose="00000500000000000000" pitchFamily="2" charset="0"/>
            </a:endParaRPr>
          </a:p>
        </p:txBody>
      </p:sp>
      <p:sp>
        <p:nvSpPr>
          <p:cNvPr id="17" name="Google Shape;423;p32">
            <a:extLst>
              <a:ext uri="{FF2B5EF4-FFF2-40B4-BE49-F238E27FC236}">
                <a16:creationId xmlns:a16="http://schemas.microsoft.com/office/drawing/2014/main" id="{D696EF59-FC36-4A76-987B-3E4ED049DD8F}"/>
              </a:ext>
            </a:extLst>
          </p:cNvPr>
          <p:cNvSpPr txBox="1">
            <a:spLocks/>
          </p:cNvSpPr>
          <p:nvPr/>
        </p:nvSpPr>
        <p:spPr>
          <a:xfrm>
            <a:off x="3765793" y="819863"/>
            <a:ext cx="4511307" cy="3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indent="0">
              <a:buFont typeface="Titillium Web"/>
              <a:buNone/>
            </a:pPr>
            <a:r>
              <a:rPr lang="en-GB" b="1" dirty="0">
                <a:latin typeface="Titillium Web" panose="00000500000000000000" pitchFamily="2" charset="0"/>
              </a:rPr>
              <a:t>Short Feedback on Exploration Proposals</a:t>
            </a:r>
          </a:p>
        </p:txBody>
      </p:sp>
      <p:sp>
        <p:nvSpPr>
          <p:cNvPr id="18" name="Google Shape;425;p32">
            <a:extLst>
              <a:ext uri="{FF2B5EF4-FFF2-40B4-BE49-F238E27FC236}">
                <a16:creationId xmlns:a16="http://schemas.microsoft.com/office/drawing/2014/main" id="{67DADB71-A8BE-4C83-AF8B-C72127CDF6FA}"/>
              </a:ext>
            </a:extLst>
          </p:cNvPr>
          <p:cNvSpPr/>
          <p:nvPr/>
        </p:nvSpPr>
        <p:spPr>
          <a:xfrm>
            <a:off x="3460675" y="1044645"/>
            <a:ext cx="141811" cy="141811"/>
          </a:xfrm>
          <a:custGeom>
            <a:avLst/>
            <a:gdLst/>
            <a:ahLst/>
            <a:cxnLst/>
            <a:rect l="l" t="t" r="r" b="b"/>
            <a:pathLst>
              <a:path w="4442" h="4442" extrusionOk="0">
                <a:moveTo>
                  <a:pt x="2227" y="1"/>
                </a:moveTo>
                <a:cubicBezTo>
                  <a:pt x="1000" y="1"/>
                  <a:pt x="0" y="1001"/>
                  <a:pt x="0" y="2227"/>
                </a:cubicBezTo>
                <a:cubicBezTo>
                  <a:pt x="0" y="3453"/>
                  <a:pt x="1000" y="4442"/>
                  <a:pt x="2227" y="4442"/>
                </a:cubicBezTo>
                <a:cubicBezTo>
                  <a:pt x="3453" y="4442"/>
                  <a:pt x="4441" y="3453"/>
                  <a:pt x="4441" y="2227"/>
                </a:cubicBezTo>
                <a:cubicBezTo>
                  <a:pt x="4441" y="1001"/>
                  <a:pt x="3453" y="1"/>
                  <a:pt x="2227" y="1"/>
                </a:cubicBezTo>
                <a:close/>
              </a:path>
            </a:pathLst>
          </a:custGeom>
          <a:solidFill>
            <a:srgbClr val="CAC0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19" name="Google Shape;426;p32">
            <a:extLst>
              <a:ext uri="{FF2B5EF4-FFF2-40B4-BE49-F238E27FC236}">
                <a16:creationId xmlns:a16="http://schemas.microsoft.com/office/drawing/2014/main" id="{820D258D-95F6-4672-B6B3-854634FC2C3F}"/>
              </a:ext>
            </a:extLst>
          </p:cNvPr>
          <p:cNvSpPr/>
          <p:nvPr/>
        </p:nvSpPr>
        <p:spPr>
          <a:xfrm>
            <a:off x="3459698" y="1853594"/>
            <a:ext cx="141811" cy="141811"/>
          </a:xfrm>
          <a:custGeom>
            <a:avLst/>
            <a:gdLst/>
            <a:ahLst/>
            <a:cxnLst/>
            <a:rect l="l" t="t" r="r" b="b"/>
            <a:pathLst>
              <a:path w="4442" h="4442" extrusionOk="0">
                <a:moveTo>
                  <a:pt x="2227" y="1"/>
                </a:moveTo>
                <a:cubicBezTo>
                  <a:pt x="1000" y="1"/>
                  <a:pt x="0" y="1001"/>
                  <a:pt x="0" y="2227"/>
                </a:cubicBezTo>
                <a:cubicBezTo>
                  <a:pt x="0" y="3453"/>
                  <a:pt x="1000" y="4442"/>
                  <a:pt x="2227" y="4442"/>
                </a:cubicBezTo>
                <a:cubicBezTo>
                  <a:pt x="3453" y="4442"/>
                  <a:pt x="4441" y="3453"/>
                  <a:pt x="4441" y="2227"/>
                </a:cubicBezTo>
                <a:cubicBezTo>
                  <a:pt x="4441" y="1001"/>
                  <a:pt x="3453" y="1"/>
                  <a:pt x="2227" y="1"/>
                </a:cubicBezTo>
                <a:close/>
              </a:path>
            </a:pathLst>
          </a:custGeom>
          <a:solidFill>
            <a:srgbClr val="CAC0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20" name="Google Shape;427;p32">
            <a:extLst>
              <a:ext uri="{FF2B5EF4-FFF2-40B4-BE49-F238E27FC236}">
                <a16:creationId xmlns:a16="http://schemas.microsoft.com/office/drawing/2014/main" id="{61114A5C-ADF8-4430-AD95-3DE6DE9164F1}"/>
              </a:ext>
            </a:extLst>
          </p:cNvPr>
          <p:cNvSpPr/>
          <p:nvPr/>
        </p:nvSpPr>
        <p:spPr>
          <a:xfrm>
            <a:off x="3459698" y="2698482"/>
            <a:ext cx="141811" cy="141811"/>
          </a:xfrm>
          <a:custGeom>
            <a:avLst/>
            <a:gdLst/>
            <a:ahLst/>
            <a:cxnLst/>
            <a:rect l="l" t="t" r="r" b="b"/>
            <a:pathLst>
              <a:path w="4442" h="4442" extrusionOk="0">
                <a:moveTo>
                  <a:pt x="2227" y="1"/>
                </a:moveTo>
                <a:cubicBezTo>
                  <a:pt x="1000" y="1"/>
                  <a:pt x="0" y="1001"/>
                  <a:pt x="0" y="2227"/>
                </a:cubicBezTo>
                <a:cubicBezTo>
                  <a:pt x="0" y="3453"/>
                  <a:pt x="1000" y="4442"/>
                  <a:pt x="2227" y="4442"/>
                </a:cubicBezTo>
                <a:cubicBezTo>
                  <a:pt x="3453" y="4442"/>
                  <a:pt x="4441" y="3453"/>
                  <a:pt x="4441" y="2227"/>
                </a:cubicBezTo>
                <a:cubicBezTo>
                  <a:pt x="4441" y="1001"/>
                  <a:pt x="3453" y="1"/>
                  <a:pt x="2227" y="1"/>
                </a:cubicBezTo>
                <a:close/>
              </a:path>
            </a:pathLst>
          </a:custGeom>
          <a:solidFill>
            <a:srgbClr val="CAC0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21" name="Google Shape;430;p32">
            <a:extLst>
              <a:ext uri="{FF2B5EF4-FFF2-40B4-BE49-F238E27FC236}">
                <a16:creationId xmlns:a16="http://schemas.microsoft.com/office/drawing/2014/main" id="{954E0064-C7E6-48EB-9C4A-E92B7C5886F6}"/>
              </a:ext>
            </a:extLst>
          </p:cNvPr>
          <p:cNvSpPr txBox="1">
            <a:spLocks/>
          </p:cNvSpPr>
          <p:nvPr/>
        </p:nvSpPr>
        <p:spPr>
          <a:xfrm>
            <a:off x="3739813" y="1677650"/>
            <a:ext cx="3126600" cy="3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indent="0">
              <a:buFont typeface="Titillium Web"/>
              <a:buNone/>
            </a:pPr>
            <a:r>
              <a:rPr lang="en-GB" b="1" dirty="0">
                <a:latin typeface="Titillium Web" panose="00000500000000000000" pitchFamily="2" charset="0"/>
              </a:rPr>
              <a:t>Exploration phase</a:t>
            </a:r>
          </a:p>
        </p:txBody>
      </p:sp>
      <p:sp>
        <p:nvSpPr>
          <p:cNvPr id="22" name="Google Shape;431;p32">
            <a:extLst>
              <a:ext uri="{FF2B5EF4-FFF2-40B4-BE49-F238E27FC236}">
                <a16:creationId xmlns:a16="http://schemas.microsoft.com/office/drawing/2014/main" id="{B87A4E31-25A8-496C-956F-32F9614D1C4E}"/>
              </a:ext>
            </a:extLst>
          </p:cNvPr>
          <p:cNvSpPr txBox="1">
            <a:spLocks/>
          </p:cNvSpPr>
          <p:nvPr/>
        </p:nvSpPr>
        <p:spPr>
          <a:xfrm>
            <a:off x="3733218" y="1804700"/>
            <a:ext cx="3402000" cy="5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indent="0">
              <a:buFont typeface="Titillium Web"/>
              <a:buNone/>
            </a:pPr>
            <a:r>
              <a:rPr lang="en-US" sz="1300">
                <a:latin typeface="Titillium Web" panose="00000500000000000000" pitchFamily="2" charset="0"/>
              </a:rPr>
              <a:t>What are we going to do</a:t>
            </a:r>
            <a:endParaRPr lang="en-US" sz="1300" dirty="0">
              <a:latin typeface="Titillium Web" panose="00000500000000000000" pitchFamily="2" charset="0"/>
            </a:endParaRPr>
          </a:p>
        </p:txBody>
      </p:sp>
      <p:sp>
        <p:nvSpPr>
          <p:cNvPr id="23" name="Google Shape;432;p32">
            <a:extLst>
              <a:ext uri="{FF2B5EF4-FFF2-40B4-BE49-F238E27FC236}">
                <a16:creationId xmlns:a16="http://schemas.microsoft.com/office/drawing/2014/main" id="{38D45ED7-9765-40FF-AF3B-E61ABB64B2D4}"/>
              </a:ext>
            </a:extLst>
          </p:cNvPr>
          <p:cNvSpPr txBox="1">
            <a:spLocks/>
          </p:cNvSpPr>
          <p:nvPr/>
        </p:nvSpPr>
        <p:spPr>
          <a:xfrm>
            <a:off x="3739813" y="2596966"/>
            <a:ext cx="3126600" cy="3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indent="0">
              <a:buFont typeface="Titillium Web"/>
              <a:buNone/>
            </a:pPr>
            <a:r>
              <a:rPr lang="en-US" b="1">
                <a:latin typeface="Titillium Web" panose="00000500000000000000" pitchFamily="2" charset="0"/>
              </a:rPr>
              <a:t>Next Steps and Q&amp;A</a:t>
            </a:r>
          </a:p>
        </p:txBody>
      </p:sp>
      <p:sp>
        <p:nvSpPr>
          <p:cNvPr id="24" name="Google Shape;433;p32">
            <a:extLst>
              <a:ext uri="{FF2B5EF4-FFF2-40B4-BE49-F238E27FC236}">
                <a16:creationId xmlns:a16="http://schemas.microsoft.com/office/drawing/2014/main" id="{43EFBFAB-1A98-4400-ABE7-8E18BD698FFD}"/>
              </a:ext>
            </a:extLst>
          </p:cNvPr>
          <p:cNvSpPr txBox="1">
            <a:spLocks/>
          </p:cNvSpPr>
          <p:nvPr/>
        </p:nvSpPr>
        <p:spPr>
          <a:xfrm>
            <a:off x="3736274" y="2800216"/>
            <a:ext cx="3958219" cy="5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indent="0">
              <a:buFont typeface="Titillium Web"/>
              <a:buNone/>
            </a:pPr>
            <a:r>
              <a:rPr lang="en-US" sz="1300" dirty="0">
                <a:latin typeface="Titillium Web" panose="00000500000000000000" pitchFamily="2" charset="0"/>
              </a:rPr>
              <a:t>Answering your doubts and presenting next steps</a:t>
            </a:r>
          </a:p>
        </p:txBody>
      </p:sp>
      <p:sp>
        <p:nvSpPr>
          <p:cNvPr id="3" name="Freeform 7">
            <a:extLst>
              <a:ext uri="{FF2B5EF4-FFF2-40B4-BE49-F238E27FC236}">
                <a16:creationId xmlns:a16="http://schemas.microsoft.com/office/drawing/2014/main" id="{A02AC28B-4AB5-78B5-D767-17A6752B94B3}"/>
              </a:ext>
            </a:extLst>
          </p:cNvPr>
          <p:cNvSpPr/>
          <p:nvPr/>
        </p:nvSpPr>
        <p:spPr>
          <a:xfrm>
            <a:off x="6110909" y="460258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6110909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defTabSz="457200">
              <a:buClrTx/>
            </a:pPr>
            <a:endParaRPr lang="pl-PL" sz="900" kern="12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defTabSz="457200">
              <a:buClrTx/>
            </a:pPr>
            <a:endParaRPr lang="pl-PL" sz="900" kern="12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" name="TextBox 4"/>
          <p:cNvSpPr txBox="1"/>
          <p:nvPr/>
        </p:nvSpPr>
        <p:spPr>
          <a:xfrm>
            <a:off x="514350" y="628650"/>
            <a:ext cx="5477030" cy="77905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457200">
              <a:lnSpc>
                <a:spcPts val="5750"/>
              </a:lnSpc>
              <a:buClrTx/>
            </a:pPr>
            <a:r>
              <a:rPr lang="en-US" sz="5750" kern="1200" dirty="0">
                <a:solidFill>
                  <a:srgbClr val="333089"/>
                </a:solidFill>
                <a:latin typeface="Titillium Web Bold"/>
                <a:ea typeface="+mn-ea"/>
                <a:cs typeface="+mn-cs"/>
              </a:rPr>
              <a:t>Next Steps</a:t>
            </a:r>
          </a:p>
        </p:txBody>
      </p:sp>
      <p:sp>
        <p:nvSpPr>
          <p:cNvPr id="5" name="AutoShape 5"/>
          <p:cNvSpPr/>
          <p:nvPr/>
        </p:nvSpPr>
        <p:spPr>
          <a:xfrm>
            <a:off x="514360" y="1396206"/>
            <a:ext cx="3444404" cy="4512"/>
          </a:xfrm>
          <a:prstGeom prst="line">
            <a:avLst/>
          </a:prstGeom>
          <a:ln w="28575" cap="rnd">
            <a:solidFill>
              <a:srgbClr val="333089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defTabSz="457200">
              <a:buClrTx/>
            </a:pPr>
            <a:endParaRPr lang="pl-PL" sz="900" kern="12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0" name="Google Shape;770;p53">
            <a:extLst>
              <a:ext uri="{FF2B5EF4-FFF2-40B4-BE49-F238E27FC236}">
                <a16:creationId xmlns:a16="http://schemas.microsoft.com/office/drawing/2014/main" id="{4355A4F3-F049-45AD-9747-785962F19CF5}"/>
              </a:ext>
            </a:extLst>
          </p:cNvPr>
          <p:cNvSpPr txBox="1">
            <a:spLocks/>
          </p:cNvSpPr>
          <p:nvPr/>
        </p:nvSpPr>
        <p:spPr>
          <a:xfrm>
            <a:off x="555600" y="1393274"/>
            <a:ext cx="4016400" cy="426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15000"/>
              </a:lnSpc>
              <a:spcBef>
                <a:spcPts val="1300"/>
              </a:spcBef>
            </a:pPr>
            <a:endParaRPr lang="en-GB" sz="1800" dirty="0">
              <a:solidFill>
                <a:srgbClr val="202124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30" name="Freeform 11">
            <a:extLst>
              <a:ext uri="{FF2B5EF4-FFF2-40B4-BE49-F238E27FC236}">
                <a16:creationId xmlns:a16="http://schemas.microsoft.com/office/drawing/2014/main" id="{1EF1AF79-F378-4206-A56C-58EF41AD178F}"/>
              </a:ext>
            </a:extLst>
          </p:cNvPr>
          <p:cNvSpPr/>
          <p:nvPr/>
        </p:nvSpPr>
        <p:spPr>
          <a:xfrm>
            <a:off x="4328651" y="482439"/>
            <a:ext cx="1004855" cy="986589"/>
          </a:xfrm>
          <a:custGeom>
            <a:avLst/>
            <a:gdLst/>
            <a:ahLst/>
            <a:cxnLst/>
            <a:rect l="l" t="t" r="r" b="b"/>
            <a:pathLst>
              <a:path w="3262221" h="2789199">
                <a:moveTo>
                  <a:pt x="0" y="0"/>
                </a:moveTo>
                <a:lnTo>
                  <a:pt x="3262221" y="0"/>
                </a:lnTo>
                <a:lnTo>
                  <a:pt x="3262221" y="2789199"/>
                </a:lnTo>
                <a:lnTo>
                  <a:pt x="0" y="2789199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  <p:sp>
        <p:nvSpPr>
          <p:cNvPr id="31" name="Google Shape;763;p52">
            <a:extLst>
              <a:ext uri="{FF2B5EF4-FFF2-40B4-BE49-F238E27FC236}">
                <a16:creationId xmlns:a16="http://schemas.microsoft.com/office/drawing/2014/main" id="{2E49D093-FEB7-46FD-8466-CEEED3D3FC92}"/>
              </a:ext>
            </a:extLst>
          </p:cNvPr>
          <p:cNvSpPr txBox="1">
            <a:spLocks/>
          </p:cNvSpPr>
          <p:nvPr/>
        </p:nvSpPr>
        <p:spPr>
          <a:xfrm>
            <a:off x="440462" y="1567607"/>
            <a:ext cx="7237595" cy="2142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Homework</a:t>
            </a:r>
          </a:p>
          <a:p>
            <a:pPr>
              <a:spcAft>
                <a:spcPts val="600"/>
              </a:spcAft>
            </a:pPr>
            <a:r>
              <a:rPr lang="en-GB" sz="1800" b="0" i="0" u="none" strike="noStrike" baseline="0" dirty="0">
                <a:solidFill>
                  <a:srgbClr val="1F2023"/>
                </a:solidFill>
                <a:latin typeface="Titillium Web" panose="00000500000000000000" pitchFamily="2" charset="0"/>
              </a:rPr>
              <a:t>❏  </a:t>
            </a:r>
            <a:r>
              <a:rPr lang="en-US" sz="1800" b="0" i="0" u="none" strike="noStrike" baseline="0" dirty="0">
                <a:solidFill>
                  <a:srgbClr val="1F2023"/>
                </a:solidFill>
                <a:latin typeface="Titillium Web" panose="00000500000000000000" pitchFamily="2" charset="0"/>
              </a:rPr>
              <a:t>Please schedule 1:1 meeting with your team before each session</a:t>
            </a:r>
          </a:p>
          <a:p>
            <a:pPr>
              <a:spcAft>
                <a:spcPts val="600"/>
              </a:spcAft>
            </a:pPr>
            <a:r>
              <a:rPr lang="en-GB" sz="1800" b="0" i="0" u="none" strike="noStrike" baseline="0" dirty="0">
                <a:solidFill>
                  <a:srgbClr val="1F2023"/>
                </a:solidFill>
                <a:latin typeface="Titillium Web" panose="00000500000000000000" pitchFamily="2" charset="0"/>
              </a:rPr>
              <a:t>❏  </a:t>
            </a:r>
            <a:r>
              <a:rPr lang="en-US" sz="1800" dirty="0">
                <a:solidFill>
                  <a:srgbClr val="1F2023"/>
                </a:solidFill>
                <a:latin typeface="Titillium Web" panose="00000500000000000000" pitchFamily="2" charset="0"/>
              </a:rPr>
              <a:t>Reach out to coaches and schedule appointments</a:t>
            </a:r>
            <a:endParaRPr lang="en-US" sz="1800" b="0" i="0" u="none" strike="noStrike" baseline="0" dirty="0">
              <a:solidFill>
                <a:srgbClr val="1F2023"/>
              </a:solidFill>
              <a:latin typeface="Titillium Web" panose="00000500000000000000" pitchFamily="2" charset="0"/>
            </a:endParaRPr>
          </a:p>
          <a:p>
            <a:pPr>
              <a:spcAft>
                <a:spcPts val="600"/>
              </a:spcAft>
            </a:pPr>
            <a:r>
              <a:rPr lang="en-GB" sz="1800" b="0" i="0" u="none" strike="noStrike" baseline="0" dirty="0">
                <a:solidFill>
                  <a:srgbClr val="1F2023"/>
                </a:solidFill>
                <a:latin typeface="Titillium Web" panose="00000500000000000000" pitchFamily="2" charset="0"/>
              </a:rPr>
              <a:t>❏  Team work on canvas with your coaches</a:t>
            </a:r>
          </a:p>
          <a:p>
            <a:pPr indent="-336550">
              <a:lnSpc>
                <a:spcPct val="115000"/>
              </a:lnSpc>
              <a:spcBef>
                <a:spcPts val="1300"/>
              </a:spcBef>
              <a:buClr>
                <a:srgbClr val="202124"/>
              </a:buClr>
              <a:buSzPts val="1700"/>
              <a:buFont typeface="Titillium Web"/>
              <a:buChar char="❏"/>
            </a:pPr>
            <a:endParaRPr lang="en-US" sz="1700" dirty="0">
              <a:solidFill>
                <a:srgbClr val="202124"/>
              </a:solidFill>
              <a:latin typeface="Titillium Web"/>
            </a:endParaRPr>
          </a:p>
        </p:txBody>
      </p:sp>
    </p:spTree>
    <p:extLst>
      <p:ext uri="{BB962C8B-B14F-4D97-AF65-F5344CB8AC3E}">
        <p14:creationId xmlns:p14="http://schemas.microsoft.com/office/powerpoint/2010/main" val="9901825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-67598" y="0"/>
            <a:ext cx="4639598" cy="5143500"/>
            <a:chOff x="0" y="0"/>
            <a:chExt cx="3957966" cy="2709333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3957966" cy="2709333"/>
            </a:xfrm>
            <a:custGeom>
              <a:avLst/>
              <a:gdLst/>
              <a:ahLst/>
              <a:cxnLst/>
              <a:rect l="l" t="t" r="r" b="b"/>
              <a:pathLst>
                <a:path w="3957966" h="2709333">
                  <a:moveTo>
                    <a:pt x="51517" y="0"/>
                  </a:moveTo>
                  <a:lnTo>
                    <a:pt x="3906449" y="0"/>
                  </a:lnTo>
                  <a:cubicBezTo>
                    <a:pt x="3920112" y="0"/>
                    <a:pt x="3933216" y="5428"/>
                    <a:pt x="3942877" y="15089"/>
                  </a:cubicBezTo>
                  <a:cubicBezTo>
                    <a:pt x="3952539" y="24750"/>
                    <a:pt x="3957966" y="37854"/>
                    <a:pt x="3957966" y="51517"/>
                  </a:cubicBezTo>
                  <a:lnTo>
                    <a:pt x="3957966" y="2657816"/>
                  </a:lnTo>
                  <a:cubicBezTo>
                    <a:pt x="3957966" y="2686268"/>
                    <a:pt x="3934901" y="2709333"/>
                    <a:pt x="3906449" y="2709333"/>
                  </a:cubicBezTo>
                  <a:lnTo>
                    <a:pt x="51517" y="2709333"/>
                  </a:lnTo>
                  <a:cubicBezTo>
                    <a:pt x="23065" y="2709333"/>
                    <a:pt x="0" y="2686268"/>
                    <a:pt x="0" y="2657816"/>
                  </a:cubicBezTo>
                  <a:lnTo>
                    <a:pt x="0" y="51517"/>
                  </a:lnTo>
                  <a:cubicBezTo>
                    <a:pt x="0" y="23065"/>
                    <a:pt x="23065" y="0"/>
                    <a:pt x="51517" y="0"/>
                  </a:cubicBezTo>
                  <a:close/>
                </a:path>
              </a:pathLst>
            </a:custGeom>
            <a:solidFill>
              <a:srgbClr val="CAC0F6"/>
            </a:solidFill>
          </p:spPr>
          <p:txBody>
            <a:bodyPr/>
            <a:lstStyle/>
            <a:p>
              <a:endParaRPr lang="pl-PL" sz="700">
                <a:latin typeface="Titillium Web" panose="00000500000000000000" pitchFamily="2" charset="0"/>
              </a:endParaRPr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-38100"/>
              <a:ext cx="3957966" cy="2747433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algn="ctr">
                <a:lnSpc>
                  <a:spcPts val="1330"/>
                </a:lnSpc>
              </a:pPr>
              <a:endParaRPr sz="700">
                <a:latin typeface="Titillium Web" panose="00000500000000000000" pitchFamily="2" charset="0"/>
              </a:endParaRPr>
            </a:p>
          </p:txBody>
        </p:sp>
      </p:grpSp>
      <p:sp>
        <p:nvSpPr>
          <p:cNvPr id="16" name="Freeform 7">
            <a:extLst>
              <a:ext uri="{FF2B5EF4-FFF2-40B4-BE49-F238E27FC236}">
                <a16:creationId xmlns:a16="http://schemas.microsoft.com/office/drawing/2014/main" id="{E624FB3A-714F-46AA-B1BF-A4A370CBC559}"/>
              </a:ext>
            </a:extLst>
          </p:cNvPr>
          <p:cNvSpPr/>
          <p:nvPr/>
        </p:nvSpPr>
        <p:spPr>
          <a:xfrm>
            <a:off x="6110909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pl-PL" sz="700"/>
          </a:p>
        </p:txBody>
      </p:sp>
      <p:sp>
        <p:nvSpPr>
          <p:cNvPr id="17" name="Freeform 8">
            <a:extLst>
              <a:ext uri="{FF2B5EF4-FFF2-40B4-BE49-F238E27FC236}">
                <a16:creationId xmlns:a16="http://schemas.microsoft.com/office/drawing/2014/main" id="{E836C171-1312-41B2-A9EF-15E40752FD2E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sp>
        <p:nvSpPr>
          <p:cNvPr id="20" name="Google Shape;827;p54">
            <a:extLst>
              <a:ext uri="{FF2B5EF4-FFF2-40B4-BE49-F238E27FC236}">
                <a16:creationId xmlns:a16="http://schemas.microsoft.com/office/drawing/2014/main" id="{C74A719F-2AD3-480C-9D9D-A118D61E1BAA}"/>
              </a:ext>
            </a:extLst>
          </p:cNvPr>
          <p:cNvSpPr txBox="1">
            <a:spLocks/>
          </p:cNvSpPr>
          <p:nvPr/>
        </p:nvSpPr>
        <p:spPr>
          <a:xfrm>
            <a:off x="323302" y="1347983"/>
            <a:ext cx="3790200" cy="71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338C"/>
              </a:buClr>
              <a:buSzPts val="2800"/>
              <a:buFont typeface="Titillium Web"/>
              <a:buNone/>
              <a:tabLst/>
              <a:defRPr/>
            </a:pPr>
            <a:r>
              <a:rPr kumimoji="0" lang="en-GB" sz="3100" b="1" i="0" u="none" strike="noStrike" kern="0" cap="none" spc="0" normalizeH="0" baseline="0" noProof="0">
                <a:ln>
                  <a:noFill/>
                </a:ln>
                <a:solidFill>
                  <a:srgbClr val="36338C"/>
                </a:solidFill>
                <a:effectLst/>
                <a:uLnTx/>
                <a:uFillTx/>
                <a:latin typeface="Titillium Web" panose="00000500000000000000" pitchFamily="2" charset="0"/>
                <a:sym typeface="Titillium Web"/>
              </a:rPr>
              <a:t>Contact Us!</a:t>
            </a:r>
          </a:p>
        </p:txBody>
      </p:sp>
      <p:sp>
        <p:nvSpPr>
          <p:cNvPr id="21" name="Google Shape;828;p54">
            <a:extLst>
              <a:ext uri="{FF2B5EF4-FFF2-40B4-BE49-F238E27FC236}">
                <a16:creationId xmlns:a16="http://schemas.microsoft.com/office/drawing/2014/main" id="{CA050A27-37BC-4F4F-89D1-86DFCA9BB2DB}"/>
              </a:ext>
            </a:extLst>
          </p:cNvPr>
          <p:cNvSpPr txBox="1">
            <a:spLocks/>
          </p:cNvSpPr>
          <p:nvPr/>
        </p:nvSpPr>
        <p:spPr>
          <a:xfrm>
            <a:off x="629752" y="2281133"/>
            <a:ext cx="3177300" cy="12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61620"/>
              </a:buClr>
              <a:buSzPts val="1800"/>
              <a:buFont typeface="Titillium Web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36338C"/>
                </a:solidFill>
                <a:effectLst/>
                <a:uLnTx/>
                <a:uFillTx/>
                <a:latin typeface="Titillium Web" panose="00000500000000000000" pitchFamily="2" charset="0"/>
                <a:sym typeface="Titillium Web"/>
              </a:rPr>
              <a:t>Do you have any questions?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61620"/>
              </a:buClr>
              <a:buSzPts val="1800"/>
              <a:buFont typeface="Titillium Web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36338C"/>
              </a:solidFill>
              <a:effectLst/>
              <a:uLnTx/>
              <a:uFillTx/>
              <a:latin typeface="Titillium Web" panose="00000500000000000000" pitchFamily="2" charset="0"/>
              <a:sym typeface="Titillium Web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61620"/>
              </a:buClr>
              <a:buSzPts val="1800"/>
              <a:buFont typeface="Titillium Web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36338C"/>
              </a:solidFill>
              <a:effectLst/>
              <a:uLnTx/>
              <a:uFillTx/>
              <a:latin typeface="Titillium Web" panose="00000500000000000000" pitchFamily="2" charset="0"/>
              <a:sym typeface="Titillium Web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61620"/>
              </a:buClr>
              <a:buSzPts val="1800"/>
              <a:buFont typeface="Titillium Web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36338C"/>
              </a:solidFill>
              <a:effectLst/>
              <a:uLnTx/>
              <a:uFillTx/>
              <a:latin typeface="Titillium Web" panose="00000500000000000000" pitchFamily="2" charset="0"/>
              <a:sym typeface="Titillium Web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61620"/>
              </a:buClr>
              <a:buSzPts val="1800"/>
              <a:buFont typeface="Titillium Web"/>
              <a:buNone/>
              <a:tabLst/>
              <a:defRPr/>
            </a:pPr>
            <a:r>
              <a:rPr kumimoji="0" lang="en-US" sz="1700" b="1" i="0" u="none" strike="noStrike" kern="0" cap="none" spc="0" normalizeH="0" baseline="0" noProof="0" dirty="0">
                <a:ln>
                  <a:noFill/>
                </a:ln>
                <a:solidFill>
                  <a:srgbClr val="36338C"/>
                </a:solidFill>
                <a:effectLst/>
                <a:uLnTx/>
                <a:uFillTx/>
                <a:latin typeface="Titillium Web" panose="00000500000000000000" pitchFamily="2" charset="0"/>
                <a:sym typeface="Titillium Web"/>
              </a:rPr>
              <a:t>teamup@eitfood.eu</a:t>
            </a:r>
          </a:p>
        </p:txBody>
      </p:sp>
      <p:sp>
        <p:nvSpPr>
          <p:cNvPr id="22" name="Freeform 15">
            <a:extLst>
              <a:ext uri="{FF2B5EF4-FFF2-40B4-BE49-F238E27FC236}">
                <a16:creationId xmlns:a16="http://schemas.microsoft.com/office/drawing/2014/main" id="{2848E517-CCE1-4392-AB25-272EC7491AA4}"/>
              </a:ext>
            </a:extLst>
          </p:cNvPr>
          <p:cNvSpPr/>
          <p:nvPr/>
        </p:nvSpPr>
        <p:spPr>
          <a:xfrm>
            <a:off x="5901993" y="1493914"/>
            <a:ext cx="1879152" cy="1879152"/>
          </a:xfrm>
          <a:custGeom>
            <a:avLst/>
            <a:gdLst/>
            <a:ahLst/>
            <a:cxnLst/>
            <a:rect l="l" t="t" r="r" b="b"/>
            <a:pathLst>
              <a:path w="1879152" h="1879152">
                <a:moveTo>
                  <a:pt x="0" y="0"/>
                </a:moveTo>
                <a:lnTo>
                  <a:pt x="1879153" y="0"/>
                </a:lnTo>
                <a:lnTo>
                  <a:pt x="1879153" y="1879152"/>
                </a:lnTo>
                <a:lnTo>
                  <a:pt x="0" y="187915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45467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911081"/>
              </p:ext>
            </p:extLst>
          </p:nvPr>
        </p:nvGraphicFramePr>
        <p:xfrm>
          <a:off x="2844" y="119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1" imgH="298" progId="TCLayout.ActiveDocument.1">
                  <p:embed/>
                </p:oleObj>
              </mc:Choice>
              <mc:Fallback>
                <p:oleObj name="think-cell Folie" r:id="rId4" imgW="301" imgH="29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44" y="119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 vert="horz" lIns="81619" tIns="40809" rIns="81619" bIns="40809" rtlCol="0" anchor="ctr" anchorCtr="0">
            <a:noAutofit/>
          </a:bodyPr>
          <a:lstStyle/>
          <a:p>
            <a:r>
              <a:rPr lang="en-GB" dirty="0">
                <a:latin typeface="Titillium Web" panose="00000500000000000000" pitchFamily="2" charset="0"/>
              </a:rPr>
              <a:t>Business modelling – customers and value proposition</a:t>
            </a:r>
          </a:p>
        </p:txBody>
      </p:sp>
      <p:sp>
        <p:nvSpPr>
          <p:cNvPr id="265" name="Rechteck 23">
            <a:extLst>
              <a:ext uri="{FF2B5EF4-FFF2-40B4-BE49-F238E27FC236}">
                <a16:creationId xmlns:a16="http://schemas.microsoft.com/office/drawing/2014/main" id="{0AA1A580-B441-CC3F-0BBD-EEFFB7CC7E8A}"/>
              </a:ext>
            </a:extLst>
          </p:cNvPr>
          <p:cNvSpPr/>
          <p:nvPr/>
        </p:nvSpPr>
        <p:spPr bwMode="gray">
          <a:xfrm>
            <a:off x="7362526" y="843958"/>
            <a:ext cx="1364345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8333" marR="0" lvl="2" indent="0" algn="r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CUSTOMER</a:t>
            </a:r>
          </a:p>
        </p:txBody>
      </p:sp>
      <p:sp>
        <p:nvSpPr>
          <p:cNvPr id="269" name="Rechteck 17">
            <a:extLst>
              <a:ext uri="{FF2B5EF4-FFF2-40B4-BE49-F238E27FC236}">
                <a16:creationId xmlns:a16="http://schemas.microsoft.com/office/drawing/2014/main" id="{4304A9DD-7714-92C0-6B7E-602B5A5729C6}"/>
              </a:ext>
            </a:extLst>
          </p:cNvPr>
          <p:cNvSpPr/>
          <p:nvPr/>
        </p:nvSpPr>
        <p:spPr bwMode="gray">
          <a:xfrm>
            <a:off x="390629" y="854045"/>
            <a:ext cx="1251492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8333" marR="0" lvl="2" indent="0" algn="l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PRODUCT</a:t>
            </a:r>
          </a:p>
        </p:txBody>
      </p:sp>
      <p:cxnSp>
        <p:nvCxnSpPr>
          <p:cNvPr id="427" name="Gerade Verbindung mit Pfeil 19">
            <a:extLst>
              <a:ext uri="{FF2B5EF4-FFF2-40B4-BE49-F238E27FC236}">
                <a16:creationId xmlns:a16="http://schemas.microsoft.com/office/drawing/2014/main" id="{D55CC65C-EE49-70F1-006E-DB904603C497}"/>
              </a:ext>
            </a:extLst>
          </p:cNvPr>
          <p:cNvCxnSpPr>
            <a:cxnSpLocks/>
          </p:cNvCxnSpPr>
          <p:nvPr/>
        </p:nvCxnSpPr>
        <p:spPr>
          <a:xfrm>
            <a:off x="2519811" y="2628944"/>
            <a:ext cx="2248108" cy="0"/>
          </a:xfrm>
          <a:prstGeom prst="straightConnector1">
            <a:avLst/>
          </a:prstGeom>
          <a:ln w="38100" cap="rnd">
            <a:solidFill>
              <a:schemeClr val="tx1"/>
            </a:solidFill>
            <a:round/>
            <a:headEnd type="none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Gleichschenkliges Dreieck 13">
            <a:extLst>
              <a:ext uri="{FF2B5EF4-FFF2-40B4-BE49-F238E27FC236}">
                <a16:creationId xmlns:a16="http://schemas.microsoft.com/office/drawing/2014/main" id="{A96CFBD5-B7FF-1C50-11B2-41E10576F0C5}"/>
              </a:ext>
            </a:extLst>
          </p:cNvPr>
          <p:cNvSpPr/>
          <p:nvPr/>
        </p:nvSpPr>
        <p:spPr>
          <a:xfrm rot="5400000">
            <a:off x="707574" y="1688215"/>
            <a:ext cx="3033903" cy="1889701"/>
          </a:xfrm>
          <a:prstGeom prst="triangle">
            <a:avLst/>
          </a:prstGeom>
          <a:solidFill>
            <a:srgbClr val="E0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429" name="Rechteck: abgerundete Ecken 10">
            <a:extLst>
              <a:ext uri="{FF2B5EF4-FFF2-40B4-BE49-F238E27FC236}">
                <a16:creationId xmlns:a16="http://schemas.microsoft.com/office/drawing/2014/main" id="{46F0D610-AB87-80A0-1431-384DDBD65F4D}"/>
              </a:ext>
            </a:extLst>
          </p:cNvPr>
          <p:cNvSpPr/>
          <p:nvPr/>
        </p:nvSpPr>
        <p:spPr>
          <a:xfrm>
            <a:off x="1282164" y="1084286"/>
            <a:ext cx="3279139" cy="3082892"/>
          </a:xfrm>
          <a:prstGeom prst="roundRect">
            <a:avLst>
              <a:gd name="adj" fmla="val 1529"/>
            </a:avLst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69938" rtlCol="0" anchor="t">
            <a:normAutofit/>
          </a:bodyPr>
          <a:lstStyle/>
          <a:p>
            <a:pPr marL="0" marR="0" lvl="0" indent="0" algn="l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tillium Web" panose="00000500000000000000" pitchFamily="2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430" name="Ellipse 17">
            <a:extLst>
              <a:ext uri="{FF2B5EF4-FFF2-40B4-BE49-F238E27FC236}">
                <a16:creationId xmlns:a16="http://schemas.microsoft.com/office/drawing/2014/main" id="{B572BAE5-3773-8BEB-E081-E740E30BE9FB}"/>
              </a:ext>
            </a:extLst>
          </p:cNvPr>
          <p:cNvSpPr/>
          <p:nvPr/>
        </p:nvSpPr>
        <p:spPr>
          <a:xfrm>
            <a:off x="5111935" y="1157762"/>
            <a:ext cx="2942364" cy="2942364"/>
          </a:xfrm>
          <a:prstGeom prst="ellipse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69938" rtlCol="0" anchor="t">
            <a:normAutofit/>
          </a:bodyPr>
          <a:lstStyle/>
          <a:p>
            <a:pPr marL="0" marR="0" lvl="0" indent="0" algn="l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tillium Web" panose="00000500000000000000" pitchFamily="2" charset="0"/>
              <a:cs typeface="Calibri" panose="020F0502020204030204" pitchFamily="34" charset="0"/>
              <a:sym typeface="Arial"/>
            </a:endParaRPr>
          </a:p>
        </p:txBody>
      </p:sp>
      <p:pic>
        <p:nvPicPr>
          <p:cNvPr id="431" name="Grafik 27">
            <a:extLst>
              <a:ext uri="{FF2B5EF4-FFF2-40B4-BE49-F238E27FC236}">
                <a16:creationId xmlns:a16="http://schemas.microsoft.com/office/drawing/2014/main" id="{BEBC379E-0745-4CA7-EE37-543414D64B2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4939771" y="1524942"/>
            <a:ext cx="2552332" cy="2208003"/>
          </a:xfrm>
          <a:prstGeom prst="rect">
            <a:avLst/>
          </a:prstGeom>
        </p:spPr>
      </p:pic>
      <p:sp>
        <p:nvSpPr>
          <p:cNvPr id="432" name="Textfeld 35">
            <a:extLst>
              <a:ext uri="{FF2B5EF4-FFF2-40B4-BE49-F238E27FC236}">
                <a16:creationId xmlns:a16="http://schemas.microsoft.com/office/drawing/2014/main" id="{7D211CE2-5A06-D084-5CCD-754C51C8645B}"/>
              </a:ext>
            </a:extLst>
          </p:cNvPr>
          <p:cNvSpPr txBox="1"/>
          <p:nvPr/>
        </p:nvSpPr>
        <p:spPr>
          <a:xfrm>
            <a:off x="2598051" y="1303633"/>
            <a:ext cx="1252734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Gain Creators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Describe how your products</a:t>
            </a: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</a:b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and services create </a:t>
            </a: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</a:b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customer gains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350" b="1" i="0" u="none" strike="noStrike" kern="1200" cap="none" spc="0" normalizeH="0" baseline="0" noProof="0" dirty="0" err="1">
              <a:ln>
                <a:noFill/>
              </a:ln>
              <a:solidFill>
                <a:srgbClr val="02213C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433" name="Textfeld 36">
            <a:extLst>
              <a:ext uri="{FF2B5EF4-FFF2-40B4-BE49-F238E27FC236}">
                <a16:creationId xmlns:a16="http://schemas.microsoft.com/office/drawing/2014/main" id="{0F32CB26-C970-A420-3142-E5A1EF89705A}"/>
              </a:ext>
            </a:extLst>
          </p:cNvPr>
          <p:cNvSpPr txBox="1"/>
          <p:nvPr/>
        </p:nvSpPr>
        <p:spPr>
          <a:xfrm>
            <a:off x="2519810" y="2973467"/>
            <a:ext cx="1832942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Pain relievers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Describe how your products and </a:t>
            </a: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</a:b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services eliminate customer pains, negative emotions or undesired costs and situations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350" b="1" i="0" u="none" strike="noStrike" kern="1200" cap="none" spc="0" normalizeH="0" baseline="0" noProof="0" dirty="0" err="1">
              <a:ln>
                <a:noFill/>
              </a:ln>
              <a:solidFill>
                <a:srgbClr val="02213C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434" name="Textfeld 37">
            <a:extLst>
              <a:ext uri="{FF2B5EF4-FFF2-40B4-BE49-F238E27FC236}">
                <a16:creationId xmlns:a16="http://schemas.microsoft.com/office/drawing/2014/main" id="{92D99B45-6868-E666-2EAD-EF6FDD22313D}"/>
              </a:ext>
            </a:extLst>
          </p:cNvPr>
          <p:cNvSpPr txBox="1"/>
          <p:nvPr/>
        </p:nvSpPr>
        <p:spPr>
          <a:xfrm>
            <a:off x="1507291" y="2149431"/>
            <a:ext cx="1252734" cy="12107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Products and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Services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List all products and services your value proposition is built around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350" b="1" i="0" u="none" strike="noStrike" kern="1200" cap="none" spc="0" normalizeH="0" baseline="0" noProof="0" dirty="0" err="1">
              <a:ln>
                <a:noFill/>
              </a:ln>
              <a:solidFill>
                <a:srgbClr val="02213C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435" name="Textfeld 40">
            <a:extLst>
              <a:ext uri="{FF2B5EF4-FFF2-40B4-BE49-F238E27FC236}">
                <a16:creationId xmlns:a16="http://schemas.microsoft.com/office/drawing/2014/main" id="{9668EEFC-C2DE-AF88-6B1C-E4E008C56E81}"/>
              </a:ext>
            </a:extLst>
          </p:cNvPr>
          <p:cNvSpPr txBox="1"/>
          <p:nvPr/>
        </p:nvSpPr>
        <p:spPr>
          <a:xfrm>
            <a:off x="5360295" y="1591895"/>
            <a:ext cx="1252734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Gains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Describe the benefits your customer expects, desires or would be surprised by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350" b="1" i="0" u="none" strike="noStrike" kern="1200" cap="none" spc="0" normalizeH="0" baseline="0" noProof="0" dirty="0" err="1">
              <a:ln>
                <a:noFill/>
              </a:ln>
              <a:solidFill>
                <a:srgbClr val="02213C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436" name="Textfeld 45">
            <a:extLst>
              <a:ext uri="{FF2B5EF4-FFF2-40B4-BE49-F238E27FC236}">
                <a16:creationId xmlns:a16="http://schemas.microsoft.com/office/drawing/2014/main" id="{21E12DEE-D1EF-DE9B-1A71-8FA681CF035A}"/>
              </a:ext>
            </a:extLst>
          </p:cNvPr>
          <p:cNvSpPr txBox="1"/>
          <p:nvPr/>
        </p:nvSpPr>
        <p:spPr>
          <a:xfrm>
            <a:off x="5280642" y="2786425"/>
            <a:ext cx="1381147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Pains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Describe negative emotions, undesired costs, situations and risks.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350" b="1" i="0" u="none" strike="noStrike" kern="1200" cap="none" spc="0" normalizeH="0" baseline="0" noProof="0" dirty="0" err="1">
              <a:ln>
                <a:noFill/>
              </a:ln>
              <a:solidFill>
                <a:srgbClr val="02213C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438" name="Gerade Verbindung mit Pfeil 3">
            <a:extLst>
              <a:ext uri="{FF2B5EF4-FFF2-40B4-BE49-F238E27FC236}">
                <a16:creationId xmlns:a16="http://schemas.microsoft.com/office/drawing/2014/main" id="{A3F82DAE-3E2C-4D15-B149-D3B362742A82}"/>
              </a:ext>
            </a:extLst>
          </p:cNvPr>
          <p:cNvCxnSpPr>
            <a:cxnSpLocks/>
            <a:stCxn id="431" idx="2"/>
          </p:cNvCxnSpPr>
          <p:nvPr/>
        </p:nvCxnSpPr>
        <p:spPr>
          <a:xfrm flipH="1" flipV="1">
            <a:off x="4814689" y="2628944"/>
            <a:ext cx="297246" cy="1"/>
          </a:xfrm>
          <a:prstGeom prst="straightConnector1">
            <a:avLst/>
          </a:prstGeom>
          <a:ln w="38100" cap="rnd">
            <a:solidFill>
              <a:schemeClr val="tx1"/>
            </a:solidFill>
            <a:round/>
            <a:headEnd type="none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9" name="Grafik 7">
            <a:extLst>
              <a:ext uri="{FF2B5EF4-FFF2-40B4-BE49-F238E27FC236}">
                <a16:creationId xmlns:a16="http://schemas.microsoft.com/office/drawing/2014/main" id="{21334D1F-9FEF-178B-0F6A-6CEFBAE9C12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99772" y="1280490"/>
            <a:ext cx="276180" cy="263905"/>
          </a:xfrm>
          <a:prstGeom prst="rect">
            <a:avLst/>
          </a:prstGeom>
        </p:spPr>
      </p:pic>
      <p:pic>
        <p:nvPicPr>
          <p:cNvPr id="440" name="Grafik 9">
            <a:extLst>
              <a:ext uri="{FF2B5EF4-FFF2-40B4-BE49-F238E27FC236}">
                <a16:creationId xmlns:a16="http://schemas.microsoft.com/office/drawing/2014/main" id="{27F47AD5-1BBF-9E07-0BD7-98F189B0F79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99772" y="3708792"/>
            <a:ext cx="276180" cy="282317"/>
          </a:xfrm>
          <a:prstGeom prst="rect">
            <a:avLst/>
          </a:prstGeom>
        </p:spPr>
      </p:pic>
      <p:pic>
        <p:nvPicPr>
          <p:cNvPr id="441" name="Grafik 12">
            <a:extLst>
              <a:ext uri="{FF2B5EF4-FFF2-40B4-BE49-F238E27FC236}">
                <a16:creationId xmlns:a16="http://schemas.microsoft.com/office/drawing/2014/main" id="{892D948C-20EE-318D-1C0B-4724091E41E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13412" y="2472427"/>
            <a:ext cx="227081" cy="282317"/>
          </a:xfrm>
          <a:prstGeom prst="rect">
            <a:avLst/>
          </a:prstGeom>
        </p:spPr>
      </p:pic>
      <p:pic>
        <p:nvPicPr>
          <p:cNvPr id="442" name="Grafik 18">
            <a:extLst>
              <a:ext uri="{FF2B5EF4-FFF2-40B4-BE49-F238E27FC236}">
                <a16:creationId xmlns:a16="http://schemas.microsoft.com/office/drawing/2014/main" id="{5C5B1235-1B72-8C3D-1E34-EBE411E5967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323366" y="2175416"/>
            <a:ext cx="257768" cy="276180"/>
          </a:xfrm>
          <a:prstGeom prst="rect">
            <a:avLst/>
          </a:prstGeom>
        </p:spPr>
      </p:pic>
      <p:pic>
        <p:nvPicPr>
          <p:cNvPr id="443" name="Grafik 21">
            <a:extLst>
              <a:ext uri="{FF2B5EF4-FFF2-40B4-BE49-F238E27FC236}">
                <a16:creationId xmlns:a16="http://schemas.microsoft.com/office/drawing/2014/main" id="{979833E8-0976-E678-DE77-AA57F04CAA4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431398" y="1412892"/>
            <a:ext cx="227081" cy="159571"/>
          </a:xfrm>
          <a:prstGeom prst="rect">
            <a:avLst/>
          </a:prstGeom>
        </p:spPr>
      </p:pic>
      <p:pic>
        <p:nvPicPr>
          <p:cNvPr id="444" name="Grafik 23">
            <a:extLst>
              <a:ext uri="{FF2B5EF4-FFF2-40B4-BE49-F238E27FC236}">
                <a16:creationId xmlns:a16="http://schemas.microsoft.com/office/drawing/2014/main" id="{7D68600A-2261-32E4-4F38-B367FB4F329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385948" y="3622881"/>
            <a:ext cx="227081" cy="128884"/>
          </a:xfrm>
          <a:prstGeom prst="rect">
            <a:avLst/>
          </a:prstGeom>
        </p:spPr>
      </p:pic>
      <p:pic>
        <p:nvPicPr>
          <p:cNvPr id="445" name="Grafik 25">
            <a:extLst>
              <a:ext uri="{FF2B5EF4-FFF2-40B4-BE49-F238E27FC236}">
                <a16:creationId xmlns:a16="http://schemas.microsoft.com/office/drawing/2014/main" id="{586C64C4-D870-58E9-8731-1FF1977F23D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374980" y="1660498"/>
            <a:ext cx="165708" cy="227081"/>
          </a:xfrm>
          <a:prstGeom prst="rect">
            <a:avLst/>
          </a:prstGeom>
        </p:spPr>
      </p:pic>
      <p:pic>
        <p:nvPicPr>
          <p:cNvPr id="446" name="Grafik 41">
            <a:extLst>
              <a:ext uri="{FF2B5EF4-FFF2-40B4-BE49-F238E27FC236}">
                <a16:creationId xmlns:a16="http://schemas.microsoft.com/office/drawing/2014/main" id="{36840CDD-79D6-1616-7673-41FA7DAF568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327901" y="2225894"/>
            <a:ext cx="552360" cy="632145"/>
          </a:xfrm>
          <a:prstGeom prst="rect">
            <a:avLst/>
          </a:prstGeom>
        </p:spPr>
      </p:pic>
      <p:sp>
        <p:nvSpPr>
          <p:cNvPr id="453" name="Textfeld 22">
            <a:extLst>
              <a:ext uri="{FF2B5EF4-FFF2-40B4-BE49-F238E27FC236}">
                <a16:creationId xmlns:a16="http://schemas.microsoft.com/office/drawing/2014/main" id="{830F8098-AA3B-8745-B789-DD340EAC8BBF}"/>
              </a:ext>
            </a:extLst>
          </p:cNvPr>
          <p:cNvSpPr txBox="1"/>
          <p:nvPr/>
        </p:nvSpPr>
        <p:spPr>
          <a:xfrm>
            <a:off x="6880261" y="2064016"/>
            <a:ext cx="1133864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Job to be done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Describe what a specific customer segment is trying </a:t>
            </a: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</a:b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2213C">
                    <a:lumMod val="75000"/>
                    <a:lumOff val="25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to get done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350" b="1" i="0" u="none" strike="noStrike" kern="1200" cap="none" spc="0" normalizeH="0" baseline="0" noProof="0" dirty="0" err="1">
              <a:ln>
                <a:noFill/>
              </a:ln>
              <a:solidFill>
                <a:srgbClr val="02213C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grpSp>
        <p:nvGrpSpPr>
          <p:cNvPr id="456" name="Gruppieren 62">
            <a:extLst>
              <a:ext uri="{FF2B5EF4-FFF2-40B4-BE49-F238E27FC236}">
                <a16:creationId xmlns:a16="http://schemas.microsoft.com/office/drawing/2014/main" id="{7BC6A717-4D30-E709-6D8D-48C0DAC22BD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510597" y="857332"/>
            <a:ext cx="236158" cy="255729"/>
            <a:chOff x="10171113" y="388938"/>
            <a:chExt cx="287337" cy="311150"/>
          </a:xfrm>
          <a:solidFill>
            <a:srgbClr val="15233A"/>
          </a:solidFill>
        </p:grpSpPr>
        <p:sp>
          <p:nvSpPr>
            <p:cNvPr id="457" name="Oval 180">
              <a:extLst>
                <a:ext uri="{FF2B5EF4-FFF2-40B4-BE49-F238E27FC236}">
                  <a16:creationId xmlns:a16="http://schemas.microsoft.com/office/drawing/2014/main" id="{162D5B29-E558-D6C1-42C4-337BB1C9BD7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206038" y="411163"/>
              <a:ext cx="101600" cy="1063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  <p:sp>
          <p:nvSpPr>
            <p:cNvPr id="458" name="Freeform 181">
              <a:extLst>
                <a:ext uri="{FF2B5EF4-FFF2-40B4-BE49-F238E27FC236}">
                  <a16:creationId xmlns:a16="http://schemas.microsoft.com/office/drawing/2014/main" id="{6ED15A28-CD1E-77D0-49E5-C3BD3ED504C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171113" y="522288"/>
              <a:ext cx="171450" cy="177800"/>
            </a:xfrm>
            <a:custGeom>
              <a:avLst/>
              <a:gdLst>
                <a:gd name="T0" fmla="*/ 62 w 68"/>
                <a:gd name="T1" fmla="*/ 20 h 70"/>
                <a:gd name="T2" fmla="*/ 46 w 68"/>
                <a:gd name="T3" fmla="*/ 0 h 70"/>
                <a:gd name="T4" fmla="*/ 22 w 68"/>
                <a:gd name="T5" fmla="*/ 0 h 70"/>
                <a:gd name="T6" fmla="*/ 6 w 68"/>
                <a:gd name="T7" fmla="*/ 20 h 70"/>
                <a:gd name="T8" fmla="*/ 0 w 68"/>
                <a:gd name="T9" fmla="*/ 55 h 70"/>
                <a:gd name="T10" fmla="*/ 20 w 68"/>
                <a:gd name="T11" fmla="*/ 70 h 70"/>
                <a:gd name="T12" fmla="*/ 48 w 68"/>
                <a:gd name="T13" fmla="*/ 70 h 70"/>
                <a:gd name="T14" fmla="*/ 68 w 68"/>
                <a:gd name="T15" fmla="*/ 55 h 70"/>
                <a:gd name="T16" fmla="*/ 62 w 68"/>
                <a:gd name="T17" fmla="*/ 20 h 70"/>
                <a:gd name="T18" fmla="*/ 34 w 68"/>
                <a:gd name="T19" fmla="*/ 60 h 70"/>
                <a:gd name="T20" fmla="*/ 27 w 68"/>
                <a:gd name="T21" fmla="*/ 48 h 70"/>
                <a:gd name="T22" fmla="*/ 31 w 68"/>
                <a:gd name="T23" fmla="*/ 14 h 70"/>
                <a:gd name="T24" fmla="*/ 28 w 68"/>
                <a:gd name="T25" fmla="*/ 5 h 70"/>
                <a:gd name="T26" fmla="*/ 41 w 68"/>
                <a:gd name="T27" fmla="*/ 5 h 70"/>
                <a:gd name="T28" fmla="*/ 39 w 68"/>
                <a:gd name="T29" fmla="*/ 14 h 70"/>
                <a:gd name="T30" fmla="*/ 41 w 68"/>
                <a:gd name="T31" fmla="*/ 48 h 70"/>
                <a:gd name="T32" fmla="*/ 34 w 68"/>
                <a:gd name="T33" fmla="*/ 6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8" h="70">
                  <a:moveTo>
                    <a:pt x="62" y="20"/>
                  </a:moveTo>
                  <a:cubicBezTo>
                    <a:pt x="62" y="9"/>
                    <a:pt x="55" y="0"/>
                    <a:pt x="4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3" y="0"/>
                    <a:pt x="6" y="9"/>
                    <a:pt x="6" y="20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8"/>
                    <a:pt x="9" y="70"/>
                    <a:pt x="20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59" y="70"/>
                    <a:pt x="68" y="68"/>
                    <a:pt x="68" y="55"/>
                  </a:cubicBezTo>
                  <a:lnTo>
                    <a:pt x="62" y="20"/>
                  </a:lnTo>
                  <a:close/>
                  <a:moveTo>
                    <a:pt x="34" y="60"/>
                  </a:moveTo>
                  <a:cubicBezTo>
                    <a:pt x="27" y="48"/>
                    <a:pt x="27" y="48"/>
                    <a:pt x="27" y="4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0" y="13"/>
                    <a:pt x="28" y="12"/>
                    <a:pt x="28" y="5"/>
                  </a:cubicBezTo>
                  <a:cubicBezTo>
                    <a:pt x="28" y="5"/>
                    <a:pt x="35" y="1"/>
                    <a:pt x="41" y="5"/>
                  </a:cubicBezTo>
                  <a:cubicBezTo>
                    <a:pt x="41" y="5"/>
                    <a:pt x="42" y="11"/>
                    <a:pt x="39" y="14"/>
                  </a:cubicBezTo>
                  <a:cubicBezTo>
                    <a:pt x="41" y="48"/>
                    <a:pt x="41" y="48"/>
                    <a:pt x="41" y="48"/>
                  </a:cubicBezTo>
                  <a:lnTo>
                    <a:pt x="3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  <p:sp>
          <p:nvSpPr>
            <p:cNvPr id="459" name="Oval 182">
              <a:extLst>
                <a:ext uri="{FF2B5EF4-FFF2-40B4-BE49-F238E27FC236}">
                  <a16:creationId xmlns:a16="http://schemas.microsoft.com/office/drawing/2014/main" id="{193656EF-C2A7-3577-EE3B-9A99A1F2145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334625" y="388938"/>
              <a:ext cx="93662" cy="936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  <p:sp>
          <p:nvSpPr>
            <p:cNvPr id="460" name="Freeform 183">
              <a:extLst>
                <a:ext uri="{FF2B5EF4-FFF2-40B4-BE49-F238E27FC236}">
                  <a16:creationId xmlns:a16="http://schemas.microsoft.com/office/drawing/2014/main" id="{D107117E-0A67-5318-C528-8897526F6B7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317163" y="487363"/>
              <a:ext cx="141287" cy="158750"/>
            </a:xfrm>
            <a:custGeom>
              <a:avLst/>
              <a:gdLst>
                <a:gd name="T0" fmla="*/ 51 w 56"/>
                <a:gd name="T1" fmla="*/ 18 h 63"/>
                <a:gd name="T2" fmla="*/ 36 w 56"/>
                <a:gd name="T3" fmla="*/ 0 h 63"/>
                <a:gd name="T4" fmla="*/ 15 w 56"/>
                <a:gd name="T5" fmla="*/ 0 h 63"/>
                <a:gd name="T6" fmla="*/ 0 w 56"/>
                <a:gd name="T7" fmla="*/ 14 h 63"/>
                <a:gd name="T8" fmla="*/ 8 w 56"/>
                <a:gd name="T9" fmla="*/ 31 h 63"/>
                <a:gd name="T10" fmla="*/ 13 w 56"/>
                <a:gd name="T11" fmla="*/ 63 h 63"/>
                <a:gd name="T12" fmla="*/ 38 w 56"/>
                <a:gd name="T13" fmla="*/ 63 h 63"/>
                <a:gd name="T14" fmla="*/ 56 w 56"/>
                <a:gd name="T15" fmla="*/ 50 h 63"/>
                <a:gd name="T16" fmla="*/ 51 w 56"/>
                <a:gd name="T17" fmla="*/ 18 h 63"/>
                <a:gd name="T18" fmla="*/ 32 w 56"/>
                <a:gd name="T19" fmla="*/ 43 h 63"/>
                <a:gd name="T20" fmla="*/ 25 w 56"/>
                <a:gd name="T21" fmla="*/ 54 h 63"/>
                <a:gd name="T22" fmla="*/ 19 w 56"/>
                <a:gd name="T23" fmla="*/ 43 h 63"/>
                <a:gd name="T24" fmla="*/ 22 w 56"/>
                <a:gd name="T25" fmla="*/ 12 h 63"/>
                <a:gd name="T26" fmla="*/ 20 w 56"/>
                <a:gd name="T27" fmla="*/ 5 h 63"/>
                <a:gd name="T28" fmla="*/ 32 w 56"/>
                <a:gd name="T29" fmla="*/ 5 h 63"/>
                <a:gd name="T30" fmla="*/ 29 w 56"/>
                <a:gd name="T31" fmla="*/ 12 h 63"/>
                <a:gd name="T32" fmla="*/ 32 w 56"/>
                <a:gd name="T33" fmla="*/ 4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63">
                  <a:moveTo>
                    <a:pt x="51" y="18"/>
                  </a:moveTo>
                  <a:cubicBezTo>
                    <a:pt x="51" y="8"/>
                    <a:pt x="44" y="0"/>
                    <a:pt x="3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8" y="0"/>
                    <a:pt x="2" y="6"/>
                    <a:pt x="0" y="14"/>
                  </a:cubicBezTo>
                  <a:cubicBezTo>
                    <a:pt x="5" y="17"/>
                    <a:pt x="8" y="24"/>
                    <a:pt x="8" y="31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48" y="63"/>
                    <a:pt x="56" y="62"/>
                    <a:pt x="56" y="50"/>
                  </a:cubicBezTo>
                  <a:lnTo>
                    <a:pt x="51" y="18"/>
                  </a:lnTo>
                  <a:close/>
                  <a:moveTo>
                    <a:pt x="32" y="43"/>
                  </a:moveTo>
                  <a:cubicBezTo>
                    <a:pt x="25" y="54"/>
                    <a:pt x="25" y="54"/>
                    <a:pt x="25" y="54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0" y="11"/>
                    <a:pt x="20" y="5"/>
                  </a:cubicBezTo>
                  <a:cubicBezTo>
                    <a:pt x="20" y="5"/>
                    <a:pt x="26" y="1"/>
                    <a:pt x="32" y="5"/>
                  </a:cubicBezTo>
                  <a:cubicBezTo>
                    <a:pt x="32" y="5"/>
                    <a:pt x="32" y="10"/>
                    <a:pt x="29" y="12"/>
                  </a:cubicBezTo>
                  <a:lnTo>
                    <a:pt x="32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56532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844" y="119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1" imgH="298" progId="TCLayout.ActiveDocument.1">
                  <p:embed/>
                </p:oleObj>
              </mc:Choice>
              <mc:Fallback>
                <p:oleObj name="think-cell Folie" r:id="rId4" imgW="301" imgH="29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44" y="119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 vert="horz" lIns="81619" tIns="40809" rIns="81619" bIns="40809" rtlCol="0" anchor="ctr" anchorCtr="0">
            <a:noAutofit/>
          </a:bodyPr>
          <a:lstStyle/>
          <a:p>
            <a:r>
              <a:rPr lang="en-GB" dirty="0">
                <a:latin typeface="Titillium Web" panose="00000500000000000000" pitchFamily="2" charset="0"/>
              </a:rPr>
              <a:t>Business modelling  – production and delivery</a:t>
            </a:r>
          </a:p>
        </p:txBody>
      </p:sp>
      <p:grpSp>
        <p:nvGrpSpPr>
          <p:cNvPr id="7" name="Gruppieren 3">
            <a:extLst>
              <a:ext uri="{FF2B5EF4-FFF2-40B4-BE49-F238E27FC236}">
                <a16:creationId xmlns:a16="http://schemas.microsoft.com/office/drawing/2014/main" id="{2998ECC9-6620-0DF6-9458-F552575E687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52520" y="951945"/>
            <a:ext cx="8457909" cy="3642387"/>
            <a:chOff x="540001" y="1520825"/>
            <a:chExt cx="11109600" cy="4291189"/>
          </a:xfrm>
        </p:grpSpPr>
        <p:grpSp>
          <p:nvGrpSpPr>
            <p:cNvPr id="8" name="Gruppieren 42">
              <a:extLst>
                <a:ext uri="{FF2B5EF4-FFF2-40B4-BE49-F238E27FC236}">
                  <a16:creationId xmlns:a16="http://schemas.microsoft.com/office/drawing/2014/main" id="{BB61760B-2FE6-E903-AC4F-3F35416B8C7B}"/>
                </a:ext>
              </a:extLst>
            </p:cNvPr>
            <p:cNvGrpSpPr/>
            <p:nvPr/>
          </p:nvGrpSpPr>
          <p:grpSpPr bwMode="gray">
            <a:xfrm>
              <a:off x="540001" y="1520825"/>
              <a:ext cx="11109600" cy="4291189"/>
              <a:chOff x="540001" y="1520825"/>
              <a:chExt cx="11109600" cy="4291189"/>
            </a:xfrm>
          </p:grpSpPr>
          <p:sp>
            <p:nvSpPr>
              <p:cNvPr id="245" name="Rechteck 5">
                <a:extLst>
                  <a:ext uri="{FF2B5EF4-FFF2-40B4-BE49-F238E27FC236}">
                    <a16:creationId xmlns:a16="http://schemas.microsoft.com/office/drawing/2014/main" id="{29B99679-6A38-D2C8-6F13-A59B8E004371}"/>
                  </a:ext>
                </a:extLst>
              </p:cNvPr>
              <p:cNvSpPr/>
              <p:nvPr/>
            </p:nvSpPr>
            <p:spPr bwMode="gray">
              <a:xfrm>
                <a:off x="540001" y="1520827"/>
                <a:ext cx="2221920" cy="311584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6" name="Rechteck 6">
                <a:extLst>
                  <a:ext uri="{FF2B5EF4-FFF2-40B4-BE49-F238E27FC236}">
                    <a16:creationId xmlns:a16="http://schemas.microsoft.com/office/drawing/2014/main" id="{4543FDA3-43A9-4963-1214-E1AF0BB60BAC}"/>
                  </a:ext>
                </a:extLst>
              </p:cNvPr>
              <p:cNvSpPr/>
              <p:nvPr/>
            </p:nvSpPr>
            <p:spPr bwMode="gray">
              <a:xfrm>
                <a:off x="2761921" y="1520825"/>
                <a:ext cx="2221920" cy="1561497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7" name="Rechteck 7">
                <a:extLst>
                  <a:ext uri="{FF2B5EF4-FFF2-40B4-BE49-F238E27FC236}">
                    <a16:creationId xmlns:a16="http://schemas.microsoft.com/office/drawing/2014/main" id="{A4D87EF9-57A9-A2CF-205A-687EAEB1FA6A}"/>
                  </a:ext>
                </a:extLst>
              </p:cNvPr>
              <p:cNvSpPr/>
              <p:nvPr/>
            </p:nvSpPr>
            <p:spPr bwMode="gray">
              <a:xfrm>
                <a:off x="4983841" y="1520827"/>
                <a:ext cx="2221920" cy="3122991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8" name="Rechteck 8">
                <a:extLst>
                  <a:ext uri="{FF2B5EF4-FFF2-40B4-BE49-F238E27FC236}">
                    <a16:creationId xmlns:a16="http://schemas.microsoft.com/office/drawing/2014/main" id="{334A4B3B-E0C1-04DD-A956-1444910D32F5}"/>
                  </a:ext>
                </a:extLst>
              </p:cNvPr>
              <p:cNvSpPr/>
              <p:nvPr/>
            </p:nvSpPr>
            <p:spPr bwMode="gray">
              <a:xfrm>
                <a:off x="7205761" y="1520826"/>
                <a:ext cx="2221920" cy="156149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9" name="Rechteck 9">
                <a:extLst>
                  <a:ext uri="{FF2B5EF4-FFF2-40B4-BE49-F238E27FC236}">
                    <a16:creationId xmlns:a16="http://schemas.microsoft.com/office/drawing/2014/main" id="{3D3F8EA2-E5FE-4937-9CCB-55F416702B35}"/>
                  </a:ext>
                </a:extLst>
              </p:cNvPr>
              <p:cNvSpPr/>
              <p:nvPr/>
            </p:nvSpPr>
            <p:spPr bwMode="gray">
              <a:xfrm>
                <a:off x="2761918" y="3075176"/>
                <a:ext cx="2221920" cy="15686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0" name="Rechteck 10">
                <a:extLst>
                  <a:ext uri="{FF2B5EF4-FFF2-40B4-BE49-F238E27FC236}">
                    <a16:creationId xmlns:a16="http://schemas.microsoft.com/office/drawing/2014/main" id="{D5A5CD0C-5BDC-8846-EFD0-303083E4BEBD}"/>
                  </a:ext>
                </a:extLst>
              </p:cNvPr>
              <p:cNvSpPr/>
              <p:nvPr/>
            </p:nvSpPr>
            <p:spPr bwMode="gray">
              <a:xfrm>
                <a:off x="7205758" y="3075177"/>
                <a:ext cx="2221920" cy="1568641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b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7D7D7D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rPr>
                </a:b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1" name="Rechteck 11">
                <a:extLst>
                  <a:ext uri="{FF2B5EF4-FFF2-40B4-BE49-F238E27FC236}">
                    <a16:creationId xmlns:a16="http://schemas.microsoft.com/office/drawing/2014/main" id="{B89F1EBA-0A30-A68B-30F0-B588955E310F}"/>
                  </a:ext>
                </a:extLst>
              </p:cNvPr>
              <p:cNvSpPr/>
              <p:nvPr/>
            </p:nvSpPr>
            <p:spPr bwMode="gray">
              <a:xfrm>
                <a:off x="540001" y="4636672"/>
                <a:ext cx="5554796" cy="11753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2" name="Rechteck 12">
                <a:extLst>
                  <a:ext uri="{FF2B5EF4-FFF2-40B4-BE49-F238E27FC236}">
                    <a16:creationId xmlns:a16="http://schemas.microsoft.com/office/drawing/2014/main" id="{75FF3B54-D1D2-F839-F9BD-73BADFC07F04}"/>
                  </a:ext>
                </a:extLst>
              </p:cNvPr>
              <p:cNvSpPr/>
              <p:nvPr/>
            </p:nvSpPr>
            <p:spPr bwMode="gray">
              <a:xfrm>
                <a:off x="6094797" y="4636672"/>
                <a:ext cx="5554801" cy="11753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3" name="Rechteck 13">
                <a:extLst>
                  <a:ext uri="{FF2B5EF4-FFF2-40B4-BE49-F238E27FC236}">
                    <a16:creationId xmlns:a16="http://schemas.microsoft.com/office/drawing/2014/main" id="{2194A16D-8AE3-E215-1ADA-0B10D563845B}"/>
                  </a:ext>
                </a:extLst>
              </p:cNvPr>
              <p:cNvSpPr/>
              <p:nvPr/>
            </p:nvSpPr>
            <p:spPr bwMode="gray">
              <a:xfrm>
                <a:off x="9427681" y="1520825"/>
                <a:ext cx="2221920" cy="311584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sp>
          <p:nvSpPr>
            <p:cNvPr id="9" name="Rechteck 14">
              <a:extLst>
                <a:ext uri="{FF2B5EF4-FFF2-40B4-BE49-F238E27FC236}">
                  <a16:creationId xmlns:a16="http://schemas.microsoft.com/office/drawing/2014/main" id="{BD079CB0-E2A2-DA0B-5EB1-B95D100BAA82}"/>
                </a:ext>
              </a:extLst>
            </p:cNvPr>
            <p:cNvSpPr/>
            <p:nvPr/>
          </p:nvSpPr>
          <p:spPr bwMode="gray">
            <a:xfrm>
              <a:off x="2761918" y="3145019"/>
              <a:ext cx="14490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sources</a:t>
              </a:r>
            </a:p>
          </p:txBody>
        </p:sp>
        <p:sp>
          <p:nvSpPr>
            <p:cNvPr id="10" name="Rechteck 15">
              <a:extLst>
                <a:ext uri="{FF2B5EF4-FFF2-40B4-BE49-F238E27FC236}">
                  <a16:creationId xmlns:a16="http://schemas.microsoft.com/office/drawing/2014/main" id="{7BA8856D-5420-C368-7DD9-C47ADEAA5B1D}"/>
                </a:ext>
              </a:extLst>
            </p:cNvPr>
            <p:cNvSpPr/>
            <p:nvPr/>
          </p:nvSpPr>
          <p:spPr bwMode="gray">
            <a:xfrm>
              <a:off x="7205761" y="3145019"/>
              <a:ext cx="22219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hannels</a:t>
              </a:r>
            </a:p>
          </p:txBody>
        </p:sp>
        <p:sp>
          <p:nvSpPr>
            <p:cNvPr id="11" name="Rechteck 16">
              <a:extLst>
                <a:ext uri="{FF2B5EF4-FFF2-40B4-BE49-F238E27FC236}">
                  <a16:creationId xmlns:a16="http://schemas.microsoft.com/office/drawing/2014/main" id="{86F38D2B-FEF3-2625-8B0C-03A629D8C28F}"/>
                </a:ext>
              </a:extLst>
            </p:cNvPr>
            <p:cNvSpPr/>
            <p:nvPr/>
          </p:nvSpPr>
          <p:spPr bwMode="gray">
            <a:xfrm>
              <a:off x="540001" y="4699369"/>
              <a:ext cx="3940021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ost Structure</a:t>
              </a:r>
            </a:p>
          </p:txBody>
        </p:sp>
        <p:sp>
          <p:nvSpPr>
            <p:cNvPr id="12" name="Rechteck 17">
              <a:extLst>
                <a:ext uri="{FF2B5EF4-FFF2-40B4-BE49-F238E27FC236}">
                  <a16:creationId xmlns:a16="http://schemas.microsoft.com/office/drawing/2014/main" id="{8ED892FD-4591-51FB-E3F1-417C2404E242}"/>
                </a:ext>
              </a:extLst>
            </p:cNvPr>
            <p:cNvSpPr/>
            <p:nvPr/>
          </p:nvSpPr>
          <p:spPr bwMode="gray">
            <a:xfrm>
              <a:off x="540002" y="1681114"/>
              <a:ext cx="2221916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Partners</a:t>
              </a:r>
            </a:p>
          </p:txBody>
        </p:sp>
        <p:sp>
          <p:nvSpPr>
            <p:cNvPr id="13" name="Rechteck 18">
              <a:extLst>
                <a:ext uri="{FF2B5EF4-FFF2-40B4-BE49-F238E27FC236}">
                  <a16:creationId xmlns:a16="http://schemas.microsoft.com/office/drawing/2014/main" id="{AF3E3F5C-930B-B240-F48A-D0CA0A93C48A}"/>
                </a:ext>
              </a:extLst>
            </p:cNvPr>
            <p:cNvSpPr/>
            <p:nvPr/>
          </p:nvSpPr>
          <p:spPr bwMode="gray">
            <a:xfrm>
              <a:off x="2761922" y="1583524"/>
              <a:ext cx="171810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Activities</a:t>
              </a:r>
            </a:p>
          </p:txBody>
        </p:sp>
        <p:sp>
          <p:nvSpPr>
            <p:cNvPr id="14" name="Rechteck 36">
              <a:extLst>
                <a:ext uri="{FF2B5EF4-FFF2-40B4-BE49-F238E27FC236}">
                  <a16:creationId xmlns:a16="http://schemas.microsoft.com/office/drawing/2014/main" id="{3CDFEA71-8802-F28D-E415-258278335315}"/>
                </a:ext>
              </a:extLst>
            </p:cNvPr>
            <p:cNvSpPr/>
            <p:nvPr/>
          </p:nvSpPr>
          <p:spPr bwMode="gray">
            <a:xfrm>
              <a:off x="4983841" y="1583524"/>
              <a:ext cx="22219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Value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Proposition</a:t>
              </a:r>
            </a:p>
          </p:txBody>
        </p:sp>
        <p:sp>
          <p:nvSpPr>
            <p:cNvPr id="15" name="Rechteck 37">
              <a:extLst>
                <a:ext uri="{FF2B5EF4-FFF2-40B4-BE49-F238E27FC236}">
                  <a16:creationId xmlns:a16="http://schemas.microsoft.com/office/drawing/2014/main" id="{CB0FA039-C2BC-0F6A-B730-E151A08EB6C0}"/>
                </a:ext>
              </a:extLst>
            </p:cNvPr>
            <p:cNvSpPr/>
            <p:nvPr/>
          </p:nvSpPr>
          <p:spPr bwMode="gray">
            <a:xfrm>
              <a:off x="7205756" y="1593050"/>
              <a:ext cx="1870749" cy="425427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ustomer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lationships</a:t>
              </a:r>
            </a:p>
          </p:txBody>
        </p:sp>
        <p:sp>
          <p:nvSpPr>
            <p:cNvPr id="17" name="Rechteck 38">
              <a:extLst>
                <a:ext uri="{FF2B5EF4-FFF2-40B4-BE49-F238E27FC236}">
                  <a16:creationId xmlns:a16="http://schemas.microsoft.com/office/drawing/2014/main" id="{4C0631B0-48F3-EA53-7C65-99A10796C55A}"/>
                </a:ext>
              </a:extLst>
            </p:cNvPr>
            <p:cNvSpPr/>
            <p:nvPr/>
          </p:nvSpPr>
          <p:spPr bwMode="gray">
            <a:xfrm>
              <a:off x="9427677" y="1583525"/>
              <a:ext cx="1726278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ustomer Segments</a:t>
              </a:r>
            </a:p>
          </p:txBody>
        </p:sp>
        <p:sp>
          <p:nvSpPr>
            <p:cNvPr id="18" name="Rechteck 40">
              <a:extLst>
                <a:ext uri="{FF2B5EF4-FFF2-40B4-BE49-F238E27FC236}">
                  <a16:creationId xmlns:a16="http://schemas.microsoft.com/office/drawing/2014/main" id="{2979763C-6329-FFCA-A848-DCF7EDA66F10}"/>
                </a:ext>
              </a:extLst>
            </p:cNvPr>
            <p:cNvSpPr/>
            <p:nvPr/>
          </p:nvSpPr>
          <p:spPr bwMode="gray">
            <a:xfrm>
              <a:off x="6094761" y="4707509"/>
              <a:ext cx="3726112" cy="242770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venue Streams</a:t>
              </a:r>
            </a:p>
          </p:txBody>
        </p:sp>
        <p:grpSp>
          <p:nvGrpSpPr>
            <p:cNvPr id="19" name="Gruppieren 54">
              <a:extLst>
                <a:ext uri="{FF2B5EF4-FFF2-40B4-BE49-F238E27FC236}">
                  <a16:creationId xmlns:a16="http://schemas.microsoft.com/office/drawing/2014/main" id="{EA356240-292C-A36F-6DE3-38C405B92F5D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192510" y="1676645"/>
              <a:ext cx="364143" cy="363374"/>
              <a:chOff x="14842424" y="9461856"/>
              <a:chExt cx="783304" cy="781651"/>
            </a:xfrm>
          </p:grpSpPr>
          <p:sp>
            <p:nvSpPr>
              <p:cNvPr id="235" name="Freihandform: Form 55">
                <a:extLst>
                  <a:ext uri="{FF2B5EF4-FFF2-40B4-BE49-F238E27FC236}">
                    <a16:creationId xmlns:a16="http://schemas.microsoft.com/office/drawing/2014/main" id="{2E432B0A-F204-4999-11B6-D2AFEA6529A9}"/>
                  </a:ext>
                </a:extLst>
              </p:cNvPr>
              <p:cNvSpPr/>
              <p:nvPr/>
            </p:nvSpPr>
            <p:spPr bwMode="gray">
              <a:xfrm>
                <a:off x="15308630" y="9879019"/>
                <a:ext cx="260348" cy="363277"/>
              </a:xfrm>
              <a:custGeom>
                <a:avLst/>
                <a:gdLst>
                  <a:gd name="connsiteX0" fmla="*/ 338420 w 350230"/>
                  <a:gd name="connsiteY0" fmla="*/ 476883 h 488693"/>
                  <a:gd name="connsiteX1" fmla="*/ 314800 w 350230"/>
                  <a:gd name="connsiteY1" fmla="*/ 278963 h 488693"/>
                  <a:gd name="connsiteX2" fmla="*/ 255342 w 350230"/>
                  <a:gd name="connsiteY2" fmla="*/ 179595 h 488693"/>
                  <a:gd name="connsiteX3" fmla="*/ 197514 w 350230"/>
                  <a:gd name="connsiteY3" fmla="*/ 149459 h 488693"/>
                  <a:gd name="connsiteX4" fmla="*/ 47648 w 350230"/>
                  <a:gd name="connsiteY4" fmla="*/ 105476 h 488693"/>
                  <a:gd name="connsiteX5" fmla="*/ 38688 w 350230"/>
                  <a:gd name="connsiteY5" fmla="*/ 101404 h 488693"/>
                  <a:gd name="connsiteX6" fmla="*/ 24842 w 350230"/>
                  <a:gd name="connsiteY6" fmla="*/ 77784 h 488693"/>
                  <a:gd name="connsiteX7" fmla="*/ 18326 w 350230"/>
                  <a:gd name="connsiteY7" fmla="*/ 18326 h 488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0230" h="488693">
                    <a:moveTo>
                      <a:pt x="338420" y="476883"/>
                    </a:moveTo>
                    <a:lnTo>
                      <a:pt x="314800" y="278963"/>
                    </a:lnTo>
                    <a:cubicBezTo>
                      <a:pt x="306655" y="240681"/>
                      <a:pt x="286293" y="204844"/>
                      <a:pt x="255342" y="179595"/>
                    </a:cubicBezTo>
                    <a:cubicBezTo>
                      <a:pt x="235795" y="163305"/>
                      <a:pt x="216247" y="153532"/>
                      <a:pt x="197514" y="149459"/>
                    </a:cubicBezTo>
                    <a:lnTo>
                      <a:pt x="47648" y="105476"/>
                    </a:lnTo>
                    <a:cubicBezTo>
                      <a:pt x="44390" y="104662"/>
                      <a:pt x="41132" y="103033"/>
                      <a:pt x="38688" y="101404"/>
                    </a:cubicBezTo>
                    <a:cubicBezTo>
                      <a:pt x="30543" y="95702"/>
                      <a:pt x="25656" y="87558"/>
                      <a:pt x="24842" y="77784"/>
                    </a:cubicBez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6" name="Freihandform: Form 56">
                <a:extLst>
                  <a:ext uri="{FF2B5EF4-FFF2-40B4-BE49-F238E27FC236}">
                    <a16:creationId xmlns:a16="http://schemas.microsoft.com/office/drawing/2014/main" id="{9200E83E-A854-6B72-A5C6-5915E44D6FCE}"/>
                  </a:ext>
                </a:extLst>
              </p:cNvPr>
              <p:cNvSpPr/>
              <p:nvPr/>
            </p:nvSpPr>
            <p:spPr bwMode="gray">
              <a:xfrm>
                <a:off x="14896311" y="9674373"/>
                <a:ext cx="260348" cy="569134"/>
              </a:xfrm>
              <a:custGeom>
                <a:avLst/>
                <a:gdLst>
                  <a:gd name="connsiteX0" fmla="*/ 243125 w 350230"/>
                  <a:gd name="connsiteY0" fmla="*/ 18326 h 765619"/>
                  <a:gd name="connsiteX1" fmla="*/ 203215 w 350230"/>
                  <a:gd name="connsiteY1" fmla="*/ 86743 h 765619"/>
                  <a:gd name="connsiteX2" fmla="*/ 250455 w 350230"/>
                  <a:gd name="connsiteY2" fmla="*/ 156789 h 765619"/>
                  <a:gd name="connsiteX3" fmla="*/ 338420 w 350230"/>
                  <a:gd name="connsiteY3" fmla="*/ 295252 h 765619"/>
                  <a:gd name="connsiteX4" fmla="*/ 331904 w 350230"/>
                  <a:gd name="connsiteY4" fmla="*/ 354710 h 765619"/>
                  <a:gd name="connsiteX5" fmla="*/ 318058 w 350230"/>
                  <a:gd name="connsiteY5" fmla="*/ 378330 h 765619"/>
                  <a:gd name="connsiteX6" fmla="*/ 309099 w 350230"/>
                  <a:gd name="connsiteY6" fmla="*/ 382403 h 765619"/>
                  <a:gd name="connsiteX7" fmla="*/ 160047 w 350230"/>
                  <a:gd name="connsiteY7" fmla="*/ 425571 h 765619"/>
                  <a:gd name="connsiteX8" fmla="*/ 101404 w 350230"/>
                  <a:gd name="connsiteY8" fmla="*/ 456521 h 765619"/>
                  <a:gd name="connsiteX9" fmla="*/ 41946 w 350230"/>
                  <a:gd name="connsiteY9" fmla="*/ 555889 h 765619"/>
                  <a:gd name="connsiteX10" fmla="*/ 18326 w 350230"/>
                  <a:gd name="connsiteY10" fmla="*/ 753810 h 76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0230" h="765619">
                    <a:moveTo>
                      <a:pt x="243125" y="18326"/>
                    </a:moveTo>
                    <a:cubicBezTo>
                      <a:pt x="220319" y="24842"/>
                      <a:pt x="203215" y="52535"/>
                      <a:pt x="203215" y="86743"/>
                    </a:cubicBezTo>
                    <a:cubicBezTo>
                      <a:pt x="203215" y="124210"/>
                      <a:pt x="223577" y="154346"/>
                      <a:pt x="250455" y="156789"/>
                    </a:cubicBezTo>
                    <a:cubicBezTo>
                      <a:pt x="265116" y="213803"/>
                      <a:pt x="296067" y="262673"/>
                      <a:pt x="338420" y="295252"/>
                    </a:cubicBezTo>
                    <a:lnTo>
                      <a:pt x="331904" y="354710"/>
                    </a:lnTo>
                    <a:cubicBezTo>
                      <a:pt x="331090" y="364484"/>
                      <a:pt x="325389" y="372629"/>
                      <a:pt x="318058" y="378330"/>
                    </a:cubicBezTo>
                    <a:cubicBezTo>
                      <a:pt x="315615" y="379959"/>
                      <a:pt x="312357" y="381588"/>
                      <a:pt x="309099" y="382403"/>
                    </a:cubicBezTo>
                    <a:lnTo>
                      <a:pt x="160047" y="425571"/>
                    </a:lnTo>
                    <a:cubicBezTo>
                      <a:pt x="140499" y="429643"/>
                      <a:pt x="120952" y="440231"/>
                      <a:pt x="101404" y="456521"/>
                    </a:cubicBezTo>
                    <a:cubicBezTo>
                      <a:pt x="70454" y="481771"/>
                      <a:pt x="50091" y="516794"/>
                      <a:pt x="41946" y="555889"/>
                    </a:cubicBezTo>
                    <a:lnTo>
                      <a:pt x="18326" y="75381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7" name="Freihandform: Form 57">
                <a:extLst>
                  <a:ext uri="{FF2B5EF4-FFF2-40B4-BE49-F238E27FC236}">
                    <a16:creationId xmlns:a16="http://schemas.microsoft.com/office/drawing/2014/main" id="{8CD13A9C-D35C-4AAA-8DAF-99DBD9CE0862}"/>
                  </a:ext>
                </a:extLst>
              </p:cNvPr>
              <p:cNvSpPr/>
              <p:nvPr/>
            </p:nvSpPr>
            <p:spPr bwMode="gray">
              <a:xfrm>
                <a:off x="15308024" y="9674373"/>
                <a:ext cx="260348" cy="569134"/>
              </a:xfrm>
              <a:custGeom>
                <a:avLst/>
                <a:gdLst>
                  <a:gd name="connsiteX0" fmla="*/ 113621 w 350230"/>
                  <a:gd name="connsiteY0" fmla="*/ 18326 h 765619"/>
                  <a:gd name="connsiteX1" fmla="*/ 153531 w 350230"/>
                  <a:gd name="connsiteY1" fmla="*/ 86743 h 765619"/>
                  <a:gd name="connsiteX2" fmla="*/ 106291 w 350230"/>
                  <a:gd name="connsiteY2" fmla="*/ 156789 h 765619"/>
                  <a:gd name="connsiteX3" fmla="*/ 18326 w 350230"/>
                  <a:gd name="connsiteY3" fmla="*/ 295252 h 765619"/>
                  <a:gd name="connsiteX4" fmla="*/ 24842 w 350230"/>
                  <a:gd name="connsiteY4" fmla="*/ 354710 h 765619"/>
                  <a:gd name="connsiteX5" fmla="*/ 38688 w 350230"/>
                  <a:gd name="connsiteY5" fmla="*/ 378330 h 765619"/>
                  <a:gd name="connsiteX6" fmla="*/ 47648 w 350230"/>
                  <a:gd name="connsiteY6" fmla="*/ 382403 h 765619"/>
                  <a:gd name="connsiteX7" fmla="*/ 196699 w 350230"/>
                  <a:gd name="connsiteY7" fmla="*/ 425571 h 765619"/>
                  <a:gd name="connsiteX8" fmla="*/ 255342 w 350230"/>
                  <a:gd name="connsiteY8" fmla="*/ 456521 h 765619"/>
                  <a:gd name="connsiteX9" fmla="*/ 314800 w 350230"/>
                  <a:gd name="connsiteY9" fmla="*/ 555889 h 765619"/>
                  <a:gd name="connsiteX10" fmla="*/ 338420 w 350230"/>
                  <a:gd name="connsiteY10" fmla="*/ 753810 h 76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0230" h="765619">
                    <a:moveTo>
                      <a:pt x="113621" y="18326"/>
                    </a:moveTo>
                    <a:cubicBezTo>
                      <a:pt x="136427" y="24842"/>
                      <a:pt x="153531" y="52535"/>
                      <a:pt x="153531" y="86743"/>
                    </a:cubicBezTo>
                    <a:cubicBezTo>
                      <a:pt x="153531" y="124210"/>
                      <a:pt x="133169" y="154346"/>
                      <a:pt x="106291" y="156789"/>
                    </a:cubicBezTo>
                    <a:cubicBezTo>
                      <a:pt x="91630" y="213803"/>
                      <a:pt x="60680" y="262673"/>
                      <a:pt x="18326" y="295252"/>
                    </a:cubicBezTo>
                    <a:lnTo>
                      <a:pt x="24842" y="354710"/>
                    </a:lnTo>
                    <a:cubicBezTo>
                      <a:pt x="25657" y="364484"/>
                      <a:pt x="31358" y="372629"/>
                      <a:pt x="38688" y="378330"/>
                    </a:cubicBezTo>
                    <a:cubicBezTo>
                      <a:pt x="41132" y="379959"/>
                      <a:pt x="44390" y="381588"/>
                      <a:pt x="47648" y="382403"/>
                    </a:cubicBezTo>
                    <a:lnTo>
                      <a:pt x="196699" y="425571"/>
                    </a:lnTo>
                    <a:cubicBezTo>
                      <a:pt x="216247" y="429643"/>
                      <a:pt x="235795" y="440231"/>
                      <a:pt x="255342" y="456521"/>
                    </a:cubicBezTo>
                    <a:cubicBezTo>
                      <a:pt x="286293" y="481771"/>
                      <a:pt x="306655" y="516794"/>
                      <a:pt x="314800" y="555889"/>
                    </a:cubicBezTo>
                    <a:lnTo>
                      <a:pt x="338420" y="75381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8" name="Freihandform: Form 58">
                <a:extLst>
                  <a:ext uri="{FF2B5EF4-FFF2-40B4-BE49-F238E27FC236}">
                    <a16:creationId xmlns:a16="http://schemas.microsoft.com/office/drawing/2014/main" id="{3EB75069-3DF4-7F81-1426-B40FF4F96889}"/>
                  </a:ext>
                </a:extLst>
              </p:cNvPr>
              <p:cNvSpPr/>
              <p:nvPr/>
            </p:nvSpPr>
            <p:spPr bwMode="gray">
              <a:xfrm>
                <a:off x="15110644" y="9948042"/>
                <a:ext cx="248239" cy="90819"/>
              </a:xfrm>
              <a:custGeom>
                <a:avLst/>
                <a:gdLst>
                  <a:gd name="connsiteX0" fmla="*/ 316429 w 333940"/>
                  <a:gd name="connsiteY0" fmla="*/ 18326 h 122173"/>
                  <a:gd name="connsiteX1" fmla="*/ 258600 w 333940"/>
                  <a:gd name="connsiteY1" fmla="*/ 70453 h 122173"/>
                  <a:gd name="connsiteX2" fmla="*/ 76155 w 333940"/>
                  <a:gd name="connsiteY2" fmla="*/ 70453 h 122173"/>
                  <a:gd name="connsiteX3" fmla="*/ 18326 w 333940"/>
                  <a:gd name="connsiteY3" fmla="*/ 18326 h 122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3940" h="122173">
                    <a:moveTo>
                      <a:pt x="316429" y="18326"/>
                    </a:moveTo>
                    <a:lnTo>
                      <a:pt x="258600" y="70453"/>
                    </a:lnTo>
                    <a:cubicBezTo>
                      <a:pt x="206473" y="116879"/>
                      <a:pt x="128282" y="116879"/>
                      <a:pt x="76155" y="70453"/>
                    </a:cubicBez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9" name="Freihandform: Form 59">
                <a:extLst>
                  <a:ext uri="{FF2B5EF4-FFF2-40B4-BE49-F238E27FC236}">
                    <a16:creationId xmlns:a16="http://schemas.microsoft.com/office/drawing/2014/main" id="{EC1ADFB6-427F-7932-BBED-2347C79E7F89}"/>
                  </a:ext>
                </a:extLst>
              </p:cNvPr>
              <p:cNvSpPr/>
              <p:nvPr/>
            </p:nvSpPr>
            <p:spPr bwMode="gray">
              <a:xfrm>
                <a:off x="15062965" y="9461856"/>
                <a:ext cx="339058" cy="236130"/>
              </a:xfrm>
              <a:custGeom>
                <a:avLst/>
                <a:gdLst>
                  <a:gd name="connsiteX0" fmla="*/ 18935 w 456113"/>
                  <a:gd name="connsiteY0" fmla="*/ 304212 h 317650"/>
                  <a:gd name="connsiteX1" fmla="*/ 31967 w 456113"/>
                  <a:gd name="connsiteY1" fmla="*/ 179595 h 317650"/>
                  <a:gd name="connsiteX2" fmla="*/ 230702 w 456113"/>
                  <a:gd name="connsiteY2" fmla="*/ 18326 h 317650"/>
                  <a:gd name="connsiteX3" fmla="*/ 429437 w 456113"/>
                  <a:gd name="connsiteY3" fmla="*/ 179595 h 317650"/>
                  <a:gd name="connsiteX4" fmla="*/ 442469 w 456113"/>
                  <a:gd name="connsiteY4" fmla="*/ 304212 h 31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6113" h="317650">
                    <a:moveTo>
                      <a:pt x="18935" y="304212"/>
                    </a:moveTo>
                    <a:cubicBezTo>
                      <a:pt x="18935" y="304212"/>
                      <a:pt x="14048" y="236609"/>
                      <a:pt x="31967" y="179595"/>
                    </a:cubicBezTo>
                    <a:cubicBezTo>
                      <a:pt x="31967" y="179595"/>
                      <a:pt x="73506" y="18326"/>
                      <a:pt x="230702" y="18326"/>
                    </a:cubicBezTo>
                    <a:cubicBezTo>
                      <a:pt x="387899" y="18326"/>
                      <a:pt x="429437" y="179595"/>
                      <a:pt x="429437" y="179595"/>
                    </a:cubicBezTo>
                    <a:cubicBezTo>
                      <a:pt x="447356" y="235794"/>
                      <a:pt x="442469" y="304212"/>
                      <a:pt x="442469" y="30421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0" name="Freihandform: Form 60">
                <a:extLst>
                  <a:ext uri="{FF2B5EF4-FFF2-40B4-BE49-F238E27FC236}">
                    <a16:creationId xmlns:a16="http://schemas.microsoft.com/office/drawing/2014/main" id="{ECBC1AA2-6DDC-13ED-E042-C416E749651C}"/>
                  </a:ext>
                </a:extLst>
              </p:cNvPr>
              <p:cNvSpPr/>
              <p:nvPr/>
            </p:nvSpPr>
            <p:spPr bwMode="gray">
              <a:xfrm>
                <a:off x="15068867" y="9553854"/>
                <a:ext cx="314840" cy="84765"/>
              </a:xfrm>
              <a:custGeom>
                <a:avLst/>
                <a:gdLst>
                  <a:gd name="connsiteX0" fmla="*/ 18326 w 423534"/>
                  <a:gd name="connsiteY0" fmla="*/ 90045 h 114028"/>
                  <a:gd name="connsiteX1" fmla="*/ 228464 w 423534"/>
                  <a:gd name="connsiteY1" fmla="*/ 52578 h 114028"/>
                  <a:gd name="connsiteX2" fmla="*/ 407652 w 423534"/>
                  <a:gd name="connsiteY2" fmla="*/ 21628 h 11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23534" h="114028">
                    <a:moveTo>
                      <a:pt x="18326" y="90045"/>
                    </a:moveTo>
                    <a:cubicBezTo>
                      <a:pt x="62309" y="106335"/>
                      <a:pt x="129097" y="107149"/>
                      <a:pt x="228464" y="52578"/>
                    </a:cubicBezTo>
                    <a:cubicBezTo>
                      <a:pt x="288737" y="19184"/>
                      <a:pt x="352267" y="13483"/>
                      <a:pt x="407652" y="21628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1" name="Freihandform: Form 61">
                <a:extLst>
                  <a:ext uri="{FF2B5EF4-FFF2-40B4-BE49-F238E27FC236}">
                    <a16:creationId xmlns:a16="http://schemas.microsoft.com/office/drawing/2014/main" id="{8170D1CE-B681-9087-AA30-D4D4E1B36B89}"/>
                  </a:ext>
                </a:extLst>
              </p:cNvPr>
              <p:cNvSpPr/>
              <p:nvPr/>
            </p:nvSpPr>
            <p:spPr bwMode="gray">
              <a:xfrm>
                <a:off x="15407762" y="9713728"/>
                <a:ext cx="217966" cy="405659"/>
              </a:xfrm>
              <a:custGeom>
                <a:avLst/>
                <a:gdLst>
                  <a:gd name="connsiteX0" fmla="*/ 114656 w 293216"/>
                  <a:gd name="connsiteY0" fmla="*/ 18326 h 545707"/>
                  <a:gd name="connsiteX1" fmla="*/ 139905 w 293216"/>
                  <a:gd name="connsiteY1" fmla="*/ 90816 h 545707"/>
                  <a:gd name="connsiteX2" fmla="*/ 82076 w 293216"/>
                  <a:gd name="connsiteY2" fmla="*/ 148644 h 545707"/>
                  <a:gd name="connsiteX3" fmla="*/ 29949 w 293216"/>
                  <a:gd name="connsiteY3" fmla="*/ 222763 h 545707"/>
                  <a:gd name="connsiteX4" fmla="*/ 44610 w 293216"/>
                  <a:gd name="connsiteY4" fmla="*/ 270818 h 545707"/>
                  <a:gd name="connsiteX5" fmla="*/ 76375 w 293216"/>
                  <a:gd name="connsiteY5" fmla="*/ 281406 h 545707"/>
                  <a:gd name="connsiteX6" fmla="*/ 275925 w 293216"/>
                  <a:gd name="connsiteY6" fmla="*/ 515979 h 545707"/>
                  <a:gd name="connsiteX7" fmla="*/ 276739 w 293216"/>
                  <a:gd name="connsiteY7" fmla="*/ 528196 h 545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3216" h="545707">
                    <a:moveTo>
                      <a:pt x="114656" y="18326"/>
                    </a:moveTo>
                    <a:cubicBezTo>
                      <a:pt x="135833" y="28914"/>
                      <a:pt x="146421" y="58236"/>
                      <a:pt x="139905" y="90816"/>
                    </a:cubicBezTo>
                    <a:cubicBezTo>
                      <a:pt x="133389" y="126653"/>
                      <a:pt x="108140" y="151088"/>
                      <a:pt x="82076" y="148644"/>
                    </a:cubicBezTo>
                    <a:cubicBezTo>
                      <a:pt x="68230" y="177151"/>
                      <a:pt x="51126" y="201586"/>
                      <a:pt x="29949" y="222763"/>
                    </a:cubicBezTo>
                    <a:cubicBezTo>
                      <a:pt x="9587" y="243125"/>
                      <a:pt x="16917" y="261044"/>
                      <a:pt x="44610" y="270818"/>
                    </a:cubicBezTo>
                    <a:lnTo>
                      <a:pt x="76375" y="281406"/>
                    </a:lnTo>
                    <a:cubicBezTo>
                      <a:pt x="174928" y="313986"/>
                      <a:pt x="271038" y="366113"/>
                      <a:pt x="275925" y="515979"/>
                    </a:cubicBezTo>
                    <a:cubicBezTo>
                      <a:pt x="275925" y="520051"/>
                      <a:pt x="276739" y="524124"/>
                      <a:pt x="276739" y="52819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2" name="Freihandform: Form 62">
                <a:extLst>
                  <a:ext uri="{FF2B5EF4-FFF2-40B4-BE49-F238E27FC236}">
                    <a16:creationId xmlns:a16="http://schemas.microsoft.com/office/drawing/2014/main" id="{359D6000-0C72-02BC-A38F-1E0B4126CF2E}"/>
                  </a:ext>
                </a:extLst>
              </p:cNvPr>
              <p:cNvSpPr/>
              <p:nvPr/>
            </p:nvSpPr>
            <p:spPr bwMode="gray">
              <a:xfrm>
                <a:off x="15369176" y="9483047"/>
                <a:ext cx="145310" cy="254294"/>
              </a:xfrm>
              <a:custGeom>
                <a:avLst/>
                <a:gdLst>
                  <a:gd name="connsiteX0" fmla="*/ 166563 w 195477"/>
                  <a:gd name="connsiteY0" fmla="*/ 328646 h 342085"/>
                  <a:gd name="connsiteX1" fmla="*/ 177151 w 195477"/>
                  <a:gd name="connsiteY1" fmla="*/ 208102 h 342085"/>
                  <a:gd name="connsiteX2" fmla="*/ 18326 w 195477"/>
                  <a:gd name="connsiteY2" fmla="*/ 18326 h 342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5477" h="342085">
                    <a:moveTo>
                      <a:pt x="166563" y="328646"/>
                    </a:moveTo>
                    <a:cubicBezTo>
                      <a:pt x="166563" y="328646"/>
                      <a:pt x="183667" y="265116"/>
                      <a:pt x="177151" y="208102"/>
                    </a:cubicBezTo>
                    <a:cubicBezTo>
                      <a:pt x="177151" y="208102"/>
                      <a:pt x="167378" y="47647"/>
                      <a:pt x="18326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3" name="Freihandform: Form 63">
                <a:extLst>
                  <a:ext uri="{FF2B5EF4-FFF2-40B4-BE49-F238E27FC236}">
                    <a16:creationId xmlns:a16="http://schemas.microsoft.com/office/drawing/2014/main" id="{C7A9EB44-714D-665F-E32E-1CBB001A765F}"/>
                  </a:ext>
                </a:extLst>
              </p:cNvPr>
              <p:cNvSpPr/>
              <p:nvPr/>
            </p:nvSpPr>
            <p:spPr bwMode="gray">
              <a:xfrm>
                <a:off x="14842424" y="9713728"/>
                <a:ext cx="217966" cy="405659"/>
              </a:xfrm>
              <a:custGeom>
                <a:avLst/>
                <a:gdLst>
                  <a:gd name="connsiteX0" fmla="*/ 180409 w 293216"/>
                  <a:gd name="connsiteY0" fmla="*/ 18326 h 545707"/>
                  <a:gd name="connsiteX1" fmla="*/ 155160 w 293216"/>
                  <a:gd name="connsiteY1" fmla="*/ 90816 h 545707"/>
                  <a:gd name="connsiteX2" fmla="*/ 212989 w 293216"/>
                  <a:gd name="connsiteY2" fmla="*/ 148644 h 545707"/>
                  <a:gd name="connsiteX3" fmla="*/ 265116 w 293216"/>
                  <a:gd name="connsiteY3" fmla="*/ 222763 h 545707"/>
                  <a:gd name="connsiteX4" fmla="*/ 250455 w 293216"/>
                  <a:gd name="connsiteY4" fmla="*/ 270818 h 545707"/>
                  <a:gd name="connsiteX5" fmla="*/ 218690 w 293216"/>
                  <a:gd name="connsiteY5" fmla="*/ 281406 h 545707"/>
                  <a:gd name="connsiteX6" fmla="*/ 19141 w 293216"/>
                  <a:gd name="connsiteY6" fmla="*/ 515979 h 545707"/>
                  <a:gd name="connsiteX7" fmla="*/ 18326 w 293216"/>
                  <a:gd name="connsiteY7" fmla="*/ 528196 h 545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3216" h="545707">
                    <a:moveTo>
                      <a:pt x="180409" y="18326"/>
                    </a:moveTo>
                    <a:cubicBezTo>
                      <a:pt x="159233" y="28914"/>
                      <a:pt x="148644" y="58236"/>
                      <a:pt x="155160" y="90816"/>
                    </a:cubicBezTo>
                    <a:cubicBezTo>
                      <a:pt x="161676" y="126653"/>
                      <a:pt x="186925" y="151088"/>
                      <a:pt x="212989" y="148644"/>
                    </a:cubicBezTo>
                    <a:cubicBezTo>
                      <a:pt x="226835" y="177151"/>
                      <a:pt x="243940" y="201586"/>
                      <a:pt x="265116" y="222763"/>
                    </a:cubicBezTo>
                    <a:cubicBezTo>
                      <a:pt x="285479" y="243125"/>
                      <a:pt x="278148" y="261044"/>
                      <a:pt x="250455" y="270818"/>
                    </a:cubicBezTo>
                    <a:lnTo>
                      <a:pt x="218690" y="281406"/>
                    </a:lnTo>
                    <a:cubicBezTo>
                      <a:pt x="120137" y="313986"/>
                      <a:pt x="24028" y="366113"/>
                      <a:pt x="19141" y="515979"/>
                    </a:cubicBezTo>
                    <a:cubicBezTo>
                      <a:pt x="19141" y="520051"/>
                      <a:pt x="18326" y="524124"/>
                      <a:pt x="18326" y="52819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4" name="Freihandform: Form 64">
                <a:extLst>
                  <a:ext uri="{FF2B5EF4-FFF2-40B4-BE49-F238E27FC236}">
                    <a16:creationId xmlns:a16="http://schemas.microsoft.com/office/drawing/2014/main" id="{D7A659FD-5157-B195-1EA6-9E388E822EB2}"/>
                  </a:ext>
                </a:extLst>
              </p:cNvPr>
              <p:cNvSpPr/>
              <p:nvPr/>
            </p:nvSpPr>
            <p:spPr bwMode="gray">
              <a:xfrm>
                <a:off x="14953940" y="9483047"/>
                <a:ext cx="145310" cy="254294"/>
              </a:xfrm>
              <a:custGeom>
                <a:avLst/>
                <a:gdLst>
                  <a:gd name="connsiteX0" fmla="*/ 30395 w 195477"/>
                  <a:gd name="connsiteY0" fmla="*/ 328646 h 342085"/>
                  <a:gd name="connsiteX1" fmla="*/ 19806 w 195477"/>
                  <a:gd name="connsiteY1" fmla="*/ 208102 h 342085"/>
                  <a:gd name="connsiteX2" fmla="*/ 178632 w 195477"/>
                  <a:gd name="connsiteY2" fmla="*/ 18326 h 342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5477" h="342085">
                    <a:moveTo>
                      <a:pt x="30395" y="328646"/>
                    </a:moveTo>
                    <a:cubicBezTo>
                      <a:pt x="30395" y="328646"/>
                      <a:pt x="13291" y="265116"/>
                      <a:pt x="19806" y="208102"/>
                    </a:cubicBezTo>
                    <a:cubicBezTo>
                      <a:pt x="19806" y="208102"/>
                      <a:pt x="29580" y="47647"/>
                      <a:pt x="178632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0" name="Gruppieren 65">
              <a:extLst>
                <a:ext uri="{FF2B5EF4-FFF2-40B4-BE49-F238E27FC236}">
                  <a16:creationId xmlns:a16="http://schemas.microsoft.com/office/drawing/2014/main" id="{356953EF-CD1B-ABB7-D211-C189B0BD1A7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4483106" y="3209638"/>
              <a:ext cx="358756" cy="430343"/>
              <a:chOff x="9950269" y="7309727"/>
              <a:chExt cx="593871" cy="712373"/>
            </a:xfrm>
          </p:grpSpPr>
          <p:sp>
            <p:nvSpPr>
              <p:cNvPr id="120" name="Freihandform: Form 66">
                <a:extLst>
                  <a:ext uri="{FF2B5EF4-FFF2-40B4-BE49-F238E27FC236}">
                    <a16:creationId xmlns:a16="http://schemas.microsoft.com/office/drawing/2014/main" id="{8EE9B7E4-6E87-8BAE-256A-C441E3E84EBE}"/>
                  </a:ext>
                </a:extLst>
              </p:cNvPr>
              <p:cNvSpPr/>
              <p:nvPr/>
            </p:nvSpPr>
            <p:spPr bwMode="gray">
              <a:xfrm>
                <a:off x="10401133" y="7598991"/>
                <a:ext cx="43668" cy="136463"/>
              </a:xfrm>
              <a:custGeom>
                <a:avLst/>
                <a:gdLst>
                  <a:gd name="connsiteX0" fmla="*/ 12282 w 43668"/>
                  <a:gd name="connsiteY0" fmla="*/ 127456 h 136462"/>
                  <a:gd name="connsiteX1" fmla="*/ 12282 w 43668"/>
                  <a:gd name="connsiteY1" fmla="*/ 12282 h 136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668" h="136462">
                    <a:moveTo>
                      <a:pt x="12282" y="127456"/>
                    </a:moveTo>
                    <a:cubicBezTo>
                      <a:pt x="43941" y="95797"/>
                      <a:pt x="43941" y="43941"/>
                      <a:pt x="12282" y="1228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21" name="Freihandform: Form 67">
                <a:extLst>
                  <a:ext uri="{FF2B5EF4-FFF2-40B4-BE49-F238E27FC236}">
                    <a16:creationId xmlns:a16="http://schemas.microsoft.com/office/drawing/2014/main" id="{133ED818-C44E-ADF4-1C5C-B53A26330CE5}"/>
                  </a:ext>
                </a:extLst>
              </p:cNvPr>
              <p:cNvSpPr/>
              <p:nvPr/>
            </p:nvSpPr>
            <p:spPr bwMode="gray">
              <a:xfrm>
                <a:off x="9950269" y="7749175"/>
                <a:ext cx="294760" cy="272925"/>
              </a:xfrm>
              <a:custGeom>
                <a:avLst/>
                <a:gdLst>
                  <a:gd name="connsiteX0" fmla="*/ 175491 w 294759"/>
                  <a:gd name="connsiteY0" fmla="*/ 238729 h 272925"/>
                  <a:gd name="connsiteX1" fmla="*/ 186408 w 294759"/>
                  <a:gd name="connsiteY1" fmla="*/ 257834 h 272925"/>
                  <a:gd name="connsiteX2" fmla="*/ 207151 w 294759"/>
                  <a:gd name="connsiteY2" fmla="*/ 263293 h 272925"/>
                  <a:gd name="connsiteX3" fmla="*/ 227893 w 294759"/>
                  <a:gd name="connsiteY3" fmla="*/ 251284 h 272925"/>
                  <a:gd name="connsiteX4" fmla="*/ 233351 w 294759"/>
                  <a:gd name="connsiteY4" fmla="*/ 230542 h 272925"/>
                  <a:gd name="connsiteX5" fmla="*/ 222434 w 294759"/>
                  <a:gd name="connsiteY5" fmla="*/ 211983 h 272925"/>
                  <a:gd name="connsiteX6" fmla="*/ 248635 w 294759"/>
                  <a:gd name="connsiteY6" fmla="*/ 166131 h 272925"/>
                  <a:gd name="connsiteX7" fmla="*/ 270469 w 294759"/>
                  <a:gd name="connsiteY7" fmla="*/ 166131 h 272925"/>
                  <a:gd name="connsiteX8" fmla="*/ 285753 w 294759"/>
                  <a:gd name="connsiteY8" fmla="*/ 150847 h 272925"/>
                  <a:gd name="connsiteX9" fmla="*/ 285753 w 294759"/>
                  <a:gd name="connsiteY9" fmla="*/ 126830 h 272925"/>
                  <a:gd name="connsiteX10" fmla="*/ 270469 w 294759"/>
                  <a:gd name="connsiteY10" fmla="*/ 111546 h 272925"/>
                  <a:gd name="connsiteX11" fmla="*/ 248635 w 294759"/>
                  <a:gd name="connsiteY11" fmla="*/ 111546 h 272925"/>
                  <a:gd name="connsiteX12" fmla="*/ 222434 w 294759"/>
                  <a:gd name="connsiteY12" fmla="*/ 65695 h 272925"/>
                  <a:gd name="connsiteX13" fmla="*/ 233351 w 294759"/>
                  <a:gd name="connsiteY13" fmla="*/ 47136 h 272925"/>
                  <a:gd name="connsiteX14" fmla="*/ 227893 w 294759"/>
                  <a:gd name="connsiteY14" fmla="*/ 26393 h 272925"/>
                  <a:gd name="connsiteX15" fmla="*/ 207151 w 294759"/>
                  <a:gd name="connsiteY15" fmla="*/ 14385 h 272925"/>
                  <a:gd name="connsiteX16" fmla="*/ 186408 w 294759"/>
                  <a:gd name="connsiteY16" fmla="*/ 19843 h 272925"/>
                  <a:gd name="connsiteX17" fmla="*/ 175491 w 294759"/>
                  <a:gd name="connsiteY17" fmla="*/ 38948 h 272925"/>
                  <a:gd name="connsiteX18" fmla="*/ 122544 w 294759"/>
                  <a:gd name="connsiteY18" fmla="*/ 38948 h 272925"/>
                  <a:gd name="connsiteX19" fmla="*/ 111627 w 294759"/>
                  <a:gd name="connsiteY19" fmla="*/ 19843 h 272925"/>
                  <a:gd name="connsiteX20" fmla="*/ 90884 w 294759"/>
                  <a:gd name="connsiteY20" fmla="*/ 14385 h 272925"/>
                  <a:gd name="connsiteX21" fmla="*/ 70142 w 294759"/>
                  <a:gd name="connsiteY21" fmla="*/ 26393 h 272925"/>
                  <a:gd name="connsiteX22" fmla="*/ 64683 w 294759"/>
                  <a:gd name="connsiteY22" fmla="*/ 47136 h 272925"/>
                  <a:gd name="connsiteX23" fmla="*/ 75601 w 294759"/>
                  <a:gd name="connsiteY23" fmla="*/ 65695 h 272925"/>
                  <a:gd name="connsiteX24" fmla="*/ 49400 w 294759"/>
                  <a:gd name="connsiteY24" fmla="*/ 111546 h 272925"/>
                  <a:gd name="connsiteX25" fmla="*/ 27566 w 294759"/>
                  <a:gd name="connsiteY25" fmla="*/ 111546 h 272925"/>
                  <a:gd name="connsiteX26" fmla="*/ 12282 w 294759"/>
                  <a:gd name="connsiteY26" fmla="*/ 126830 h 272925"/>
                  <a:gd name="connsiteX27" fmla="*/ 12282 w 294759"/>
                  <a:gd name="connsiteY27" fmla="*/ 150847 h 272925"/>
                  <a:gd name="connsiteX28" fmla="*/ 27566 w 294759"/>
                  <a:gd name="connsiteY28" fmla="*/ 166131 h 272925"/>
                  <a:gd name="connsiteX29" fmla="*/ 49400 w 294759"/>
                  <a:gd name="connsiteY29" fmla="*/ 166131 h 272925"/>
                  <a:gd name="connsiteX30" fmla="*/ 75601 w 294759"/>
                  <a:gd name="connsiteY30" fmla="*/ 211983 h 272925"/>
                  <a:gd name="connsiteX31" fmla="*/ 64683 w 294759"/>
                  <a:gd name="connsiteY31" fmla="*/ 230542 h 272925"/>
                  <a:gd name="connsiteX32" fmla="*/ 70142 w 294759"/>
                  <a:gd name="connsiteY32" fmla="*/ 251284 h 272925"/>
                  <a:gd name="connsiteX33" fmla="*/ 90884 w 294759"/>
                  <a:gd name="connsiteY33" fmla="*/ 263293 h 272925"/>
                  <a:gd name="connsiteX34" fmla="*/ 111627 w 294759"/>
                  <a:gd name="connsiteY34" fmla="*/ 257834 h 272925"/>
                  <a:gd name="connsiteX35" fmla="*/ 122544 w 294759"/>
                  <a:gd name="connsiteY35" fmla="*/ 238729 h 272925"/>
                  <a:gd name="connsiteX36" fmla="*/ 175491 w 294759"/>
                  <a:gd name="connsiteY36" fmla="*/ 238729 h 27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94759" h="272925">
                    <a:moveTo>
                      <a:pt x="175491" y="238729"/>
                    </a:moveTo>
                    <a:lnTo>
                      <a:pt x="186408" y="257834"/>
                    </a:lnTo>
                    <a:cubicBezTo>
                      <a:pt x="190775" y="264930"/>
                      <a:pt x="200054" y="267659"/>
                      <a:pt x="207151" y="263293"/>
                    </a:cubicBezTo>
                    <a:lnTo>
                      <a:pt x="227893" y="251284"/>
                    </a:lnTo>
                    <a:cubicBezTo>
                      <a:pt x="234989" y="246917"/>
                      <a:pt x="237718" y="237638"/>
                      <a:pt x="233351" y="230542"/>
                    </a:cubicBezTo>
                    <a:lnTo>
                      <a:pt x="222434" y="211983"/>
                    </a:lnTo>
                    <a:cubicBezTo>
                      <a:pt x="235535" y="198882"/>
                      <a:pt x="244268" y="183053"/>
                      <a:pt x="248635" y="166131"/>
                    </a:cubicBezTo>
                    <a:lnTo>
                      <a:pt x="270469" y="166131"/>
                    </a:lnTo>
                    <a:cubicBezTo>
                      <a:pt x="278657" y="166131"/>
                      <a:pt x="285753" y="159581"/>
                      <a:pt x="285753" y="150847"/>
                    </a:cubicBezTo>
                    <a:lnTo>
                      <a:pt x="285753" y="126830"/>
                    </a:lnTo>
                    <a:cubicBezTo>
                      <a:pt x="285753" y="118642"/>
                      <a:pt x="279203" y="111546"/>
                      <a:pt x="270469" y="111546"/>
                    </a:cubicBezTo>
                    <a:lnTo>
                      <a:pt x="248635" y="111546"/>
                    </a:lnTo>
                    <a:cubicBezTo>
                      <a:pt x="244268" y="94625"/>
                      <a:pt x="235535" y="78795"/>
                      <a:pt x="222434" y="65695"/>
                    </a:cubicBezTo>
                    <a:lnTo>
                      <a:pt x="233351" y="47136"/>
                    </a:lnTo>
                    <a:cubicBezTo>
                      <a:pt x="237718" y="40040"/>
                      <a:pt x="234989" y="30760"/>
                      <a:pt x="227893" y="26393"/>
                    </a:cubicBezTo>
                    <a:lnTo>
                      <a:pt x="207151" y="14385"/>
                    </a:lnTo>
                    <a:cubicBezTo>
                      <a:pt x="200054" y="10018"/>
                      <a:pt x="190775" y="12747"/>
                      <a:pt x="186408" y="19843"/>
                    </a:cubicBezTo>
                    <a:lnTo>
                      <a:pt x="175491" y="38948"/>
                    </a:lnTo>
                    <a:cubicBezTo>
                      <a:pt x="158024" y="34581"/>
                      <a:pt x="140011" y="34581"/>
                      <a:pt x="122544" y="38948"/>
                    </a:cubicBezTo>
                    <a:lnTo>
                      <a:pt x="111627" y="19843"/>
                    </a:lnTo>
                    <a:cubicBezTo>
                      <a:pt x="107260" y="12747"/>
                      <a:pt x="97980" y="10018"/>
                      <a:pt x="90884" y="14385"/>
                    </a:cubicBezTo>
                    <a:lnTo>
                      <a:pt x="70142" y="26393"/>
                    </a:lnTo>
                    <a:cubicBezTo>
                      <a:pt x="63046" y="30760"/>
                      <a:pt x="60317" y="40040"/>
                      <a:pt x="64683" y="47136"/>
                    </a:cubicBezTo>
                    <a:lnTo>
                      <a:pt x="75601" y="65695"/>
                    </a:lnTo>
                    <a:cubicBezTo>
                      <a:pt x="62500" y="78795"/>
                      <a:pt x="53766" y="94625"/>
                      <a:pt x="49400" y="111546"/>
                    </a:cubicBezTo>
                    <a:lnTo>
                      <a:pt x="27566" y="111546"/>
                    </a:lnTo>
                    <a:cubicBezTo>
                      <a:pt x="19378" y="111546"/>
                      <a:pt x="12282" y="118096"/>
                      <a:pt x="12282" y="126830"/>
                    </a:cubicBezTo>
                    <a:lnTo>
                      <a:pt x="12282" y="150847"/>
                    </a:lnTo>
                    <a:cubicBezTo>
                      <a:pt x="12282" y="159035"/>
                      <a:pt x="18832" y="166131"/>
                      <a:pt x="27566" y="166131"/>
                    </a:cubicBezTo>
                    <a:lnTo>
                      <a:pt x="49400" y="166131"/>
                    </a:lnTo>
                    <a:cubicBezTo>
                      <a:pt x="53766" y="183053"/>
                      <a:pt x="62500" y="198882"/>
                      <a:pt x="75601" y="211983"/>
                    </a:cubicBezTo>
                    <a:lnTo>
                      <a:pt x="64683" y="230542"/>
                    </a:lnTo>
                    <a:cubicBezTo>
                      <a:pt x="60317" y="237638"/>
                      <a:pt x="63046" y="246917"/>
                      <a:pt x="70142" y="251284"/>
                    </a:cubicBezTo>
                    <a:lnTo>
                      <a:pt x="90884" y="263293"/>
                    </a:lnTo>
                    <a:cubicBezTo>
                      <a:pt x="97980" y="267659"/>
                      <a:pt x="107260" y="264930"/>
                      <a:pt x="111627" y="257834"/>
                    </a:cubicBezTo>
                    <a:lnTo>
                      <a:pt x="122544" y="238729"/>
                    </a:lnTo>
                    <a:cubicBezTo>
                      <a:pt x="140011" y="243096"/>
                      <a:pt x="158024" y="243096"/>
                      <a:pt x="175491" y="238729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0" name="Freihandform: Form 68">
                <a:extLst>
                  <a:ext uri="{FF2B5EF4-FFF2-40B4-BE49-F238E27FC236}">
                    <a16:creationId xmlns:a16="http://schemas.microsoft.com/office/drawing/2014/main" id="{81380F0C-1798-15F3-DACC-7AC3EFFABE04}"/>
                  </a:ext>
                </a:extLst>
              </p:cNvPr>
              <p:cNvSpPr/>
              <p:nvPr/>
            </p:nvSpPr>
            <p:spPr bwMode="gray">
              <a:xfrm>
                <a:off x="10156587" y="7488828"/>
                <a:ext cx="387553" cy="360261"/>
              </a:xfrm>
              <a:custGeom>
                <a:avLst/>
                <a:gdLst>
                  <a:gd name="connsiteX0" fmla="*/ 230622 w 387553"/>
                  <a:gd name="connsiteY0" fmla="*/ 313492 h 360261"/>
                  <a:gd name="connsiteX1" fmla="*/ 245360 w 387553"/>
                  <a:gd name="connsiteY1" fmla="*/ 338601 h 360261"/>
                  <a:gd name="connsiteX2" fmla="*/ 273198 w 387553"/>
                  <a:gd name="connsiteY2" fmla="*/ 346243 h 360261"/>
                  <a:gd name="connsiteX3" fmla="*/ 301037 w 387553"/>
                  <a:gd name="connsiteY3" fmla="*/ 330413 h 360261"/>
                  <a:gd name="connsiteX4" fmla="*/ 308678 w 387553"/>
                  <a:gd name="connsiteY4" fmla="*/ 302575 h 360261"/>
                  <a:gd name="connsiteX5" fmla="*/ 294486 w 387553"/>
                  <a:gd name="connsiteY5" fmla="*/ 277465 h 360261"/>
                  <a:gd name="connsiteX6" fmla="*/ 329421 w 387553"/>
                  <a:gd name="connsiteY6" fmla="*/ 216876 h 360261"/>
                  <a:gd name="connsiteX7" fmla="*/ 358351 w 387553"/>
                  <a:gd name="connsiteY7" fmla="*/ 216876 h 360261"/>
                  <a:gd name="connsiteX8" fmla="*/ 378547 w 387553"/>
                  <a:gd name="connsiteY8" fmla="*/ 196679 h 360261"/>
                  <a:gd name="connsiteX9" fmla="*/ 378547 w 387553"/>
                  <a:gd name="connsiteY9" fmla="*/ 164474 h 360261"/>
                  <a:gd name="connsiteX10" fmla="*/ 358351 w 387553"/>
                  <a:gd name="connsiteY10" fmla="*/ 144278 h 360261"/>
                  <a:gd name="connsiteX11" fmla="*/ 329421 w 387553"/>
                  <a:gd name="connsiteY11" fmla="*/ 144278 h 360261"/>
                  <a:gd name="connsiteX12" fmla="*/ 294486 w 387553"/>
                  <a:gd name="connsiteY12" fmla="*/ 83688 h 360261"/>
                  <a:gd name="connsiteX13" fmla="*/ 308678 w 387553"/>
                  <a:gd name="connsiteY13" fmla="*/ 58579 h 360261"/>
                  <a:gd name="connsiteX14" fmla="*/ 301037 w 387553"/>
                  <a:gd name="connsiteY14" fmla="*/ 30741 h 360261"/>
                  <a:gd name="connsiteX15" fmla="*/ 273198 w 387553"/>
                  <a:gd name="connsiteY15" fmla="*/ 14911 h 360261"/>
                  <a:gd name="connsiteX16" fmla="*/ 245360 w 387553"/>
                  <a:gd name="connsiteY16" fmla="*/ 22553 h 360261"/>
                  <a:gd name="connsiteX17" fmla="*/ 230622 w 387553"/>
                  <a:gd name="connsiteY17" fmla="*/ 47662 h 360261"/>
                  <a:gd name="connsiteX18" fmla="*/ 160207 w 387553"/>
                  <a:gd name="connsiteY18" fmla="*/ 47662 h 360261"/>
                  <a:gd name="connsiteX19" fmla="*/ 145469 w 387553"/>
                  <a:gd name="connsiteY19" fmla="*/ 22553 h 360261"/>
                  <a:gd name="connsiteX20" fmla="*/ 117630 w 387553"/>
                  <a:gd name="connsiteY20" fmla="*/ 14911 h 360261"/>
                  <a:gd name="connsiteX21" fmla="*/ 89792 w 387553"/>
                  <a:gd name="connsiteY21" fmla="*/ 30741 h 360261"/>
                  <a:gd name="connsiteX22" fmla="*/ 82150 w 387553"/>
                  <a:gd name="connsiteY22" fmla="*/ 58579 h 360261"/>
                  <a:gd name="connsiteX23" fmla="*/ 96343 w 387553"/>
                  <a:gd name="connsiteY23" fmla="*/ 83688 h 360261"/>
                  <a:gd name="connsiteX24" fmla="*/ 61408 w 387553"/>
                  <a:gd name="connsiteY24" fmla="*/ 144278 h 360261"/>
                  <a:gd name="connsiteX25" fmla="*/ 32478 w 387553"/>
                  <a:gd name="connsiteY25" fmla="*/ 144278 h 360261"/>
                  <a:gd name="connsiteX26" fmla="*/ 12282 w 387553"/>
                  <a:gd name="connsiteY26" fmla="*/ 164474 h 360261"/>
                  <a:gd name="connsiteX27" fmla="*/ 12282 w 387553"/>
                  <a:gd name="connsiteY27" fmla="*/ 196679 h 360261"/>
                  <a:gd name="connsiteX28" fmla="*/ 32478 w 387553"/>
                  <a:gd name="connsiteY28" fmla="*/ 216876 h 360261"/>
                  <a:gd name="connsiteX29" fmla="*/ 61408 w 387553"/>
                  <a:gd name="connsiteY29" fmla="*/ 216876 h 360261"/>
                  <a:gd name="connsiteX30" fmla="*/ 96343 w 387553"/>
                  <a:gd name="connsiteY30" fmla="*/ 277465 h 360261"/>
                  <a:gd name="connsiteX31" fmla="*/ 82150 w 387553"/>
                  <a:gd name="connsiteY31" fmla="*/ 302575 h 360261"/>
                  <a:gd name="connsiteX32" fmla="*/ 89792 w 387553"/>
                  <a:gd name="connsiteY32" fmla="*/ 330413 h 360261"/>
                  <a:gd name="connsiteX33" fmla="*/ 117630 w 387553"/>
                  <a:gd name="connsiteY33" fmla="*/ 346243 h 360261"/>
                  <a:gd name="connsiteX34" fmla="*/ 145469 w 387553"/>
                  <a:gd name="connsiteY34" fmla="*/ 338601 h 360261"/>
                  <a:gd name="connsiteX35" fmla="*/ 160207 w 387553"/>
                  <a:gd name="connsiteY35" fmla="*/ 313492 h 360261"/>
                  <a:gd name="connsiteX36" fmla="*/ 230622 w 387553"/>
                  <a:gd name="connsiteY36" fmla="*/ 313492 h 360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387553" h="360261">
                    <a:moveTo>
                      <a:pt x="230622" y="313492"/>
                    </a:moveTo>
                    <a:lnTo>
                      <a:pt x="245360" y="338601"/>
                    </a:lnTo>
                    <a:cubicBezTo>
                      <a:pt x="250818" y="348426"/>
                      <a:pt x="263373" y="351701"/>
                      <a:pt x="273198" y="346243"/>
                    </a:cubicBezTo>
                    <a:lnTo>
                      <a:pt x="301037" y="330413"/>
                    </a:lnTo>
                    <a:cubicBezTo>
                      <a:pt x="310862" y="324954"/>
                      <a:pt x="314137" y="312400"/>
                      <a:pt x="308678" y="302575"/>
                    </a:cubicBezTo>
                    <a:lnTo>
                      <a:pt x="294486" y="277465"/>
                    </a:lnTo>
                    <a:cubicBezTo>
                      <a:pt x="311954" y="259998"/>
                      <a:pt x="323416" y="238710"/>
                      <a:pt x="329421" y="216876"/>
                    </a:cubicBezTo>
                    <a:lnTo>
                      <a:pt x="358351" y="216876"/>
                    </a:lnTo>
                    <a:cubicBezTo>
                      <a:pt x="369268" y="216876"/>
                      <a:pt x="378547" y="207596"/>
                      <a:pt x="378547" y="196679"/>
                    </a:cubicBezTo>
                    <a:lnTo>
                      <a:pt x="378547" y="164474"/>
                    </a:lnTo>
                    <a:cubicBezTo>
                      <a:pt x="378547" y="153557"/>
                      <a:pt x="369268" y="144278"/>
                      <a:pt x="358351" y="144278"/>
                    </a:cubicBezTo>
                    <a:lnTo>
                      <a:pt x="329421" y="144278"/>
                    </a:lnTo>
                    <a:cubicBezTo>
                      <a:pt x="323416" y="121898"/>
                      <a:pt x="311954" y="101156"/>
                      <a:pt x="294486" y="83688"/>
                    </a:cubicBezTo>
                    <a:lnTo>
                      <a:pt x="308678" y="58579"/>
                    </a:lnTo>
                    <a:cubicBezTo>
                      <a:pt x="314137" y="48754"/>
                      <a:pt x="310862" y="36745"/>
                      <a:pt x="301037" y="30741"/>
                    </a:cubicBezTo>
                    <a:lnTo>
                      <a:pt x="273198" y="14911"/>
                    </a:lnTo>
                    <a:cubicBezTo>
                      <a:pt x="263373" y="9453"/>
                      <a:pt x="251364" y="12728"/>
                      <a:pt x="245360" y="22553"/>
                    </a:cubicBezTo>
                    <a:lnTo>
                      <a:pt x="230622" y="47662"/>
                    </a:lnTo>
                    <a:cubicBezTo>
                      <a:pt x="207696" y="41658"/>
                      <a:pt x="183679" y="41658"/>
                      <a:pt x="160207" y="47662"/>
                    </a:cubicBezTo>
                    <a:lnTo>
                      <a:pt x="145469" y="22553"/>
                    </a:lnTo>
                    <a:cubicBezTo>
                      <a:pt x="140011" y="12728"/>
                      <a:pt x="127456" y="9453"/>
                      <a:pt x="117630" y="14911"/>
                    </a:cubicBezTo>
                    <a:lnTo>
                      <a:pt x="89792" y="30741"/>
                    </a:lnTo>
                    <a:cubicBezTo>
                      <a:pt x="79967" y="36199"/>
                      <a:pt x="76692" y="48754"/>
                      <a:pt x="82150" y="58579"/>
                    </a:cubicBezTo>
                    <a:lnTo>
                      <a:pt x="96343" y="83688"/>
                    </a:lnTo>
                    <a:cubicBezTo>
                      <a:pt x="78875" y="101156"/>
                      <a:pt x="67412" y="122444"/>
                      <a:pt x="61408" y="144278"/>
                    </a:cubicBezTo>
                    <a:lnTo>
                      <a:pt x="32478" y="144278"/>
                    </a:lnTo>
                    <a:cubicBezTo>
                      <a:pt x="21561" y="144278"/>
                      <a:pt x="12282" y="153557"/>
                      <a:pt x="12282" y="164474"/>
                    </a:cubicBezTo>
                    <a:lnTo>
                      <a:pt x="12282" y="196679"/>
                    </a:lnTo>
                    <a:cubicBezTo>
                      <a:pt x="12282" y="207596"/>
                      <a:pt x="21561" y="216876"/>
                      <a:pt x="32478" y="216876"/>
                    </a:cubicBezTo>
                    <a:lnTo>
                      <a:pt x="61408" y="216876"/>
                    </a:lnTo>
                    <a:cubicBezTo>
                      <a:pt x="67412" y="239256"/>
                      <a:pt x="78875" y="259998"/>
                      <a:pt x="96343" y="277465"/>
                    </a:cubicBezTo>
                    <a:lnTo>
                      <a:pt x="82150" y="302575"/>
                    </a:lnTo>
                    <a:cubicBezTo>
                      <a:pt x="76692" y="312400"/>
                      <a:pt x="79967" y="324409"/>
                      <a:pt x="89792" y="330413"/>
                    </a:cubicBezTo>
                    <a:lnTo>
                      <a:pt x="117630" y="346243"/>
                    </a:lnTo>
                    <a:cubicBezTo>
                      <a:pt x="127456" y="351701"/>
                      <a:pt x="139464" y="348426"/>
                      <a:pt x="145469" y="338601"/>
                    </a:cubicBezTo>
                    <a:lnTo>
                      <a:pt x="160207" y="313492"/>
                    </a:lnTo>
                    <a:cubicBezTo>
                      <a:pt x="183132" y="319496"/>
                      <a:pt x="207696" y="319496"/>
                      <a:pt x="230622" y="313492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1" name="Freihandform: Form 69">
                <a:extLst>
                  <a:ext uri="{FF2B5EF4-FFF2-40B4-BE49-F238E27FC236}">
                    <a16:creationId xmlns:a16="http://schemas.microsoft.com/office/drawing/2014/main" id="{E6955055-7556-2D8E-864C-726CF1186A29}"/>
                  </a:ext>
                </a:extLst>
              </p:cNvPr>
              <p:cNvSpPr/>
              <p:nvPr/>
            </p:nvSpPr>
            <p:spPr bwMode="gray">
              <a:xfrm>
                <a:off x="9950775" y="7309727"/>
                <a:ext cx="294759" cy="283842"/>
              </a:xfrm>
              <a:custGeom>
                <a:avLst/>
                <a:gdLst>
                  <a:gd name="connsiteX0" fmla="*/ 251396 w 294759"/>
                  <a:gd name="connsiteY0" fmla="*/ 162354 h 283842"/>
                  <a:gd name="connsiteX1" fmla="*/ 273230 w 294759"/>
                  <a:gd name="connsiteY1" fmla="*/ 160716 h 283842"/>
                  <a:gd name="connsiteX2" fmla="*/ 287422 w 294759"/>
                  <a:gd name="connsiteY2" fmla="*/ 144341 h 283842"/>
                  <a:gd name="connsiteX3" fmla="*/ 285785 w 294759"/>
                  <a:gd name="connsiteY3" fmla="*/ 120324 h 283842"/>
                  <a:gd name="connsiteX4" fmla="*/ 269409 w 294759"/>
                  <a:gd name="connsiteY4" fmla="*/ 106131 h 283842"/>
                  <a:gd name="connsiteX5" fmla="*/ 247575 w 294759"/>
                  <a:gd name="connsiteY5" fmla="*/ 107769 h 283842"/>
                  <a:gd name="connsiteX6" fmla="*/ 217553 w 294759"/>
                  <a:gd name="connsiteY6" fmla="*/ 64101 h 283842"/>
                  <a:gd name="connsiteX7" fmla="*/ 226833 w 294759"/>
                  <a:gd name="connsiteY7" fmla="*/ 44450 h 283842"/>
                  <a:gd name="connsiteX8" fmla="*/ 219736 w 294759"/>
                  <a:gd name="connsiteY8" fmla="*/ 24254 h 283842"/>
                  <a:gd name="connsiteX9" fmla="*/ 197902 w 294759"/>
                  <a:gd name="connsiteY9" fmla="*/ 13883 h 283842"/>
                  <a:gd name="connsiteX10" fmla="*/ 177706 w 294759"/>
                  <a:gd name="connsiteY10" fmla="*/ 20979 h 283842"/>
                  <a:gd name="connsiteX11" fmla="*/ 168427 w 294759"/>
                  <a:gd name="connsiteY11" fmla="*/ 40629 h 283842"/>
                  <a:gd name="connsiteX12" fmla="*/ 116025 w 294759"/>
                  <a:gd name="connsiteY12" fmla="*/ 44450 h 283842"/>
                  <a:gd name="connsiteX13" fmla="*/ 103471 w 294759"/>
                  <a:gd name="connsiteY13" fmla="*/ 26437 h 283842"/>
                  <a:gd name="connsiteX14" fmla="*/ 82182 w 294759"/>
                  <a:gd name="connsiteY14" fmla="*/ 22616 h 283842"/>
                  <a:gd name="connsiteX15" fmla="*/ 62532 w 294759"/>
                  <a:gd name="connsiteY15" fmla="*/ 36262 h 283842"/>
                  <a:gd name="connsiteX16" fmla="*/ 58711 w 294759"/>
                  <a:gd name="connsiteY16" fmla="*/ 57551 h 283842"/>
                  <a:gd name="connsiteX17" fmla="*/ 71265 w 294759"/>
                  <a:gd name="connsiteY17" fmla="*/ 75564 h 283842"/>
                  <a:gd name="connsiteX18" fmla="*/ 48339 w 294759"/>
                  <a:gd name="connsiteY18" fmla="*/ 123053 h 283842"/>
                  <a:gd name="connsiteX19" fmla="*/ 26505 w 294759"/>
                  <a:gd name="connsiteY19" fmla="*/ 124690 h 283842"/>
                  <a:gd name="connsiteX20" fmla="*/ 12313 w 294759"/>
                  <a:gd name="connsiteY20" fmla="*/ 141066 h 283842"/>
                  <a:gd name="connsiteX21" fmla="*/ 13951 w 294759"/>
                  <a:gd name="connsiteY21" fmla="*/ 165083 h 283842"/>
                  <a:gd name="connsiteX22" fmla="*/ 30326 w 294759"/>
                  <a:gd name="connsiteY22" fmla="*/ 179275 h 283842"/>
                  <a:gd name="connsiteX23" fmla="*/ 52160 w 294759"/>
                  <a:gd name="connsiteY23" fmla="*/ 177638 h 283842"/>
                  <a:gd name="connsiteX24" fmla="*/ 82182 w 294759"/>
                  <a:gd name="connsiteY24" fmla="*/ 221306 h 283842"/>
                  <a:gd name="connsiteX25" fmla="*/ 72903 w 294759"/>
                  <a:gd name="connsiteY25" fmla="*/ 240956 h 283842"/>
                  <a:gd name="connsiteX26" fmla="*/ 79999 w 294759"/>
                  <a:gd name="connsiteY26" fmla="*/ 261153 h 283842"/>
                  <a:gd name="connsiteX27" fmla="*/ 101833 w 294759"/>
                  <a:gd name="connsiteY27" fmla="*/ 271524 h 283842"/>
                  <a:gd name="connsiteX28" fmla="*/ 122029 w 294759"/>
                  <a:gd name="connsiteY28" fmla="*/ 264428 h 283842"/>
                  <a:gd name="connsiteX29" fmla="*/ 131309 w 294759"/>
                  <a:gd name="connsiteY29" fmla="*/ 244777 h 283842"/>
                  <a:gd name="connsiteX30" fmla="*/ 183710 w 294759"/>
                  <a:gd name="connsiteY30" fmla="*/ 240956 h 283842"/>
                  <a:gd name="connsiteX31" fmla="*/ 196265 w 294759"/>
                  <a:gd name="connsiteY31" fmla="*/ 258970 h 283842"/>
                  <a:gd name="connsiteX32" fmla="*/ 217553 w 294759"/>
                  <a:gd name="connsiteY32" fmla="*/ 262790 h 283842"/>
                  <a:gd name="connsiteX33" fmla="*/ 237204 w 294759"/>
                  <a:gd name="connsiteY33" fmla="*/ 249144 h 283842"/>
                  <a:gd name="connsiteX34" fmla="*/ 241025 w 294759"/>
                  <a:gd name="connsiteY34" fmla="*/ 227856 h 283842"/>
                  <a:gd name="connsiteX35" fmla="*/ 228471 w 294759"/>
                  <a:gd name="connsiteY35" fmla="*/ 209843 h 283842"/>
                  <a:gd name="connsiteX36" fmla="*/ 251396 w 294759"/>
                  <a:gd name="connsiteY36" fmla="*/ 162354 h 283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94759" h="283842">
                    <a:moveTo>
                      <a:pt x="251396" y="162354"/>
                    </a:moveTo>
                    <a:lnTo>
                      <a:pt x="273230" y="160716"/>
                    </a:lnTo>
                    <a:cubicBezTo>
                      <a:pt x="281418" y="160171"/>
                      <a:pt x="287968" y="152529"/>
                      <a:pt x="287422" y="144341"/>
                    </a:cubicBezTo>
                    <a:lnTo>
                      <a:pt x="285785" y="120324"/>
                    </a:lnTo>
                    <a:cubicBezTo>
                      <a:pt x="285238" y="112136"/>
                      <a:pt x="277597" y="105585"/>
                      <a:pt x="269409" y="106131"/>
                    </a:cubicBezTo>
                    <a:lnTo>
                      <a:pt x="247575" y="107769"/>
                    </a:lnTo>
                    <a:cubicBezTo>
                      <a:pt x="241570" y="90302"/>
                      <a:pt x="230653" y="75564"/>
                      <a:pt x="217553" y="64101"/>
                    </a:cubicBezTo>
                    <a:lnTo>
                      <a:pt x="226833" y="44450"/>
                    </a:lnTo>
                    <a:cubicBezTo>
                      <a:pt x="230653" y="36808"/>
                      <a:pt x="227378" y="28075"/>
                      <a:pt x="219736" y="24254"/>
                    </a:cubicBezTo>
                    <a:lnTo>
                      <a:pt x="197902" y="13883"/>
                    </a:lnTo>
                    <a:cubicBezTo>
                      <a:pt x="190261" y="10062"/>
                      <a:pt x="181527" y="13337"/>
                      <a:pt x="177706" y="20979"/>
                    </a:cubicBezTo>
                    <a:lnTo>
                      <a:pt x="168427" y="40629"/>
                    </a:lnTo>
                    <a:cubicBezTo>
                      <a:pt x="151505" y="37354"/>
                      <a:pt x="133492" y="38446"/>
                      <a:pt x="116025" y="44450"/>
                    </a:cubicBezTo>
                    <a:lnTo>
                      <a:pt x="103471" y="26437"/>
                    </a:lnTo>
                    <a:cubicBezTo>
                      <a:pt x="98558" y="19341"/>
                      <a:pt x="89278" y="17703"/>
                      <a:pt x="82182" y="22616"/>
                    </a:cubicBezTo>
                    <a:lnTo>
                      <a:pt x="62532" y="36262"/>
                    </a:lnTo>
                    <a:cubicBezTo>
                      <a:pt x="55435" y="41175"/>
                      <a:pt x="53798" y="50455"/>
                      <a:pt x="58711" y="57551"/>
                    </a:cubicBezTo>
                    <a:lnTo>
                      <a:pt x="71265" y="75564"/>
                    </a:lnTo>
                    <a:cubicBezTo>
                      <a:pt x="59803" y="89210"/>
                      <a:pt x="52160" y="105585"/>
                      <a:pt x="48339" y="123053"/>
                    </a:cubicBezTo>
                    <a:lnTo>
                      <a:pt x="26505" y="124690"/>
                    </a:lnTo>
                    <a:cubicBezTo>
                      <a:pt x="18318" y="125236"/>
                      <a:pt x="11767" y="132878"/>
                      <a:pt x="12313" y="141066"/>
                    </a:cubicBezTo>
                    <a:lnTo>
                      <a:pt x="13951" y="165083"/>
                    </a:lnTo>
                    <a:cubicBezTo>
                      <a:pt x="14497" y="173271"/>
                      <a:pt x="22139" y="179821"/>
                      <a:pt x="30326" y="179275"/>
                    </a:cubicBezTo>
                    <a:lnTo>
                      <a:pt x="52160" y="177638"/>
                    </a:lnTo>
                    <a:cubicBezTo>
                      <a:pt x="58165" y="195105"/>
                      <a:pt x="69082" y="209843"/>
                      <a:pt x="82182" y="221306"/>
                    </a:cubicBezTo>
                    <a:lnTo>
                      <a:pt x="72903" y="240956"/>
                    </a:lnTo>
                    <a:cubicBezTo>
                      <a:pt x="69082" y="248598"/>
                      <a:pt x="72357" y="257332"/>
                      <a:pt x="79999" y="261153"/>
                    </a:cubicBezTo>
                    <a:lnTo>
                      <a:pt x="101833" y="271524"/>
                    </a:lnTo>
                    <a:cubicBezTo>
                      <a:pt x="109475" y="275345"/>
                      <a:pt x="118208" y="272070"/>
                      <a:pt x="122029" y="264428"/>
                    </a:cubicBezTo>
                    <a:lnTo>
                      <a:pt x="131309" y="244777"/>
                    </a:lnTo>
                    <a:cubicBezTo>
                      <a:pt x="148230" y="248053"/>
                      <a:pt x="166243" y="246961"/>
                      <a:pt x="183710" y="240956"/>
                    </a:cubicBezTo>
                    <a:lnTo>
                      <a:pt x="196265" y="258970"/>
                    </a:lnTo>
                    <a:cubicBezTo>
                      <a:pt x="201178" y="266066"/>
                      <a:pt x="210457" y="267703"/>
                      <a:pt x="217553" y="262790"/>
                    </a:cubicBezTo>
                    <a:lnTo>
                      <a:pt x="237204" y="249144"/>
                    </a:lnTo>
                    <a:cubicBezTo>
                      <a:pt x="244300" y="244232"/>
                      <a:pt x="245937" y="234952"/>
                      <a:pt x="241025" y="227856"/>
                    </a:cubicBezTo>
                    <a:lnTo>
                      <a:pt x="228471" y="209843"/>
                    </a:lnTo>
                    <a:cubicBezTo>
                      <a:pt x="239933" y="196197"/>
                      <a:pt x="248121" y="179821"/>
                      <a:pt x="251396" y="162354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2" name="Freihandform: Form 70">
                <a:extLst>
                  <a:ext uri="{FF2B5EF4-FFF2-40B4-BE49-F238E27FC236}">
                    <a16:creationId xmlns:a16="http://schemas.microsoft.com/office/drawing/2014/main" id="{771509DF-D629-194E-B879-AA91EB43448D}"/>
                  </a:ext>
                </a:extLst>
              </p:cNvPr>
              <p:cNvSpPr/>
              <p:nvPr/>
            </p:nvSpPr>
            <p:spPr bwMode="gray">
              <a:xfrm>
                <a:off x="10048514" y="7400847"/>
                <a:ext cx="98253" cy="98253"/>
              </a:xfrm>
              <a:custGeom>
                <a:avLst/>
                <a:gdLst>
                  <a:gd name="connsiteX0" fmla="*/ 90884 w 98253"/>
                  <a:gd name="connsiteY0" fmla="*/ 51583 h 98253"/>
                  <a:gd name="connsiteX1" fmla="*/ 51583 w 98253"/>
                  <a:gd name="connsiteY1" fmla="*/ 12282 h 98253"/>
                  <a:gd name="connsiteX2" fmla="*/ 12282 w 98253"/>
                  <a:gd name="connsiteY2" fmla="*/ 51583 h 98253"/>
                  <a:gd name="connsiteX3" fmla="*/ 51583 w 98253"/>
                  <a:gd name="connsiteY3" fmla="*/ 90884 h 98253"/>
                  <a:gd name="connsiteX4" fmla="*/ 90884 w 98253"/>
                  <a:gd name="connsiteY4" fmla="*/ 51583 h 9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253" h="98253">
                    <a:moveTo>
                      <a:pt x="90884" y="51583"/>
                    </a:moveTo>
                    <a:cubicBezTo>
                      <a:pt x="90884" y="29749"/>
                      <a:pt x="73417" y="12282"/>
                      <a:pt x="51583" y="12282"/>
                    </a:cubicBezTo>
                    <a:cubicBezTo>
                      <a:pt x="29749" y="12282"/>
                      <a:pt x="12282" y="29749"/>
                      <a:pt x="12282" y="51583"/>
                    </a:cubicBezTo>
                    <a:cubicBezTo>
                      <a:pt x="12282" y="73417"/>
                      <a:pt x="29749" y="90884"/>
                      <a:pt x="51583" y="90884"/>
                    </a:cubicBezTo>
                    <a:cubicBezTo>
                      <a:pt x="73417" y="90884"/>
                      <a:pt x="90884" y="73417"/>
                      <a:pt x="90884" y="5158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3" name="Freihandform: Form 71">
                <a:extLst>
                  <a:ext uri="{FF2B5EF4-FFF2-40B4-BE49-F238E27FC236}">
                    <a16:creationId xmlns:a16="http://schemas.microsoft.com/office/drawing/2014/main" id="{6C435044-BB94-7DEC-6EBE-82A8F50D05D4}"/>
                  </a:ext>
                </a:extLst>
              </p:cNvPr>
              <p:cNvSpPr/>
              <p:nvPr/>
            </p:nvSpPr>
            <p:spPr bwMode="gray">
              <a:xfrm>
                <a:off x="10047416" y="7835880"/>
                <a:ext cx="98253" cy="98252"/>
              </a:xfrm>
              <a:custGeom>
                <a:avLst/>
                <a:gdLst>
                  <a:gd name="connsiteX0" fmla="*/ 90884 w 98253"/>
                  <a:gd name="connsiteY0" fmla="*/ 51583 h 98253"/>
                  <a:gd name="connsiteX1" fmla="*/ 51583 w 98253"/>
                  <a:gd name="connsiteY1" fmla="*/ 90884 h 98253"/>
                  <a:gd name="connsiteX2" fmla="*/ 12282 w 98253"/>
                  <a:gd name="connsiteY2" fmla="*/ 51583 h 98253"/>
                  <a:gd name="connsiteX3" fmla="*/ 51583 w 98253"/>
                  <a:gd name="connsiteY3" fmla="*/ 12282 h 98253"/>
                  <a:gd name="connsiteX4" fmla="*/ 90884 w 98253"/>
                  <a:gd name="connsiteY4" fmla="*/ 51583 h 9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253" h="98253">
                    <a:moveTo>
                      <a:pt x="90884" y="51583"/>
                    </a:moveTo>
                    <a:cubicBezTo>
                      <a:pt x="90884" y="73288"/>
                      <a:pt x="73289" y="90884"/>
                      <a:pt x="51583" y="90884"/>
                    </a:cubicBezTo>
                    <a:cubicBezTo>
                      <a:pt x="29878" y="90884"/>
                      <a:pt x="12282" y="73288"/>
                      <a:pt x="12282" y="51583"/>
                    </a:cubicBezTo>
                    <a:cubicBezTo>
                      <a:pt x="12282" y="29877"/>
                      <a:pt x="29878" y="12282"/>
                      <a:pt x="51583" y="12282"/>
                    </a:cubicBezTo>
                    <a:cubicBezTo>
                      <a:pt x="73289" y="12282"/>
                      <a:pt x="90884" y="29877"/>
                      <a:pt x="90884" y="5158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4" name="Freihandform: Form 72">
                <a:extLst>
                  <a:ext uri="{FF2B5EF4-FFF2-40B4-BE49-F238E27FC236}">
                    <a16:creationId xmlns:a16="http://schemas.microsoft.com/office/drawing/2014/main" id="{F35CB20C-8105-5ABF-2A0A-2C6AEDB573DC}"/>
                  </a:ext>
                </a:extLst>
              </p:cNvPr>
              <p:cNvSpPr/>
              <p:nvPr/>
            </p:nvSpPr>
            <p:spPr bwMode="gray">
              <a:xfrm>
                <a:off x="10304648" y="7621507"/>
                <a:ext cx="92795" cy="92795"/>
              </a:xfrm>
              <a:custGeom>
                <a:avLst/>
                <a:gdLst>
                  <a:gd name="connsiteX0" fmla="*/ 72189 w 92794"/>
                  <a:gd name="connsiteY0" fmla="*/ 22516 h 92794"/>
                  <a:gd name="connsiteX1" fmla="*/ 22516 w 92794"/>
                  <a:gd name="connsiteY1" fmla="*/ 22516 h 92794"/>
                  <a:gd name="connsiteX2" fmla="*/ 22516 w 92794"/>
                  <a:gd name="connsiteY2" fmla="*/ 72189 h 92794"/>
                  <a:gd name="connsiteX3" fmla="*/ 72189 w 92794"/>
                  <a:gd name="connsiteY3" fmla="*/ 72189 h 92794"/>
                  <a:gd name="connsiteX4" fmla="*/ 72189 w 92794"/>
                  <a:gd name="connsiteY4" fmla="*/ 22516 h 92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794" h="92794">
                    <a:moveTo>
                      <a:pt x="72189" y="22516"/>
                    </a:moveTo>
                    <a:cubicBezTo>
                      <a:pt x="58542" y="8870"/>
                      <a:pt x="36163" y="8870"/>
                      <a:pt x="22516" y="22516"/>
                    </a:cubicBezTo>
                    <a:cubicBezTo>
                      <a:pt x="8870" y="36163"/>
                      <a:pt x="8870" y="58543"/>
                      <a:pt x="22516" y="72189"/>
                    </a:cubicBezTo>
                    <a:cubicBezTo>
                      <a:pt x="36163" y="85835"/>
                      <a:pt x="58542" y="85835"/>
                      <a:pt x="72189" y="72189"/>
                    </a:cubicBezTo>
                    <a:cubicBezTo>
                      <a:pt x="85835" y="58543"/>
                      <a:pt x="85835" y="36163"/>
                      <a:pt x="72189" y="22516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1" name="Gruppieren 73">
              <a:extLst>
                <a:ext uri="{FF2B5EF4-FFF2-40B4-BE49-F238E27FC236}">
                  <a16:creationId xmlns:a16="http://schemas.microsoft.com/office/drawing/2014/main" id="{ABB9B36C-3783-A318-6B73-FAA9D6335EDF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1089361" y="1658945"/>
              <a:ext cx="409880" cy="419491"/>
              <a:chOff x="9963221" y="4066766"/>
              <a:chExt cx="630632" cy="645417"/>
            </a:xfrm>
          </p:grpSpPr>
          <p:sp>
            <p:nvSpPr>
              <p:cNvPr id="116" name="Freihandform: Form 74">
                <a:extLst>
                  <a:ext uri="{FF2B5EF4-FFF2-40B4-BE49-F238E27FC236}">
                    <a16:creationId xmlns:a16="http://schemas.microsoft.com/office/drawing/2014/main" id="{54D0EA2A-2430-277B-440F-CA1A7A33ABAC}"/>
                  </a:ext>
                </a:extLst>
              </p:cNvPr>
              <p:cNvSpPr/>
              <p:nvPr/>
            </p:nvSpPr>
            <p:spPr bwMode="gray">
              <a:xfrm>
                <a:off x="10292469" y="4184476"/>
                <a:ext cx="301384" cy="420801"/>
              </a:xfrm>
              <a:custGeom>
                <a:avLst/>
                <a:gdLst>
                  <a:gd name="connsiteX0" fmla="*/ 303601 w 431679"/>
                  <a:gd name="connsiteY0" fmla="*/ 15272 h 602722"/>
                  <a:gd name="connsiteX1" fmla="*/ 240885 w 431679"/>
                  <a:gd name="connsiteY1" fmla="*/ 77987 h 602722"/>
                  <a:gd name="connsiteX2" fmla="*/ 15272 w 431679"/>
                  <a:gd name="connsiteY2" fmla="*/ 303601 h 602722"/>
                  <a:gd name="connsiteX3" fmla="*/ 240885 w 431679"/>
                  <a:gd name="connsiteY3" fmla="*/ 529214 h 602722"/>
                  <a:gd name="connsiteX4" fmla="*/ 303601 w 431679"/>
                  <a:gd name="connsiteY4" fmla="*/ 591930 h 602722"/>
                  <a:gd name="connsiteX5" fmla="*/ 423331 w 431679"/>
                  <a:gd name="connsiteY5" fmla="*/ 303601 h 602722"/>
                  <a:gd name="connsiteX6" fmla="*/ 303601 w 431679"/>
                  <a:gd name="connsiteY6" fmla="*/ 15272 h 602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1679" h="602722">
                    <a:moveTo>
                      <a:pt x="303601" y="15272"/>
                    </a:moveTo>
                    <a:lnTo>
                      <a:pt x="240885" y="77987"/>
                    </a:lnTo>
                    <a:lnTo>
                      <a:pt x="15272" y="303601"/>
                    </a:lnTo>
                    <a:lnTo>
                      <a:pt x="240885" y="529214"/>
                    </a:lnTo>
                    <a:lnTo>
                      <a:pt x="303601" y="591930"/>
                    </a:lnTo>
                    <a:cubicBezTo>
                      <a:pt x="377719" y="517812"/>
                      <a:pt x="423331" y="416000"/>
                      <a:pt x="423331" y="303601"/>
                    </a:cubicBezTo>
                    <a:cubicBezTo>
                      <a:pt x="423331" y="190387"/>
                      <a:pt x="377719" y="88576"/>
                      <a:pt x="303601" y="15272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7" name="Freihandform: Form 75">
                <a:extLst>
                  <a:ext uri="{FF2B5EF4-FFF2-40B4-BE49-F238E27FC236}">
                    <a16:creationId xmlns:a16="http://schemas.microsoft.com/office/drawing/2014/main" id="{D662DE44-7957-F1BE-EDA5-0523BBB32430}"/>
                  </a:ext>
                </a:extLst>
              </p:cNvPr>
              <p:cNvSpPr/>
              <p:nvPr/>
            </p:nvSpPr>
            <p:spPr bwMode="gray">
              <a:xfrm>
                <a:off x="10258918" y="4066766"/>
                <a:ext cx="221774" cy="301384"/>
              </a:xfrm>
              <a:custGeom>
                <a:avLst/>
                <a:gdLst>
                  <a:gd name="connsiteX0" fmla="*/ 303601 w 317650"/>
                  <a:gd name="connsiteY0" fmla="*/ 135002 h 431679"/>
                  <a:gd name="connsiteX1" fmla="*/ 15272 w 317650"/>
                  <a:gd name="connsiteY1" fmla="*/ 15272 h 431679"/>
                  <a:gd name="connsiteX2" fmla="*/ 15272 w 317650"/>
                  <a:gd name="connsiteY2" fmla="*/ 422516 h 431679"/>
                  <a:gd name="connsiteX3" fmla="*/ 303601 w 317650"/>
                  <a:gd name="connsiteY3" fmla="*/ 135002 h 431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7650" h="431679">
                    <a:moveTo>
                      <a:pt x="303601" y="135002"/>
                    </a:moveTo>
                    <a:cubicBezTo>
                      <a:pt x="229482" y="60883"/>
                      <a:pt x="127671" y="15272"/>
                      <a:pt x="15272" y="15272"/>
                    </a:cubicBezTo>
                    <a:lnTo>
                      <a:pt x="15272" y="422516"/>
                    </a:lnTo>
                    <a:lnTo>
                      <a:pt x="303601" y="13500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8" name="Freihandform: Form 76">
                <a:extLst>
                  <a:ext uri="{FF2B5EF4-FFF2-40B4-BE49-F238E27FC236}">
                    <a16:creationId xmlns:a16="http://schemas.microsoft.com/office/drawing/2014/main" id="{8F7A7D56-F659-F905-65F8-7F950691FD32}"/>
                  </a:ext>
                </a:extLst>
              </p:cNvPr>
              <p:cNvSpPr/>
              <p:nvPr/>
            </p:nvSpPr>
            <p:spPr bwMode="gray">
              <a:xfrm>
                <a:off x="10057617" y="4067334"/>
                <a:ext cx="221774" cy="301384"/>
              </a:xfrm>
              <a:custGeom>
                <a:avLst/>
                <a:gdLst>
                  <a:gd name="connsiteX0" fmla="*/ 303601 w 317650"/>
                  <a:gd name="connsiteY0" fmla="*/ 15272 h 431679"/>
                  <a:gd name="connsiteX1" fmla="*/ 15272 w 317650"/>
                  <a:gd name="connsiteY1" fmla="*/ 135002 h 431679"/>
                  <a:gd name="connsiteX2" fmla="*/ 303601 w 317650"/>
                  <a:gd name="connsiteY2" fmla="*/ 422516 h 431679"/>
                  <a:gd name="connsiteX3" fmla="*/ 303601 w 317650"/>
                  <a:gd name="connsiteY3" fmla="*/ 15272 h 431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7650" h="431679">
                    <a:moveTo>
                      <a:pt x="303601" y="15272"/>
                    </a:moveTo>
                    <a:cubicBezTo>
                      <a:pt x="191202" y="15272"/>
                      <a:pt x="89390" y="60883"/>
                      <a:pt x="15272" y="135002"/>
                    </a:cubicBezTo>
                    <a:lnTo>
                      <a:pt x="303601" y="422516"/>
                    </a:lnTo>
                    <a:lnTo>
                      <a:pt x="303601" y="152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9" name="Freihandform: Form 77">
                <a:extLst>
                  <a:ext uri="{FF2B5EF4-FFF2-40B4-BE49-F238E27FC236}">
                    <a16:creationId xmlns:a16="http://schemas.microsoft.com/office/drawing/2014/main" id="{64987D8D-2DAE-6CBA-F404-A2C960CF20A5}"/>
                  </a:ext>
                </a:extLst>
              </p:cNvPr>
              <p:cNvSpPr/>
              <p:nvPr/>
            </p:nvSpPr>
            <p:spPr bwMode="gray">
              <a:xfrm>
                <a:off x="9963221" y="4206085"/>
                <a:ext cx="506098" cy="506098"/>
              </a:xfrm>
              <a:custGeom>
                <a:avLst/>
                <a:gdLst>
                  <a:gd name="connsiteX0" fmla="*/ 135002 w 724895"/>
                  <a:gd name="connsiteY0" fmla="*/ 15272 h 724895"/>
                  <a:gd name="connsiteX1" fmla="*/ 15272 w 724895"/>
                  <a:gd name="connsiteY1" fmla="*/ 303601 h 724895"/>
                  <a:gd name="connsiteX2" fmla="*/ 422516 w 724895"/>
                  <a:gd name="connsiteY2" fmla="*/ 710846 h 724895"/>
                  <a:gd name="connsiteX3" fmla="*/ 710845 w 724895"/>
                  <a:gd name="connsiteY3" fmla="*/ 591116 h 724895"/>
                  <a:gd name="connsiteX4" fmla="*/ 422516 w 724895"/>
                  <a:gd name="connsiteY4" fmla="*/ 302786 h 724895"/>
                  <a:gd name="connsiteX5" fmla="*/ 135002 w 724895"/>
                  <a:gd name="connsiteY5" fmla="*/ 15272 h 72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24895" h="724895">
                    <a:moveTo>
                      <a:pt x="135002" y="15272"/>
                    </a:moveTo>
                    <a:cubicBezTo>
                      <a:pt x="60883" y="89390"/>
                      <a:pt x="15272" y="191201"/>
                      <a:pt x="15272" y="303601"/>
                    </a:cubicBezTo>
                    <a:cubicBezTo>
                      <a:pt x="15272" y="528400"/>
                      <a:pt x="197717" y="710846"/>
                      <a:pt x="422516" y="710846"/>
                    </a:cubicBezTo>
                    <a:cubicBezTo>
                      <a:pt x="534916" y="710846"/>
                      <a:pt x="636727" y="665234"/>
                      <a:pt x="710845" y="591116"/>
                    </a:cubicBezTo>
                    <a:lnTo>
                      <a:pt x="422516" y="302786"/>
                    </a:lnTo>
                    <a:lnTo>
                      <a:pt x="135002" y="152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2" name="Gruppieren 113">
              <a:extLst>
                <a:ext uri="{FF2B5EF4-FFF2-40B4-BE49-F238E27FC236}">
                  <a16:creationId xmlns:a16="http://schemas.microsoft.com/office/drawing/2014/main" id="{D9242F86-0DB3-5217-BC8F-CBA94D8F08D3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804295" y="1648614"/>
              <a:ext cx="459493" cy="260893"/>
              <a:chOff x="1806086" y="4262696"/>
              <a:chExt cx="785404" cy="445939"/>
            </a:xfrm>
          </p:grpSpPr>
          <p:sp>
            <p:nvSpPr>
              <p:cNvPr id="101" name="Freihandform: Form 114">
                <a:extLst>
                  <a:ext uri="{FF2B5EF4-FFF2-40B4-BE49-F238E27FC236}">
                    <a16:creationId xmlns:a16="http://schemas.microsoft.com/office/drawing/2014/main" id="{06B9728C-DCDE-F931-F36B-43869ACD66AE}"/>
                  </a:ext>
                </a:extLst>
              </p:cNvPr>
              <p:cNvSpPr/>
              <p:nvPr/>
            </p:nvSpPr>
            <p:spPr bwMode="gray">
              <a:xfrm>
                <a:off x="2101573" y="4373664"/>
                <a:ext cx="292270" cy="163671"/>
              </a:xfrm>
              <a:custGeom>
                <a:avLst/>
                <a:gdLst>
                  <a:gd name="connsiteX0" fmla="*/ 282330 w 293320"/>
                  <a:gd name="connsiteY0" fmla="*/ 132794 h 164259"/>
                  <a:gd name="connsiteX1" fmla="*/ 129017 w 293320"/>
                  <a:gd name="connsiteY1" fmla="*/ 94633 h 164259"/>
                  <a:gd name="connsiteX2" fmla="*/ 75768 w 293320"/>
                  <a:gd name="connsiteY2" fmla="*/ 96059 h 164259"/>
                  <a:gd name="connsiteX3" fmla="*/ 22014 w 293320"/>
                  <a:gd name="connsiteY3" fmla="*/ 125320 h 164259"/>
                  <a:gd name="connsiteX4" fmla="*/ 13894 w 293320"/>
                  <a:gd name="connsiteY4" fmla="*/ 106213 h 164259"/>
                  <a:gd name="connsiteX5" fmla="*/ 24372 w 293320"/>
                  <a:gd name="connsiteY5" fmla="*/ 70246 h 164259"/>
                  <a:gd name="connsiteX6" fmla="*/ 55347 w 293320"/>
                  <a:gd name="connsiteY6" fmla="*/ 34931 h 164259"/>
                  <a:gd name="connsiteX7" fmla="*/ 94957 w 293320"/>
                  <a:gd name="connsiteY7" fmla="*/ 17495 h 164259"/>
                  <a:gd name="connsiteX8" fmla="*/ 139670 w 293320"/>
                  <a:gd name="connsiteY8" fmla="*/ 16252 h 164259"/>
                  <a:gd name="connsiteX9" fmla="*/ 242931 w 293320"/>
                  <a:gd name="connsiteY9" fmla="*/ 40703 h 164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3320" h="164259">
                    <a:moveTo>
                      <a:pt x="282330" y="132794"/>
                    </a:moveTo>
                    <a:cubicBezTo>
                      <a:pt x="194522" y="191746"/>
                      <a:pt x="129017" y="94633"/>
                      <a:pt x="129017" y="94633"/>
                    </a:cubicBezTo>
                    <a:cubicBezTo>
                      <a:pt x="97978" y="52201"/>
                      <a:pt x="75768" y="96059"/>
                      <a:pt x="75768" y="96059"/>
                    </a:cubicBezTo>
                    <a:cubicBezTo>
                      <a:pt x="59435" y="135733"/>
                      <a:pt x="35894" y="132131"/>
                      <a:pt x="22014" y="125320"/>
                    </a:cubicBezTo>
                    <a:cubicBezTo>
                      <a:pt x="15044" y="121747"/>
                      <a:pt x="11630" y="113705"/>
                      <a:pt x="13894" y="106213"/>
                    </a:cubicBezTo>
                    <a:lnTo>
                      <a:pt x="24372" y="70246"/>
                    </a:lnTo>
                    <a:cubicBezTo>
                      <a:pt x="28965" y="54477"/>
                      <a:pt x="40305" y="41542"/>
                      <a:pt x="55347" y="34931"/>
                    </a:cubicBezTo>
                    <a:lnTo>
                      <a:pt x="94957" y="17495"/>
                    </a:lnTo>
                    <a:cubicBezTo>
                      <a:pt x="109124" y="11265"/>
                      <a:pt x="122183" y="12685"/>
                      <a:pt x="139670" y="16252"/>
                    </a:cubicBezTo>
                    <a:lnTo>
                      <a:pt x="242931" y="40703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2" name="Freihandform: Form 115">
                <a:extLst>
                  <a:ext uri="{FF2B5EF4-FFF2-40B4-BE49-F238E27FC236}">
                    <a16:creationId xmlns:a16="http://schemas.microsoft.com/office/drawing/2014/main" id="{78AF550E-8476-375B-CD17-4B44F7184322}"/>
                  </a:ext>
                </a:extLst>
              </p:cNvPr>
              <p:cNvSpPr/>
              <p:nvPr/>
            </p:nvSpPr>
            <p:spPr bwMode="gray">
              <a:xfrm>
                <a:off x="2281258" y="4492830"/>
                <a:ext cx="134444" cy="93527"/>
              </a:xfrm>
              <a:custGeom>
                <a:avLst/>
                <a:gdLst>
                  <a:gd name="connsiteX0" fmla="*/ 123805 w 134927"/>
                  <a:gd name="connsiteY0" fmla="*/ 64179 h 93862"/>
                  <a:gd name="connsiteX1" fmla="*/ 55801 w 134927"/>
                  <a:gd name="connsiteY1" fmla="*/ 85791 h 93862"/>
                  <a:gd name="connsiteX2" fmla="*/ 13199 w 134927"/>
                  <a:gd name="connsiteY2" fmla="*/ 26423 h 93862"/>
                  <a:gd name="connsiteX3" fmla="*/ 101999 w 134927"/>
                  <a:gd name="connsiteY3" fmla="*/ 13199 h 93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927" h="93862">
                    <a:moveTo>
                      <a:pt x="123805" y="64179"/>
                    </a:moveTo>
                    <a:lnTo>
                      <a:pt x="55801" y="85791"/>
                    </a:lnTo>
                    <a:lnTo>
                      <a:pt x="13199" y="26423"/>
                    </a:lnTo>
                    <a:cubicBezTo>
                      <a:pt x="13199" y="26423"/>
                      <a:pt x="62935" y="47019"/>
                      <a:pt x="101999" y="13199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3" name="Freihandform: Form 116">
                <a:extLst>
                  <a:ext uri="{FF2B5EF4-FFF2-40B4-BE49-F238E27FC236}">
                    <a16:creationId xmlns:a16="http://schemas.microsoft.com/office/drawing/2014/main" id="{5569A2BB-C379-D6F8-A6C7-050C48D329F1}"/>
                  </a:ext>
                </a:extLst>
              </p:cNvPr>
              <p:cNvSpPr/>
              <p:nvPr/>
            </p:nvSpPr>
            <p:spPr bwMode="gray">
              <a:xfrm>
                <a:off x="1806086" y="4262696"/>
                <a:ext cx="192898" cy="356569"/>
              </a:xfrm>
              <a:custGeom>
                <a:avLst/>
                <a:gdLst>
                  <a:gd name="connsiteX0" fmla="*/ 13199 w 193591"/>
                  <a:gd name="connsiteY0" fmla="*/ 13199 h 357851"/>
                  <a:gd name="connsiteX1" fmla="*/ 13199 w 193591"/>
                  <a:gd name="connsiteY1" fmla="*/ 321908 h 357851"/>
                  <a:gd name="connsiteX2" fmla="*/ 73577 w 193591"/>
                  <a:gd name="connsiteY2" fmla="*/ 345825 h 357851"/>
                  <a:gd name="connsiteX3" fmla="*/ 181794 w 193591"/>
                  <a:gd name="connsiteY3" fmla="*/ 81549 h 357851"/>
                  <a:gd name="connsiteX4" fmla="*/ 13199 w 193591"/>
                  <a:gd name="connsiteY4" fmla="*/ 13199 h 357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591" h="357851">
                    <a:moveTo>
                      <a:pt x="13199" y="13199"/>
                    </a:moveTo>
                    <a:lnTo>
                      <a:pt x="13199" y="321908"/>
                    </a:lnTo>
                    <a:lnTo>
                      <a:pt x="73577" y="345825"/>
                    </a:lnTo>
                    <a:lnTo>
                      <a:pt x="181794" y="81549"/>
                    </a:lnTo>
                    <a:lnTo>
                      <a:pt x="13199" y="13199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4" name="Freihandform: Form 117">
                <a:extLst>
                  <a:ext uri="{FF2B5EF4-FFF2-40B4-BE49-F238E27FC236}">
                    <a16:creationId xmlns:a16="http://schemas.microsoft.com/office/drawing/2014/main" id="{A3F5AB5A-43E9-E393-3160-DE7CF48BB2CC}"/>
                  </a:ext>
                </a:extLst>
              </p:cNvPr>
              <p:cNvSpPr/>
              <p:nvPr/>
            </p:nvSpPr>
            <p:spPr bwMode="gray">
              <a:xfrm>
                <a:off x="1898905" y="4352078"/>
                <a:ext cx="169516" cy="216279"/>
              </a:xfrm>
              <a:custGeom>
                <a:avLst/>
                <a:gdLst>
                  <a:gd name="connsiteX0" fmla="*/ 79895 w 170126"/>
                  <a:gd name="connsiteY0" fmla="*/ 13199 h 217057"/>
                  <a:gd name="connsiteX1" fmla="*/ 156991 w 170126"/>
                  <a:gd name="connsiteY1" fmla="*/ 45664 h 217057"/>
                  <a:gd name="connsiteX2" fmla="*/ 88642 w 170126"/>
                  <a:gd name="connsiteY2" fmla="*/ 205436 h 217057"/>
                  <a:gd name="connsiteX3" fmla="*/ 13199 w 170126"/>
                  <a:gd name="connsiteY3" fmla="*/ 176086 h 21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0126" h="217057">
                    <a:moveTo>
                      <a:pt x="79895" y="13199"/>
                    </a:moveTo>
                    <a:lnTo>
                      <a:pt x="156991" y="45664"/>
                    </a:lnTo>
                    <a:lnTo>
                      <a:pt x="88642" y="205436"/>
                    </a:lnTo>
                    <a:lnTo>
                      <a:pt x="13199" y="17608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5" name="Freihandform: Form 118">
                <a:extLst>
                  <a:ext uri="{FF2B5EF4-FFF2-40B4-BE49-F238E27FC236}">
                    <a16:creationId xmlns:a16="http://schemas.microsoft.com/office/drawing/2014/main" id="{9EA39D7F-F7D7-CCCF-50F3-F09C06ADAFBC}"/>
                  </a:ext>
                </a:extLst>
              </p:cNvPr>
              <p:cNvSpPr/>
              <p:nvPr/>
            </p:nvSpPr>
            <p:spPr bwMode="gray">
              <a:xfrm>
                <a:off x="2398592" y="4279337"/>
                <a:ext cx="192898" cy="356569"/>
              </a:xfrm>
              <a:custGeom>
                <a:avLst/>
                <a:gdLst>
                  <a:gd name="connsiteX0" fmla="*/ 181788 w 193591"/>
                  <a:gd name="connsiteY0" fmla="*/ 13199 h 357851"/>
                  <a:gd name="connsiteX1" fmla="*/ 181788 w 193591"/>
                  <a:gd name="connsiteY1" fmla="*/ 321908 h 357851"/>
                  <a:gd name="connsiteX2" fmla="*/ 121417 w 193591"/>
                  <a:gd name="connsiteY2" fmla="*/ 345825 h 357851"/>
                  <a:gd name="connsiteX3" fmla="*/ 13199 w 193591"/>
                  <a:gd name="connsiteY3" fmla="*/ 81543 h 357851"/>
                  <a:gd name="connsiteX4" fmla="*/ 181788 w 193591"/>
                  <a:gd name="connsiteY4" fmla="*/ 13199 h 357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591" h="357851">
                    <a:moveTo>
                      <a:pt x="181788" y="13199"/>
                    </a:moveTo>
                    <a:lnTo>
                      <a:pt x="181788" y="321908"/>
                    </a:lnTo>
                    <a:lnTo>
                      <a:pt x="121417" y="345825"/>
                    </a:lnTo>
                    <a:lnTo>
                      <a:pt x="13199" y="81543"/>
                    </a:lnTo>
                    <a:lnTo>
                      <a:pt x="181788" y="13199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6" name="Freihandform: Form 119">
                <a:extLst>
                  <a:ext uri="{FF2B5EF4-FFF2-40B4-BE49-F238E27FC236}">
                    <a16:creationId xmlns:a16="http://schemas.microsoft.com/office/drawing/2014/main" id="{96263BEA-84A6-4BCF-291B-7C05935D0CC6}"/>
                  </a:ext>
                </a:extLst>
              </p:cNvPr>
              <p:cNvSpPr/>
              <p:nvPr/>
            </p:nvSpPr>
            <p:spPr bwMode="gray">
              <a:xfrm>
                <a:off x="2330488" y="4368720"/>
                <a:ext cx="169516" cy="216279"/>
              </a:xfrm>
              <a:custGeom>
                <a:avLst/>
                <a:gdLst>
                  <a:gd name="connsiteX0" fmla="*/ 90290 w 170126"/>
                  <a:gd name="connsiteY0" fmla="*/ 13199 h 217057"/>
                  <a:gd name="connsiteX1" fmla="*/ 13199 w 170126"/>
                  <a:gd name="connsiteY1" fmla="*/ 45664 h 217057"/>
                  <a:gd name="connsiteX2" fmla="*/ 81549 w 170126"/>
                  <a:gd name="connsiteY2" fmla="*/ 205430 h 217057"/>
                  <a:gd name="connsiteX3" fmla="*/ 156991 w 170126"/>
                  <a:gd name="connsiteY3" fmla="*/ 176086 h 21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0126" h="217057">
                    <a:moveTo>
                      <a:pt x="90290" y="13199"/>
                    </a:moveTo>
                    <a:lnTo>
                      <a:pt x="13199" y="45664"/>
                    </a:lnTo>
                    <a:lnTo>
                      <a:pt x="81549" y="205430"/>
                    </a:lnTo>
                    <a:lnTo>
                      <a:pt x="156991" y="17608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7" name="Freihandform: Form 120">
                <a:extLst>
                  <a:ext uri="{FF2B5EF4-FFF2-40B4-BE49-F238E27FC236}">
                    <a16:creationId xmlns:a16="http://schemas.microsoft.com/office/drawing/2014/main" id="{AC88278D-9FDD-A6DF-E0BD-83990EAB7E49}"/>
                  </a:ext>
                </a:extLst>
              </p:cNvPr>
              <p:cNvSpPr/>
              <p:nvPr/>
            </p:nvSpPr>
            <p:spPr bwMode="gray">
              <a:xfrm>
                <a:off x="2218110" y="4505614"/>
                <a:ext cx="146134" cy="134444"/>
              </a:xfrm>
              <a:custGeom>
                <a:avLst/>
                <a:gdLst>
                  <a:gd name="connsiteX0" fmla="*/ 71523 w 146660"/>
                  <a:gd name="connsiteY0" fmla="*/ 13199 h 134927"/>
                  <a:gd name="connsiteX1" fmla="*/ 130158 w 146660"/>
                  <a:gd name="connsiteY1" fmla="*/ 86729 h 134927"/>
                  <a:gd name="connsiteX2" fmla="*/ 133531 w 146660"/>
                  <a:gd name="connsiteY2" fmla="*/ 106681 h 134927"/>
                  <a:gd name="connsiteX3" fmla="*/ 133531 w 146660"/>
                  <a:gd name="connsiteY3" fmla="*/ 106681 h 134927"/>
                  <a:gd name="connsiteX4" fmla="*/ 103143 w 146660"/>
                  <a:gd name="connsiteY4" fmla="*/ 121265 h 134927"/>
                  <a:gd name="connsiteX5" fmla="*/ 93698 w 146660"/>
                  <a:gd name="connsiteY5" fmla="*/ 115123 h 134927"/>
                  <a:gd name="connsiteX6" fmla="*/ 13199 w 146660"/>
                  <a:gd name="connsiteY6" fmla="*/ 29702 h 134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6660" h="134927">
                    <a:moveTo>
                      <a:pt x="71523" y="13199"/>
                    </a:moveTo>
                    <a:lnTo>
                      <a:pt x="130158" y="86729"/>
                    </a:lnTo>
                    <a:cubicBezTo>
                      <a:pt x="134646" y="92355"/>
                      <a:pt x="135919" y="99893"/>
                      <a:pt x="133531" y="106681"/>
                    </a:cubicBezTo>
                    <a:lnTo>
                      <a:pt x="133531" y="106681"/>
                    </a:lnTo>
                    <a:cubicBezTo>
                      <a:pt x="129167" y="119100"/>
                      <a:pt x="115563" y="125630"/>
                      <a:pt x="103143" y="121265"/>
                    </a:cubicBezTo>
                    <a:cubicBezTo>
                      <a:pt x="99547" y="119998"/>
                      <a:pt x="96309" y="117892"/>
                      <a:pt x="93698" y="115123"/>
                    </a:cubicBezTo>
                    <a:lnTo>
                      <a:pt x="13199" y="29702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8" name="Freihandform: Form 121">
                <a:extLst>
                  <a:ext uri="{FF2B5EF4-FFF2-40B4-BE49-F238E27FC236}">
                    <a16:creationId xmlns:a16="http://schemas.microsoft.com/office/drawing/2014/main" id="{D657D4CD-7877-2332-C90C-C9122C298631}"/>
                  </a:ext>
                </a:extLst>
              </p:cNvPr>
              <p:cNvSpPr/>
              <p:nvPr/>
            </p:nvSpPr>
            <p:spPr bwMode="gray">
              <a:xfrm>
                <a:off x="2182640" y="4562075"/>
                <a:ext cx="151980" cy="105217"/>
              </a:xfrm>
              <a:custGeom>
                <a:avLst/>
                <a:gdLst>
                  <a:gd name="connsiteX0" fmla="*/ 13199 w 152526"/>
                  <a:gd name="connsiteY0" fmla="*/ 13199 h 105595"/>
                  <a:gd name="connsiteX1" fmla="*/ 80945 w 152526"/>
                  <a:gd name="connsiteY1" fmla="*/ 84066 h 105595"/>
                  <a:gd name="connsiteX2" fmla="*/ 130539 w 152526"/>
                  <a:gd name="connsiteY2" fmla="*/ 85386 h 105595"/>
                  <a:gd name="connsiteX3" fmla="*/ 139679 w 152526"/>
                  <a:gd name="connsiteY3" fmla="*/ 71043 h 105595"/>
                  <a:gd name="connsiteX4" fmla="*/ 140043 w 152526"/>
                  <a:gd name="connsiteY4" fmla="*/ 69863 h 105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526" h="105595">
                    <a:moveTo>
                      <a:pt x="13199" y="13199"/>
                    </a:moveTo>
                    <a:lnTo>
                      <a:pt x="80945" y="84066"/>
                    </a:lnTo>
                    <a:cubicBezTo>
                      <a:pt x="94279" y="98127"/>
                      <a:pt x="116483" y="98714"/>
                      <a:pt x="130539" y="85386"/>
                    </a:cubicBezTo>
                    <a:cubicBezTo>
                      <a:pt x="134716" y="81426"/>
                      <a:pt x="137855" y="76504"/>
                      <a:pt x="139679" y="71043"/>
                    </a:cubicBezTo>
                    <a:cubicBezTo>
                      <a:pt x="139803" y="70655"/>
                      <a:pt x="139926" y="70256"/>
                      <a:pt x="140043" y="69863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9" name="Freihandform: Form 122">
                <a:extLst>
                  <a:ext uri="{FF2B5EF4-FFF2-40B4-BE49-F238E27FC236}">
                    <a16:creationId xmlns:a16="http://schemas.microsoft.com/office/drawing/2014/main" id="{B87B9760-6481-A6FC-10DD-EEB61568EE1F}"/>
                  </a:ext>
                </a:extLst>
              </p:cNvPr>
              <p:cNvSpPr/>
              <p:nvPr/>
            </p:nvSpPr>
            <p:spPr bwMode="gray">
              <a:xfrm>
                <a:off x="2150292" y="4595270"/>
                <a:ext cx="140289" cy="99372"/>
              </a:xfrm>
              <a:custGeom>
                <a:avLst/>
                <a:gdLst>
                  <a:gd name="connsiteX0" fmla="*/ 13199 w 140793"/>
                  <a:gd name="connsiteY0" fmla="*/ 13199 h 99729"/>
                  <a:gd name="connsiteX1" fmla="*/ 69230 w 140793"/>
                  <a:gd name="connsiteY1" fmla="*/ 75419 h 99729"/>
                  <a:gd name="connsiteX2" fmla="*/ 93335 w 140793"/>
                  <a:gd name="connsiteY2" fmla="*/ 87592 h 99729"/>
                  <a:gd name="connsiteX3" fmla="*/ 128539 w 140793"/>
                  <a:gd name="connsiteY3" fmla="*/ 65721 h 99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793" h="99729">
                    <a:moveTo>
                      <a:pt x="13199" y="13199"/>
                    </a:moveTo>
                    <a:lnTo>
                      <a:pt x="69230" y="75419"/>
                    </a:lnTo>
                    <a:cubicBezTo>
                      <a:pt x="75342" y="82494"/>
                      <a:pt x="84007" y="86870"/>
                      <a:pt x="93335" y="87592"/>
                    </a:cubicBezTo>
                    <a:cubicBezTo>
                      <a:pt x="103906" y="88172"/>
                      <a:pt x="117293" y="84142"/>
                      <a:pt x="128539" y="6572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0" name="Freihandform: Form 123">
                <a:extLst>
                  <a:ext uri="{FF2B5EF4-FFF2-40B4-BE49-F238E27FC236}">
                    <a16:creationId xmlns:a16="http://schemas.microsoft.com/office/drawing/2014/main" id="{BAF837DB-5A4D-D8DE-B12F-A0F65B95A86A}"/>
                  </a:ext>
                </a:extLst>
              </p:cNvPr>
              <p:cNvSpPr/>
              <p:nvPr/>
            </p:nvSpPr>
            <p:spPr bwMode="gray">
              <a:xfrm>
                <a:off x="2042175" y="4383298"/>
                <a:ext cx="134444" cy="29227"/>
              </a:xfrm>
              <a:custGeom>
                <a:avLst/>
                <a:gdLst>
                  <a:gd name="connsiteX0" fmla="*/ 125213 w 134927"/>
                  <a:gd name="connsiteY0" fmla="*/ 20745 h 29332"/>
                  <a:gd name="connsiteX1" fmla="*/ 13199 w 134927"/>
                  <a:gd name="connsiteY1" fmla="*/ 14332 h 29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927" h="29332">
                    <a:moveTo>
                      <a:pt x="125213" y="20745"/>
                    </a:moveTo>
                    <a:cubicBezTo>
                      <a:pt x="74885" y="9211"/>
                      <a:pt x="13199" y="14332"/>
                      <a:pt x="13199" y="14332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1" name="Freihandform: Form 124">
                <a:extLst>
                  <a:ext uri="{FF2B5EF4-FFF2-40B4-BE49-F238E27FC236}">
                    <a16:creationId xmlns:a16="http://schemas.microsoft.com/office/drawing/2014/main" id="{B4140052-4CE8-2856-0AAB-81788C6A60A4}"/>
                  </a:ext>
                </a:extLst>
              </p:cNvPr>
              <p:cNvSpPr/>
              <p:nvPr/>
            </p:nvSpPr>
            <p:spPr bwMode="gray">
              <a:xfrm>
                <a:off x="1986001" y="4515737"/>
                <a:ext cx="251352" cy="192898"/>
              </a:xfrm>
              <a:custGeom>
                <a:avLst/>
                <a:gdLst>
                  <a:gd name="connsiteX0" fmla="*/ 13199 w 252255"/>
                  <a:gd name="connsiteY0" fmla="*/ 13199 h 193591"/>
                  <a:gd name="connsiteX1" fmla="*/ 174948 w 252255"/>
                  <a:gd name="connsiteY1" fmla="*/ 149406 h 193591"/>
                  <a:gd name="connsiteX2" fmla="*/ 201206 w 252255"/>
                  <a:gd name="connsiteY2" fmla="*/ 174614 h 193591"/>
                  <a:gd name="connsiteX3" fmla="*/ 233642 w 252255"/>
                  <a:gd name="connsiteY3" fmla="*/ 174203 h 193591"/>
                  <a:gd name="connsiteX4" fmla="*/ 239772 w 252255"/>
                  <a:gd name="connsiteY4" fmla="*/ 162388 h 193591"/>
                  <a:gd name="connsiteX5" fmla="*/ 239878 w 252255"/>
                  <a:gd name="connsiteY5" fmla="*/ 161655 h 193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2255" h="193591">
                    <a:moveTo>
                      <a:pt x="13199" y="13199"/>
                    </a:moveTo>
                    <a:cubicBezTo>
                      <a:pt x="70503" y="54429"/>
                      <a:pt x="124573" y="99964"/>
                      <a:pt x="174948" y="149406"/>
                    </a:cubicBezTo>
                    <a:lnTo>
                      <a:pt x="201206" y="174614"/>
                    </a:lnTo>
                    <a:cubicBezTo>
                      <a:pt x="210276" y="183461"/>
                      <a:pt x="224801" y="183273"/>
                      <a:pt x="233642" y="174203"/>
                    </a:cubicBezTo>
                    <a:cubicBezTo>
                      <a:pt x="236810" y="170959"/>
                      <a:pt x="238945" y="166847"/>
                      <a:pt x="239772" y="162388"/>
                    </a:cubicBezTo>
                    <a:cubicBezTo>
                      <a:pt x="239807" y="162148"/>
                      <a:pt x="239848" y="161902"/>
                      <a:pt x="239878" y="161655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2" name="Freihandform: Form 125">
                <a:extLst>
                  <a:ext uri="{FF2B5EF4-FFF2-40B4-BE49-F238E27FC236}">
                    <a16:creationId xmlns:a16="http://schemas.microsoft.com/office/drawing/2014/main" id="{D0670E56-801C-3491-3204-87E87B679F5F}"/>
                  </a:ext>
                </a:extLst>
              </p:cNvPr>
              <p:cNvSpPr/>
              <p:nvPr/>
            </p:nvSpPr>
            <p:spPr bwMode="gray">
              <a:xfrm>
                <a:off x="2018928" y="4548969"/>
                <a:ext cx="64300" cy="58454"/>
              </a:xfrm>
              <a:custGeom>
                <a:avLst/>
                <a:gdLst>
                  <a:gd name="connsiteX0" fmla="*/ 24628 w 64530"/>
                  <a:gd name="connsiteY0" fmla="*/ 13199 h 58664"/>
                  <a:gd name="connsiteX1" fmla="*/ 17723 w 64530"/>
                  <a:gd name="connsiteY1" fmla="*/ 20914 h 58664"/>
                  <a:gd name="connsiteX2" fmla="*/ 19119 w 64530"/>
                  <a:gd name="connsiteY2" fmla="*/ 45993 h 58664"/>
                  <a:gd name="connsiteX3" fmla="*/ 19712 w 64530"/>
                  <a:gd name="connsiteY3" fmla="*/ 46497 h 58664"/>
                  <a:gd name="connsiteX4" fmla="*/ 19712 w 64530"/>
                  <a:gd name="connsiteY4" fmla="*/ 46503 h 58664"/>
                  <a:gd name="connsiteX5" fmla="*/ 46985 w 64530"/>
                  <a:gd name="connsiteY5" fmla="*/ 44321 h 58664"/>
                  <a:gd name="connsiteX6" fmla="*/ 53725 w 64530"/>
                  <a:gd name="connsiteY6" fmla="*/ 36706 h 58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530" h="58664">
                    <a:moveTo>
                      <a:pt x="24628" y="13199"/>
                    </a:moveTo>
                    <a:lnTo>
                      <a:pt x="17723" y="20914"/>
                    </a:lnTo>
                    <a:cubicBezTo>
                      <a:pt x="11182" y="28229"/>
                      <a:pt x="11810" y="39458"/>
                      <a:pt x="19119" y="45993"/>
                    </a:cubicBezTo>
                    <a:cubicBezTo>
                      <a:pt x="19313" y="46169"/>
                      <a:pt x="19512" y="46339"/>
                      <a:pt x="19712" y="46497"/>
                    </a:cubicBezTo>
                    <a:lnTo>
                      <a:pt x="19712" y="46503"/>
                    </a:lnTo>
                    <a:cubicBezTo>
                      <a:pt x="27913" y="53220"/>
                      <a:pt x="39957" y="52258"/>
                      <a:pt x="46985" y="44321"/>
                    </a:cubicBezTo>
                    <a:lnTo>
                      <a:pt x="53725" y="3670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3" name="Freihandform: Form 126">
                <a:extLst>
                  <a:ext uri="{FF2B5EF4-FFF2-40B4-BE49-F238E27FC236}">
                    <a16:creationId xmlns:a16="http://schemas.microsoft.com/office/drawing/2014/main" id="{17F243A7-37C6-8F29-DEAF-F74F220ED045}"/>
                  </a:ext>
                </a:extLst>
              </p:cNvPr>
              <p:cNvSpPr/>
              <p:nvPr/>
            </p:nvSpPr>
            <p:spPr bwMode="gray">
              <a:xfrm>
                <a:off x="2041581" y="4573806"/>
                <a:ext cx="75990" cy="75990"/>
              </a:xfrm>
              <a:custGeom>
                <a:avLst/>
                <a:gdLst>
                  <a:gd name="connsiteX0" fmla="*/ 66670 w 76263"/>
                  <a:gd name="connsiteY0" fmla="*/ 42320 h 76263"/>
                  <a:gd name="connsiteX1" fmla="*/ 51534 w 76263"/>
                  <a:gd name="connsiteY1" fmla="*/ 58829 h 76263"/>
                  <a:gd name="connsiteX2" fmla="*/ 20830 w 76263"/>
                  <a:gd name="connsiteY2" fmla="*/ 60600 h 76263"/>
                  <a:gd name="connsiteX3" fmla="*/ 20830 w 76263"/>
                  <a:gd name="connsiteY3" fmla="*/ 60600 h 76263"/>
                  <a:gd name="connsiteX4" fmla="*/ 18577 w 76263"/>
                  <a:gd name="connsiteY4" fmla="*/ 29479 h 76263"/>
                  <a:gd name="connsiteX5" fmla="*/ 18600 w 76263"/>
                  <a:gd name="connsiteY5" fmla="*/ 29450 h 76263"/>
                  <a:gd name="connsiteX6" fmla="*/ 32697 w 76263"/>
                  <a:gd name="connsiteY6" fmla="*/ 13199 h 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263" h="76263">
                    <a:moveTo>
                      <a:pt x="66670" y="42320"/>
                    </a:moveTo>
                    <a:lnTo>
                      <a:pt x="51534" y="58829"/>
                    </a:lnTo>
                    <a:cubicBezTo>
                      <a:pt x="43462" y="67628"/>
                      <a:pt x="29858" y="68414"/>
                      <a:pt x="20830" y="60600"/>
                    </a:cubicBezTo>
                    <a:lnTo>
                      <a:pt x="20830" y="60600"/>
                    </a:lnTo>
                    <a:cubicBezTo>
                      <a:pt x="11613" y="52628"/>
                      <a:pt x="10604" y="38695"/>
                      <a:pt x="18577" y="29479"/>
                    </a:cubicBezTo>
                    <a:cubicBezTo>
                      <a:pt x="18583" y="29467"/>
                      <a:pt x="18588" y="29461"/>
                      <a:pt x="18600" y="29450"/>
                    </a:cubicBezTo>
                    <a:lnTo>
                      <a:pt x="32697" y="1319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4" name="Freihandform: Form 127">
                <a:extLst>
                  <a:ext uri="{FF2B5EF4-FFF2-40B4-BE49-F238E27FC236}">
                    <a16:creationId xmlns:a16="http://schemas.microsoft.com/office/drawing/2014/main" id="{D9FDD7EC-1E1A-9134-6AE6-DF29F23473CC}"/>
                  </a:ext>
                </a:extLst>
              </p:cNvPr>
              <p:cNvSpPr/>
              <p:nvPr/>
            </p:nvSpPr>
            <p:spPr bwMode="gray">
              <a:xfrm>
                <a:off x="2079365" y="4602822"/>
                <a:ext cx="70145" cy="70145"/>
              </a:xfrm>
              <a:custGeom>
                <a:avLst/>
                <a:gdLst>
                  <a:gd name="connsiteX0" fmla="*/ 28749 w 70396"/>
                  <a:gd name="connsiteY0" fmla="*/ 13199 h 70396"/>
                  <a:gd name="connsiteX1" fmla="*/ 18958 w 70396"/>
                  <a:gd name="connsiteY1" fmla="*/ 23882 h 70396"/>
                  <a:gd name="connsiteX2" fmla="*/ 20173 w 70396"/>
                  <a:gd name="connsiteY2" fmla="*/ 54716 h 70396"/>
                  <a:gd name="connsiteX3" fmla="*/ 20173 w 70396"/>
                  <a:gd name="connsiteY3" fmla="*/ 54716 h 70396"/>
                  <a:gd name="connsiteX4" fmla="*/ 51042 w 70396"/>
                  <a:gd name="connsiteY4" fmla="*/ 53707 h 70396"/>
                  <a:gd name="connsiteX5" fmla="*/ 61279 w 70396"/>
                  <a:gd name="connsiteY5" fmla="*/ 42843 h 70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396" h="70396">
                    <a:moveTo>
                      <a:pt x="28749" y="13199"/>
                    </a:moveTo>
                    <a:lnTo>
                      <a:pt x="18958" y="23882"/>
                    </a:lnTo>
                    <a:cubicBezTo>
                      <a:pt x="10828" y="32752"/>
                      <a:pt x="11373" y="46515"/>
                      <a:pt x="20173" y="54716"/>
                    </a:cubicBezTo>
                    <a:lnTo>
                      <a:pt x="20173" y="54716"/>
                    </a:lnTo>
                    <a:cubicBezTo>
                      <a:pt x="28990" y="62923"/>
                      <a:pt x="42782" y="62471"/>
                      <a:pt x="51042" y="53707"/>
                    </a:cubicBezTo>
                    <a:lnTo>
                      <a:pt x="61279" y="42843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5" name="Freihandform: Form 128">
                <a:extLst>
                  <a:ext uri="{FF2B5EF4-FFF2-40B4-BE49-F238E27FC236}">
                    <a16:creationId xmlns:a16="http://schemas.microsoft.com/office/drawing/2014/main" id="{3B805114-7A15-1FF1-90EE-48AFEDC26752}"/>
                  </a:ext>
                </a:extLst>
              </p:cNvPr>
              <p:cNvSpPr/>
              <p:nvPr/>
            </p:nvSpPr>
            <p:spPr bwMode="gray">
              <a:xfrm>
                <a:off x="2116386" y="4633855"/>
                <a:ext cx="64300" cy="64300"/>
              </a:xfrm>
              <a:custGeom>
                <a:avLst/>
                <a:gdLst>
                  <a:gd name="connsiteX0" fmla="*/ 54102 w 64530"/>
                  <a:gd name="connsiteY0" fmla="*/ 40472 h 64530"/>
                  <a:gd name="connsiteX1" fmla="*/ 48717 w 64530"/>
                  <a:gd name="connsiteY1" fmla="*/ 45981 h 64530"/>
                  <a:gd name="connsiteX2" fmla="*/ 19608 w 64530"/>
                  <a:gd name="connsiteY2" fmla="*/ 46486 h 64530"/>
                  <a:gd name="connsiteX3" fmla="*/ 19608 w 64530"/>
                  <a:gd name="connsiteY3" fmla="*/ 46486 h 64530"/>
                  <a:gd name="connsiteX4" fmla="*/ 18839 w 64530"/>
                  <a:gd name="connsiteY4" fmla="*/ 17306 h 64530"/>
                  <a:gd name="connsiteX5" fmla="*/ 22711 w 64530"/>
                  <a:gd name="connsiteY5" fmla="*/ 13199 h 64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4530" h="64530">
                    <a:moveTo>
                      <a:pt x="54102" y="40472"/>
                    </a:moveTo>
                    <a:lnTo>
                      <a:pt x="48717" y="45981"/>
                    </a:lnTo>
                    <a:cubicBezTo>
                      <a:pt x="40791" y="54094"/>
                      <a:pt x="27809" y="54317"/>
                      <a:pt x="19608" y="46486"/>
                    </a:cubicBezTo>
                    <a:lnTo>
                      <a:pt x="19608" y="46486"/>
                    </a:lnTo>
                    <a:cubicBezTo>
                      <a:pt x="11371" y="38624"/>
                      <a:pt x="11031" y="25589"/>
                      <a:pt x="18839" y="17306"/>
                    </a:cubicBezTo>
                    <a:lnTo>
                      <a:pt x="22711" y="1319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3" name="Gruppieren 129">
              <a:extLst>
                <a:ext uri="{FF2B5EF4-FFF2-40B4-BE49-F238E27FC236}">
                  <a16:creationId xmlns:a16="http://schemas.microsoft.com/office/drawing/2014/main" id="{7FF29A8C-A859-E5DE-F5DE-55A6127B7F0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6597732" y="1626303"/>
              <a:ext cx="452080" cy="452133"/>
              <a:chOff x="8113816" y="1811130"/>
              <a:chExt cx="747504" cy="747591"/>
            </a:xfrm>
          </p:grpSpPr>
          <p:sp>
            <p:nvSpPr>
              <p:cNvPr id="91" name="Freihandform: Form 130">
                <a:extLst>
                  <a:ext uri="{FF2B5EF4-FFF2-40B4-BE49-F238E27FC236}">
                    <a16:creationId xmlns:a16="http://schemas.microsoft.com/office/drawing/2014/main" id="{A9AFF495-5D1F-25F3-B97F-AD5BECFE9064}"/>
                  </a:ext>
                </a:extLst>
              </p:cNvPr>
              <p:cNvSpPr/>
              <p:nvPr/>
            </p:nvSpPr>
            <p:spPr bwMode="gray">
              <a:xfrm>
                <a:off x="8476941" y="2028444"/>
                <a:ext cx="140284" cy="280569"/>
              </a:xfrm>
              <a:custGeom>
                <a:avLst/>
                <a:gdLst>
                  <a:gd name="connsiteX0" fmla="*/ 192627 w 203622"/>
                  <a:gd name="connsiteY0" fmla="*/ 392177 h 407244"/>
                  <a:gd name="connsiteX1" fmla="*/ 173893 w 203622"/>
                  <a:gd name="connsiteY1" fmla="*/ 300139 h 407244"/>
                  <a:gd name="connsiteX2" fmla="*/ 142943 w 203622"/>
                  <a:gd name="connsiteY2" fmla="*/ 248012 h 407244"/>
                  <a:gd name="connsiteX3" fmla="*/ 112807 w 203622"/>
                  <a:gd name="connsiteY3" fmla="*/ 231722 h 407244"/>
                  <a:gd name="connsiteX4" fmla="*/ 33802 w 203622"/>
                  <a:gd name="connsiteY4" fmla="*/ 208917 h 407244"/>
                  <a:gd name="connsiteX5" fmla="*/ 28914 w 203622"/>
                  <a:gd name="connsiteY5" fmla="*/ 206473 h 407244"/>
                  <a:gd name="connsiteX6" fmla="*/ 21584 w 203622"/>
                  <a:gd name="connsiteY6" fmla="*/ 194256 h 407244"/>
                  <a:gd name="connsiteX7" fmla="*/ 18326 w 203622"/>
                  <a:gd name="connsiteY7" fmla="*/ 163305 h 407244"/>
                  <a:gd name="connsiteX8" fmla="*/ 64752 w 203622"/>
                  <a:gd name="connsiteY8" fmla="*/ 90816 h 407244"/>
                  <a:gd name="connsiteX9" fmla="*/ 90001 w 203622"/>
                  <a:gd name="connsiteY9" fmla="*/ 54164 h 407244"/>
                  <a:gd name="connsiteX10" fmla="*/ 68010 w 203622"/>
                  <a:gd name="connsiteY10" fmla="*/ 18326 h 407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3622" h="407244">
                    <a:moveTo>
                      <a:pt x="192627" y="392177"/>
                    </a:moveTo>
                    <a:lnTo>
                      <a:pt x="173893" y="300139"/>
                    </a:lnTo>
                    <a:cubicBezTo>
                      <a:pt x="169821" y="279777"/>
                      <a:pt x="158418" y="261044"/>
                      <a:pt x="142943" y="248012"/>
                    </a:cubicBezTo>
                    <a:cubicBezTo>
                      <a:pt x="132355" y="239867"/>
                      <a:pt x="122581" y="234166"/>
                      <a:pt x="112807" y="231722"/>
                    </a:cubicBezTo>
                    <a:lnTo>
                      <a:pt x="33802" y="208917"/>
                    </a:lnTo>
                    <a:cubicBezTo>
                      <a:pt x="32172" y="208102"/>
                      <a:pt x="30543" y="207288"/>
                      <a:pt x="28914" y="206473"/>
                    </a:cubicBezTo>
                    <a:cubicBezTo>
                      <a:pt x="24842" y="204030"/>
                      <a:pt x="22398" y="199143"/>
                      <a:pt x="21584" y="194256"/>
                    </a:cubicBezTo>
                    <a:lnTo>
                      <a:pt x="18326" y="163305"/>
                    </a:lnTo>
                    <a:cubicBezTo>
                      <a:pt x="40317" y="146201"/>
                      <a:pt x="56607" y="120952"/>
                      <a:pt x="64752" y="90816"/>
                    </a:cubicBezTo>
                    <a:cubicBezTo>
                      <a:pt x="78598" y="89187"/>
                      <a:pt x="90001" y="73711"/>
                      <a:pt x="90001" y="54164"/>
                    </a:cubicBezTo>
                    <a:cubicBezTo>
                      <a:pt x="90001" y="36245"/>
                      <a:pt x="81042" y="20770"/>
                      <a:pt x="6801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2" name="Freihandform: Form 131">
                <a:extLst>
                  <a:ext uri="{FF2B5EF4-FFF2-40B4-BE49-F238E27FC236}">
                    <a16:creationId xmlns:a16="http://schemas.microsoft.com/office/drawing/2014/main" id="{F321C3FF-7514-2D18-D21B-C21668EFF3E7}"/>
                  </a:ext>
                </a:extLst>
              </p:cNvPr>
              <p:cNvSpPr/>
              <p:nvPr/>
            </p:nvSpPr>
            <p:spPr bwMode="gray">
              <a:xfrm>
                <a:off x="8271564" y="2027883"/>
                <a:ext cx="140284" cy="280569"/>
              </a:xfrm>
              <a:custGeom>
                <a:avLst/>
                <a:gdLst>
                  <a:gd name="connsiteX0" fmla="*/ 142943 w 203622"/>
                  <a:gd name="connsiteY0" fmla="*/ 18326 h 407244"/>
                  <a:gd name="connsiteX1" fmla="*/ 121766 w 203622"/>
                  <a:gd name="connsiteY1" fmla="*/ 54163 h 407244"/>
                  <a:gd name="connsiteX2" fmla="*/ 146200 w 203622"/>
                  <a:gd name="connsiteY2" fmla="*/ 90816 h 407244"/>
                  <a:gd name="connsiteX3" fmla="*/ 192626 w 203622"/>
                  <a:gd name="connsiteY3" fmla="*/ 163305 h 407244"/>
                  <a:gd name="connsiteX4" fmla="*/ 189369 w 203622"/>
                  <a:gd name="connsiteY4" fmla="*/ 194256 h 407244"/>
                  <a:gd name="connsiteX5" fmla="*/ 182038 w 203622"/>
                  <a:gd name="connsiteY5" fmla="*/ 206473 h 407244"/>
                  <a:gd name="connsiteX6" fmla="*/ 177151 w 203622"/>
                  <a:gd name="connsiteY6" fmla="*/ 208916 h 407244"/>
                  <a:gd name="connsiteX7" fmla="*/ 98960 w 203622"/>
                  <a:gd name="connsiteY7" fmla="*/ 231722 h 407244"/>
                  <a:gd name="connsiteX8" fmla="*/ 68010 w 203622"/>
                  <a:gd name="connsiteY8" fmla="*/ 248012 h 407244"/>
                  <a:gd name="connsiteX9" fmla="*/ 37059 w 203622"/>
                  <a:gd name="connsiteY9" fmla="*/ 300139 h 407244"/>
                  <a:gd name="connsiteX10" fmla="*/ 18326 w 203622"/>
                  <a:gd name="connsiteY10" fmla="*/ 392177 h 407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3622" h="407244">
                    <a:moveTo>
                      <a:pt x="142943" y="18326"/>
                    </a:moveTo>
                    <a:cubicBezTo>
                      <a:pt x="130725" y="21584"/>
                      <a:pt x="121766" y="36245"/>
                      <a:pt x="121766" y="54163"/>
                    </a:cubicBezTo>
                    <a:cubicBezTo>
                      <a:pt x="121766" y="73711"/>
                      <a:pt x="132355" y="89187"/>
                      <a:pt x="146200" y="90816"/>
                    </a:cubicBezTo>
                    <a:cubicBezTo>
                      <a:pt x="154345" y="120952"/>
                      <a:pt x="170635" y="146201"/>
                      <a:pt x="192626" y="163305"/>
                    </a:cubicBezTo>
                    <a:lnTo>
                      <a:pt x="189369" y="194256"/>
                    </a:lnTo>
                    <a:cubicBezTo>
                      <a:pt x="188554" y="199143"/>
                      <a:pt x="186111" y="204029"/>
                      <a:pt x="182038" y="206473"/>
                    </a:cubicBezTo>
                    <a:cubicBezTo>
                      <a:pt x="180409" y="207288"/>
                      <a:pt x="178780" y="208102"/>
                      <a:pt x="177151" y="208916"/>
                    </a:cubicBezTo>
                    <a:lnTo>
                      <a:pt x="98960" y="231722"/>
                    </a:lnTo>
                    <a:cubicBezTo>
                      <a:pt x="89186" y="234166"/>
                      <a:pt x="78598" y="239053"/>
                      <a:pt x="68010" y="248012"/>
                    </a:cubicBezTo>
                    <a:cubicBezTo>
                      <a:pt x="51720" y="261044"/>
                      <a:pt x="41132" y="279777"/>
                      <a:pt x="37059" y="300139"/>
                    </a:cubicBezTo>
                    <a:lnTo>
                      <a:pt x="18326" y="392177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3" name="Freihandform: Form 132">
                <a:extLst>
                  <a:ext uri="{FF2B5EF4-FFF2-40B4-BE49-F238E27FC236}">
                    <a16:creationId xmlns:a16="http://schemas.microsoft.com/office/drawing/2014/main" id="{A380CDC1-3192-207F-ED2F-273D5B190CD7}"/>
                  </a:ext>
                </a:extLst>
              </p:cNvPr>
              <p:cNvSpPr/>
              <p:nvPr/>
            </p:nvSpPr>
            <p:spPr bwMode="gray">
              <a:xfrm>
                <a:off x="8357387" y="1938102"/>
                <a:ext cx="173953" cy="112228"/>
              </a:xfrm>
              <a:custGeom>
                <a:avLst/>
                <a:gdLst>
                  <a:gd name="connsiteX0" fmla="*/ 240726 w 252491"/>
                  <a:gd name="connsiteY0" fmla="*/ 148644 h 162897"/>
                  <a:gd name="connsiteX1" fmla="*/ 129956 w 252491"/>
                  <a:gd name="connsiteY1" fmla="*/ 18326 h 162897"/>
                  <a:gd name="connsiteX2" fmla="*/ 18371 w 252491"/>
                  <a:gd name="connsiteY2" fmla="*/ 149459 h 162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2491" h="162897">
                    <a:moveTo>
                      <a:pt x="240726" y="148644"/>
                    </a:moveTo>
                    <a:cubicBezTo>
                      <a:pt x="240726" y="148644"/>
                      <a:pt x="247242" y="18326"/>
                      <a:pt x="129956" y="18326"/>
                    </a:cubicBezTo>
                    <a:cubicBezTo>
                      <a:pt x="12669" y="18326"/>
                      <a:pt x="18371" y="149459"/>
                      <a:pt x="18371" y="149459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4" name="Freihandform: Form 133">
                <a:extLst>
                  <a:ext uri="{FF2B5EF4-FFF2-40B4-BE49-F238E27FC236}">
                    <a16:creationId xmlns:a16="http://schemas.microsoft.com/office/drawing/2014/main" id="{4A559CB7-AB59-D524-FAB8-9E4145275D9F}"/>
                  </a:ext>
                </a:extLst>
              </p:cNvPr>
              <p:cNvSpPr/>
              <p:nvPr/>
            </p:nvSpPr>
            <p:spPr bwMode="gray">
              <a:xfrm>
                <a:off x="8363029" y="1973403"/>
                <a:ext cx="162730" cy="44891"/>
              </a:xfrm>
              <a:custGeom>
                <a:avLst/>
                <a:gdLst>
                  <a:gd name="connsiteX0" fmla="*/ 18326 w 236201"/>
                  <a:gd name="connsiteY0" fmla="*/ 41205 h 65159"/>
                  <a:gd name="connsiteX1" fmla="*/ 41946 w 236201"/>
                  <a:gd name="connsiteY1" fmla="*/ 20843 h 65159"/>
                  <a:gd name="connsiteX2" fmla="*/ 90815 w 236201"/>
                  <a:gd name="connsiteY2" fmla="*/ 26544 h 65159"/>
                  <a:gd name="connsiteX3" fmla="*/ 157603 w 236201"/>
                  <a:gd name="connsiteY3" fmla="*/ 50979 h 65159"/>
                  <a:gd name="connsiteX4" fmla="*/ 224392 w 236201"/>
                  <a:gd name="connsiteY4" fmla="*/ 40390 h 65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6201" h="65159">
                    <a:moveTo>
                      <a:pt x="18326" y="41205"/>
                    </a:moveTo>
                    <a:cubicBezTo>
                      <a:pt x="23213" y="31431"/>
                      <a:pt x="32172" y="24915"/>
                      <a:pt x="41946" y="20843"/>
                    </a:cubicBezTo>
                    <a:cubicBezTo>
                      <a:pt x="58236" y="15141"/>
                      <a:pt x="75340" y="20028"/>
                      <a:pt x="90815" y="26544"/>
                    </a:cubicBezTo>
                    <a:cubicBezTo>
                      <a:pt x="112807" y="36318"/>
                      <a:pt x="132355" y="48535"/>
                      <a:pt x="157603" y="50979"/>
                    </a:cubicBezTo>
                    <a:cubicBezTo>
                      <a:pt x="181224" y="53422"/>
                      <a:pt x="203215" y="50979"/>
                      <a:pt x="224392" y="40390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5" name="Freihandform: Form 134">
                <a:extLst>
                  <a:ext uri="{FF2B5EF4-FFF2-40B4-BE49-F238E27FC236}">
                    <a16:creationId xmlns:a16="http://schemas.microsoft.com/office/drawing/2014/main" id="{92E3A969-0D06-03BD-7600-A20487ADCF3E}"/>
                  </a:ext>
                </a:extLst>
              </p:cNvPr>
              <p:cNvSpPr/>
              <p:nvPr/>
            </p:nvSpPr>
            <p:spPr bwMode="gray">
              <a:xfrm>
                <a:off x="8384352" y="2158068"/>
                <a:ext cx="72948" cy="72948"/>
              </a:xfrm>
              <a:custGeom>
                <a:avLst/>
                <a:gdLst>
                  <a:gd name="connsiteX0" fmla="*/ 18326 w 105883"/>
                  <a:gd name="connsiteY0" fmla="*/ 18326 h 105883"/>
                  <a:gd name="connsiteX1" fmla="*/ 90816 w 105883"/>
                  <a:gd name="connsiteY1" fmla="*/ 93259 h 10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883" h="105883">
                    <a:moveTo>
                      <a:pt x="18326" y="18326"/>
                    </a:moveTo>
                    <a:lnTo>
                      <a:pt x="90816" y="9325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6" name="Freihandform: Form 135">
                <a:extLst>
                  <a:ext uri="{FF2B5EF4-FFF2-40B4-BE49-F238E27FC236}">
                    <a16:creationId xmlns:a16="http://schemas.microsoft.com/office/drawing/2014/main" id="{839DB50C-BA45-AE58-0924-187A8BAFBC7C}"/>
                  </a:ext>
                </a:extLst>
              </p:cNvPr>
              <p:cNvSpPr/>
              <p:nvPr/>
            </p:nvSpPr>
            <p:spPr bwMode="gray">
              <a:xfrm>
                <a:off x="8434294" y="2158068"/>
                <a:ext cx="72948" cy="72948"/>
              </a:xfrm>
              <a:custGeom>
                <a:avLst/>
                <a:gdLst>
                  <a:gd name="connsiteX0" fmla="*/ 90815 w 105883"/>
                  <a:gd name="connsiteY0" fmla="*/ 18326 h 105883"/>
                  <a:gd name="connsiteX1" fmla="*/ 18326 w 105883"/>
                  <a:gd name="connsiteY1" fmla="*/ 93259 h 10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883" h="105883">
                    <a:moveTo>
                      <a:pt x="90815" y="18326"/>
                    </a:moveTo>
                    <a:lnTo>
                      <a:pt x="18326" y="9325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7" name="Freihandform: Form 136">
                <a:extLst>
                  <a:ext uri="{FF2B5EF4-FFF2-40B4-BE49-F238E27FC236}">
                    <a16:creationId xmlns:a16="http://schemas.microsoft.com/office/drawing/2014/main" id="{DB0FD39E-5378-F937-9FAC-1FAF340D4DDD}"/>
                  </a:ext>
                </a:extLst>
              </p:cNvPr>
              <p:cNvSpPr/>
              <p:nvPr/>
            </p:nvSpPr>
            <p:spPr bwMode="gray">
              <a:xfrm>
                <a:off x="8434294" y="2209693"/>
                <a:ext cx="22446" cy="56114"/>
              </a:xfrm>
              <a:custGeom>
                <a:avLst/>
                <a:gdLst>
                  <a:gd name="connsiteX0" fmla="*/ 18326 w 32579"/>
                  <a:gd name="connsiteY0" fmla="*/ 18326 h 81448"/>
                  <a:gd name="connsiteX1" fmla="*/ 18326 w 32579"/>
                  <a:gd name="connsiteY1" fmla="*/ 68010 h 81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579" h="81448">
                    <a:moveTo>
                      <a:pt x="18326" y="18326"/>
                    </a:moveTo>
                    <a:lnTo>
                      <a:pt x="18326" y="68010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8" name="Freihandform: Form 137">
                <a:extLst>
                  <a:ext uri="{FF2B5EF4-FFF2-40B4-BE49-F238E27FC236}">
                    <a16:creationId xmlns:a16="http://schemas.microsoft.com/office/drawing/2014/main" id="{D84C309A-CC8B-007E-3E4E-44C397923847}"/>
                  </a:ext>
                </a:extLst>
              </p:cNvPr>
              <p:cNvSpPr/>
              <p:nvPr/>
            </p:nvSpPr>
            <p:spPr bwMode="gray">
              <a:xfrm>
                <a:off x="8113816" y="1811130"/>
                <a:ext cx="662142" cy="662142"/>
              </a:xfrm>
              <a:custGeom>
                <a:avLst/>
                <a:gdLst>
                  <a:gd name="connsiteX0" fmla="*/ 923635 w 961097"/>
                  <a:gd name="connsiteY0" fmla="*/ 459290 h 961097"/>
                  <a:gd name="connsiteX1" fmla="*/ 508025 w 961097"/>
                  <a:gd name="connsiteY1" fmla="*/ 923635 h 961097"/>
                  <a:gd name="connsiteX2" fmla="*/ 43680 w 961097"/>
                  <a:gd name="connsiteY2" fmla="*/ 508025 h 961097"/>
                  <a:gd name="connsiteX3" fmla="*/ 459290 w 961097"/>
                  <a:gd name="connsiteY3" fmla="*/ 43679 h 961097"/>
                  <a:gd name="connsiteX4" fmla="*/ 923635 w 961097"/>
                  <a:gd name="connsiteY4" fmla="*/ 459290 h 96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1097" h="961097">
                    <a:moveTo>
                      <a:pt x="923635" y="459290"/>
                    </a:moveTo>
                    <a:cubicBezTo>
                      <a:pt x="937093" y="702283"/>
                      <a:pt x="751018" y="910177"/>
                      <a:pt x="508025" y="923635"/>
                    </a:cubicBezTo>
                    <a:cubicBezTo>
                      <a:pt x="265032" y="937093"/>
                      <a:pt x="57138" y="751018"/>
                      <a:pt x="43680" y="508025"/>
                    </a:cubicBezTo>
                    <a:cubicBezTo>
                      <a:pt x="30222" y="265032"/>
                      <a:pt x="216297" y="57137"/>
                      <a:pt x="459290" y="43679"/>
                    </a:cubicBezTo>
                    <a:cubicBezTo>
                      <a:pt x="702283" y="30222"/>
                      <a:pt x="910177" y="216297"/>
                      <a:pt x="923635" y="459290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9" name="Freihandform: Form 138">
                <a:extLst>
                  <a:ext uri="{FF2B5EF4-FFF2-40B4-BE49-F238E27FC236}">
                    <a16:creationId xmlns:a16="http://schemas.microsoft.com/office/drawing/2014/main" id="{D70630AF-3B4C-122D-EDB9-6124AE878E5C}"/>
                  </a:ext>
                </a:extLst>
              </p:cNvPr>
              <p:cNvSpPr/>
              <p:nvPr/>
            </p:nvSpPr>
            <p:spPr bwMode="gray">
              <a:xfrm>
                <a:off x="8659310" y="2356711"/>
                <a:ext cx="202010" cy="202010"/>
              </a:xfrm>
              <a:custGeom>
                <a:avLst/>
                <a:gdLst>
                  <a:gd name="connsiteX0" fmla="*/ 100589 w 293216"/>
                  <a:gd name="connsiteY0" fmla="*/ 18326 h 293216"/>
                  <a:gd name="connsiteX1" fmla="*/ 261044 w 293216"/>
                  <a:gd name="connsiteY1" fmla="*/ 178780 h 293216"/>
                  <a:gd name="connsiteX2" fmla="*/ 261044 w 293216"/>
                  <a:gd name="connsiteY2" fmla="*/ 261044 h 293216"/>
                  <a:gd name="connsiteX3" fmla="*/ 261044 w 293216"/>
                  <a:gd name="connsiteY3" fmla="*/ 261044 h 293216"/>
                  <a:gd name="connsiteX4" fmla="*/ 178780 w 293216"/>
                  <a:gd name="connsiteY4" fmla="*/ 261044 h 293216"/>
                  <a:gd name="connsiteX5" fmla="*/ 18326 w 293216"/>
                  <a:gd name="connsiteY5" fmla="*/ 100589 h 293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3216" h="293216">
                    <a:moveTo>
                      <a:pt x="100589" y="18326"/>
                    </a:moveTo>
                    <a:lnTo>
                      <a:pt x="261044" y="178780"/>
                    </a:lnTo>
                    <a:cubicBezTo>
                      <a:pt x="283849" y="201586"/>
                      <a:pt x="283849" y="238238"/>
                      <a:pt x="261044" y="261044"/>
                    </a:cubicBezTo>
                    <a:lnTo>
                      <a:pt x="261044" y="261044"/>
                    </a:lnTo>
                    <a:cubicBezTo>
                      <a:pt x="238238" y="283849"/>
                      <a:pt x="201586" y="283849"/>
                      <a:pt x="178780" y="261044"/>
                    </a:cubicBezTo>
                    <a:lnTo>
                      <a:pt x="18326" y="100589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0" name="Freihandform: Form 139">
                <a:extLst>
                  <a:ext uri="{FF2B5EF4-FFF2-40B4-BE49-F238E27FC236}">
                    <a16:creationId xmlns:a16="http://schemas.microsoft.com/office/drawing/2014/main" id="{5B461BA0-1F18-7869-73B8-6A359D0985C3}"/>
                  </a:ext>
                </a:extLst>
              </p:cNvPr>
              <p:cNvSpPr/>
              <p:nvPr/>
            </p:nvSpPr>
            <p:spPr bwMode="gray">
              <a:xfrm>
                <a:off x="8559988" y="2257391"/>
                <a:ext cx="230068" cy="230066"/>
              </a:xfrm>
              <a:custGeom>
                <a:avLst/>
                <a:gdLst>
                  <a:gd name="connsiteX0" fmla="*/ 18326 w 333940"/>
                  <a:gd name="connsiteY0" fmla="*/ 322130 h 333940"/>
                  <a:gd name="connsiteX1" fmla="*/ 322130 w 333940"/>
                  <a:gd name="connsiteY1" fmla="*/ 18326 h 333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3940" h="333940">
                    <a:moveTo>
                      <a:pt x="18326" y="322130"/>
                    </a:moveTo>
                    <a:cubicBezTo>
                      <a:pt x="159233" y="271632"/>
                      <a:pt x="270818" y="159233"/>
                      <a:pt x="32213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4" name="Gruppieren 140">
              <a:extLst>
                <a:ext uri="{FF2B5EF4-FFF2-40B4-BE49-F238E27FC236}">
                  <a16:creationId xmlns:a16="http://schemas.microsoft.com/office/drawing/2014/main" id="{84142B47-6C1B-DC56-757B-D15385B14905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921751" y="3197527"/>
              <a:ext cx="355624" cy="360952"/>
              <a:chOff x="7986064" y="5303416"/>
              <a:chExt cx="734069" cy="745069"/>
            </a:xfrm>
          </p:grpSpPr>
          <p:sp>
            <p:nvSpPr>
              <p:cNvPr id="80" name="Freihandform: Form 141">
                <a:extLst>
                  <a:ext uri="{FF2B5EF4-FFF2-40B4-BE49-F238E27FC236}">
                    <a16:creationId xmlns:a16="http://schemas.microsoft.com/office/drawing/2014/main" id="{3DB3AB1B-B5A2-A5BB-9F29-D7200199895D}"/>
                  </a:ext>
                </a:extLst>
              </p:cNvPr>
              <p:cNvSpPr/>
              <p:nvPr/>
            </p:nvSpPr>
            <p:spPr bwMode="gray">
              <a:xfrm>
                <a:off x="8383353" y="5963527"/>
                <a:ext cx="48897" cy="24449"/>
              </a:xfrm>
              <a:custGeom>
                <a:avLst/>
                <a:gdLst>
                  <a:gd name="connsiteX0" fmla="*/ 50905 w 65159"/>
                  <a:gd name="connsiteY0" fmla="*/ 18326 h 32579"/>
                  <a:gd name="connsiteX1" fmla="*/ 18326 w 65159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159" h="32579">
                    <a:moveTo>
                      <a:pt x="50905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1" name="Freihandform: Form 142">
                <a:extLst>
                  <a:ext uri="{FF2B5EF4-FFF2-40B4-BE49-F238E27FC236}">
                    <a16:creationId xmlns:a16="http://schemas.microsoft.com/office/drawing/2014/main" id="{1B19B53B-87C6-B59F-A499-EC65DB64DEE0}"/>
                  </a:ext>
                </a:extLst>
              </p:cNvPr>
              <p:cNvSpPr/>
              <p:nvPr/>
            </p:nvSpPr>
            <p:spPr bwMode="gray">
              <a:xfrm>
                <a:off x="8387632" y="5898739"/>
                <a:ext cx="61121" cy="24449"/>
              </a:xfrm>
              <a:custGeom>
                <a:avLst/>
                <a:gdLst>
                  <a:gd name="connsiteX0" fmla="*/ 67195 w 81448"/>
                  <a:gd name="connsiteY0" fmla="*/ 18326 h 32579"/>
                  <a:gd name="connsiteX1" fmla="*/ 18326 w 81448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32579">
                    <a:moveTo>
                      <a:pt x="67195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2" name="Freihandform: Form 143">
                <a:extLst>
                  <a:ext uri="{FF2B5EF4-FFF2-40B4-BE49-F238E27FC236}">
                    <a16:creationId xmlns:a16="http://schemas.microsoft.com/office/drawing/2014/main" id="{4928CFBF-B60C-B31A-45EC-7DF2540DBE2C}"/>
                  </a:ext>
                </a:extLst>
              </p:cNvPr>
              <p:cNvSpPr/>
              <p:nvPr/>
            </p:nvSpPr>
            <p:spPr bwMode="gray">
              <a:xfrm>
                <a:off x="8392522" y="5833950"/>
                <a:ext cx="67234" cy="24449"/>
              </a:xfrm>
              <a:custGeom>
                <a:avLst/>
                <a:gdLst>
                  <a:gd name="connsiteX0" fmla="*/ 76969 w 89593"/>
                  <a:gd name="connsiteY0" fmla="*/ 18326 h 32579"/>
                  <a:gd name="connsiteX1" fmla="*/ 18326 w 89593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32579">
                    <a:moveTo>
                      <a:pt x="76969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3" name="Freihandform: Form 144">
                <a:extLst>
                  <a:ext uri="{FF2B5EF4-FFF2-40B4-BE49-F238E27FC236}">
                    <a16:creationId xmlns:a16="http://schemas.microsoft.com/office/drawing/2014/main" id="{1E06BC50-0327-5D61-15EA-59398085EC79}"/>
                  </a:ext>
                </a:extLst>
              </p:cNvPr>
              <p:cNvSpPr/>
              <p:nvPr/>
            </p:nvSpPr>
            <p:spPr bwMode="gray">
              <a:xfrm>
                <a:off x="7986064" y="5755102"/>
                <a:ext cx="134467" cy="293383"/>
              </a:xfrm>
              <a:custGeom>
                <a:avLst/>
                <a:gdLst>
                  <a:gd name="connsiteX0" fmla="*/ 18326 w 179187"/>
                  <a:gd name="connsiteY0" fmla="*/ 375072 h 390954"/>
                  <a:gd name="connsiteX1" fmla="*/ 150273 w 179187"/>
                  <a:gd name="connsiteY1" fmla="*/ 375072 h 390954"/>
                  <a:gd name="connsiteX2" fmla="*/ 168192 w 179187"/>
                  <a:gd name="connsiteY2" fmla="*/ 357154 h 390954"/>
                  <a:gd name="connsiteX3" fmla="*/ 168192 w 179187"/>
                  <a:gd name="connsiteY3" fmla="*/ 36245 h 390954"/>
                  <a:gd name="connsiteX4" fmla="*/ 150273 w 179187"/>
                  <a:gd name="connsiteY4" fmla="*/ 18326 h 390954"/>
                  <a:gd name="connsiteX5" fmla="*/ 18326 w 179187"/>
                  <a:gd name="connsiteY5" fmla="*/ 18326 h 390954"/>
                  <a:gd name="connsiteX6" fmla="*/ 18326 w 179187"/>
                  <a:gd name="connsiteY6" fmla="*/ 375072 h 39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9187" h="390954">
                    <a:moveTo>
                      <a:pt x="18326" y="375072"/>
                    </a:moveTo>
                    <a:lnTo>
                      <a:pt x="150273" y="375072"/>
                    </a:lnTo>
                    <a:cubicBezTo>
                      <a:pt x="160047" y="375072"/>
                      <a:pt x="168192" y="366928"/>
                      <a:pt x="168192" y="357154"/>
                    </a:cubicBezTo>
                    <a:lnTo>
                      <a:pt x="168192" y="36245"/>
                    </a:lnTo>
                    <a:cubicBezTo>
                      <a:pt x="168192" y="26471"/>
                      <a:pt x="160047" y="18326"/>
                      <a:pt x="150273" y="18326"/>
                    </a:cubicBezTo>
                    <a:lnTo>
                      <a:pt x="18326" y="18326"/>
                    </a:lnTo>
                    <a:lnTo>
                      <a:pt x="18326" y="3750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4" name="Freihandform: Form 145">
                <a:extLst>
                  <a:ext uri="{FF2B5EF4-FFF2-40B4-BE49-F238E27FC236}">
                    <a16:creationId xmlns:a16="http://schemas.microsoft.com/office/drawing/2014/main" id="{CD338184-DF7F-8991-A6D0-66469A309032}"/>
                  </a:ext>
                </a:extLst>
              </p:cNvPr>
              <p:cNvSpPr/>
              <p:nvPr/>
            </p:nvSpPr>
            <p:spPr bwMode="gray">
              <a:xfrm>
                <a:off x="8099139" y="5768549"/>
                <a:ext cx="409514" cy="275046"/>
              </a:xfrm>
              <a:custGeom>
                <a:avLst/>
                <a:gdLst>
                  <a:gd name="connsiteX0" fmla="*/ 299325 w 545707"/>
                  <a:gd name="connsiteY0" fmla="*/ 18326 h 366520"/>
                  <a:gd name="connsiteX1" fmla="*/ 489915 w 545707"/>
                  <a:gd name="connsiteY1" fmla="*/ 18326 h 366520"/>
                  <a:gd name="connsiteX2" fmla="*/ 533083 w 545707"/>
                  <a:gd name="connsiteY2" fmla="*/ 63123 h 366520"/>
                  <a:gd name="connsiteX3" fmla="*/ 488286 w 545707"/>
                  <a:gd name="connsiteY3" fmla="*/ 104662 h 366520"/>
                  <a:gd name="connsiteX4" fmla="*/ 470368 w 545707"/>
                  <a:gd name="connsiteY4" fmla="*/ 104662 h 366520"/>
                  <a:gd name="connsiteX5" fmla="*/ 513536 w 545707"/>
                  <a:gd name="connsiteY5" fmla="*/ 149459 h 366520"/>
                  <a:gd name="connsiteX6" fmla="*/ 468739 w 545707"/>
                  <a:gd name="connsiteY6" fmla="*/ 190998 h 366520"/>
                  <a:gd name="connsiteX7" fmla="*/ 450820 w 545707"/>
                  <a:gd name="connsiteY7" fmla="*/ 190998 h 366520"/>
                  <a:gd name="connsiteX8" fmla="*/ 493988 w 545707"/>
                  <a:gd name="connsiteY8" fmla="*/ 235795 h 366520"/>
                  <a:gd name="connsiteX9" fmla="*/ 449191 w 545707"/>
                  <a:gd name="connsiteY9" fmla="*/ 277334 h 366520"/>
                  <a:gd name="connsiteX10" fmla="*/ 431272 w 545707"/>
                  <a:gd name="connsiteY10" fmla="*/ 277334 h 366520"/>
                  <a:gd name="connsiteX11" fmla="*/ 474440 w 545707"/>
                  <a:gd name="connsiteY11" fmla="*/ 316429 h 366520"/>
                  <a:gd name="connsiteX12" fmla="*/ 429643 w 545707"/>
                  <a:gd name="connsiteY12" fmla="*/ 355525 h 366520"/>
                  <a:gd name="connsiteX13" fmla="*/ 158418 w 545707"/>
                  <a:gd name="connsiteY13" fmla="*/ 312357 h 366520"/>
                  <a:gd name="connsiteX14" fmla="*/ 68010 w 545707"/>
                  <a:gd name="connsiteY14" fmla="*/ 303397 h 366520"/>
                  <a:gd name="connsiteX15" fmla="*/ 18326 w 545707"/>
                  <a:gd name="connsiteY15" fmla="*/ 315615 h 366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45707" h="366520">
                    <a:moveTo>
                      <a:pt x="299325" y="18326"/>
                    </a:moveTo>
                    <a:lnTo>
                      <a:pt x="489915" y="18326"/>
                    </a:lnTo>
                    <a:cubicBezTo>
                      <a:pt x="514350" y="18326"/>
                      <a:pt x="533898" y="38688"/>
                      <a:pt x="533083" y="63123"/>
                    </a:cubicBezTo>
                    <a:cubicBezTo>
                      <a:pt x="532269" y="85929"/>
                      <a:pt x="511092" y="104662"/>
                      <a:pt x="488286" y="104662"/>
                    </a:cubicBezTo>
                    <a:lnTo>
                      <a:pt x="470368" y="104662"/>
                    </a:lnTo>
                    <a:cubicBezTo>
                      <a:pt x="494802" y="104662"/>
                      <a:pt x="514350" y="125024"/>
                      <a:pt x="513536" y="149459"/>
                    </a:cubicBezTo>
                    <a:cubicBezTo>
                      <a:pt x="512721" y="172264"/>
                      <a:pt x="491545" y="190998"/>
                      <a:pt x="468739" y="190998"/>
                    </a:cubicBezTo>
                    <a:lnTo>
                      <a:pt x="450820" y="190998"/>
                    </a:lnTo>
                    <a:cubicBezTo>
                      <a:pt x="475255" y="190998"/>
                      <a:pt x="494802" y="211360"/>
                      <a:pt x="493988" y="235795"/>
                    </a:cubicBezTo>
                    <a:cubicBezTo>
                      <a:pt x="493174" y="258600"/>
                      <a:pt x="471997" y="277334"/>
                      <a:pt x="449191" y="277334"/>
                    </a:cubicBezTo>
                    <a:lnTo>
                      <a:pt x="431272" y="277334"/>
                    </a:lnTo>
                    <a:cubicBezTo>
                      <a:pt x="455707" y="277334"/>
                      <a:pt x="474440" y="294438"/>
                      <a:pt x="474440" y="316429"/>
                    </a:cubicBezTo>
                    <a:cubicBezTo>
                      <a:pt x="474440" y="343307"/>
                      <a:pt x="452449" y="355525"/>
                      <a:pt x="429643" y="355525"/>
                    </a:cubicBezTo>
                    <a:cubicBezTo>
                      <a:pt x="283035" y="355525"/>
                      <a:pt x="200772" y="331090"/>
                      <a:pt x="158418" y="312357"/>
                    </a:cubicBezTo>
                    <a:cubicBezTo>
                      <a:pt x="129911" y="299325"/>
                      <a:pt x="98146" y="296067"/>
                      <a:pt x="68010" y="303397"/>
                    </a:cubicBezTo>
                    <a:lnTo>
                      <a:pt x="18326" y="315615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5" name="Freihandform: Form 146">
                <a:extLst>
                  <a:ext uri="{FF2B5EF4-FFF2-40B4-BE49-F238E27FC236}">
                    <a16:creationId xmlns:a16="http://schemas.microsoft.com/office/drawing/2014/main" id="{C6C11467-A220-1C52-4CCD-91F8C77F33F6}"/>
                  </a:ext>
                </a:extLst>
              </p:cNvPr>
              <p:cNvSpPr/>
              <p:nvPr/>
            </p:nvSpPr>
            <p:spPr bwMode="gray">
              <a:xfrm>
                <a:off x="8098527" y="5676867"/>
                <a:ext cx="262822" cy="122243"/>
              </a:xfrm>
              <a:custGeom>
                <a:avLst/>
                <a:gdLst>
                  <a:gd name="connsiteX0" fmla="*/ 18326 w 350230"/>
                  <a:gd name="connsiteY0" fmla="*/ 149459 h 162897"/>
                  <a:gd name="connsiteX1" fmla="*/ 121766 w 350230"/>
                  <a:gd name="connsiteY1" fmla="*/ 149459 h 162897"/>
                  <a:gd name="connsiteX2" fmla="*/ 179595 w 350230"/>
                  <a:gd name="connsiteY2" fmla="*/ 149459 h 162897"/>
                  <a:gd name="connsiteX3" fmla="*/ 338420 w 350230"/>
                  <a:gd name="connsiteY3" fmla="*/ 18326 h 162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0230" h="162897">
                    <a:moveTo>
                      <a:pt x="18326" y="149459"/>
                    </a:moveTo>
                    <a:lnTo>
                      <a:pt x="121766" y="149459"/>
                    </a:lnTo>
                    <a:lnTo>
                      <a:pt x="179595" y="149459"/>
                    </a:lnTo>
                    <a:cubicBezTo>
                      <a:pt x="179595" y="149459"/>
                      <a:pt x="186925" y="44390"/>
                      <a:pt x="33842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6" name="Freihandform: Form 147">
                <a:extLst>
                  <a:ext uri="{FF2B5EF4-FFF2-40B4-BE49-F238E27FC236}">
                    <a16:creationId xmlns:a16="http://schemas.microsoft.com/office/drawing/2014/main" id="{03D12D90-6236-4F72-73BB-13DBF1B667B0}"/>
                  </a:ext>
                </a:extLst>
              </p:cNvPr>
              <p:cNvSpPr/>
              <p:nvPr/>
            </p:nvSpPr>
            <p:spPr bwMode="gray">
              <a:xfrm>
                <a:off x="8124809" y="5326642"/>
                <a:ext cx="537869" cy="140580"/>
              </a:xfrm>
              <a:custGeom>
                <a:avLst/>
                <a:gdLst>
                  <a:gd name="connsiteX0" fmla="*/ 705755 w 716750"/>
                  <a:gd name="connsiteY0" fmla="*/ 18326 h 187332"/>
                  <a:gd name="connsiteX1" fmla="*/ 323759 w 716750"/>
                  <a:gd name="connsiteY1" fmla="*/ 155160 h 187332"/>
                  <a:gd name="connsiteX2" fmla="*/ 18326 w 716750"/>
                  <a:gd name="connsiteY2" fmla="*/ 163305 h 187332"/>
                  <a:gd name="connsiteX3" fmla="*/ 18326 w 716750"/>
                  <a:gd name="connsiteY3" fmla="*/ 163305 h 187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6750" h="187332">
                    <a:moveTo>
                      <a:pt x="705755" y="18326"/>
                    </a:moveTo>
                    <a:cubicBezTo>
                      <a:pt x="551816" y="92445"/>
                      <a:pt x="421498" y="133169"/>
                      <a:pt x="323759" y="155160"/>
                    </a:cubicBezTo>
                    <a:cubicBezTo>
                      <a:pt x="223577" y="177966"/>
                      <a:pt x="120137" y="180409"/>
                      <a:pt x="18326" y="163305"/>
                    </a:cubicBezTo>
                    <a:lnTo>
                      <a:pt x="18326" y="163305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7" name="Freihandform: Form 148">
                <a:extLst>
                  <a:ext uri="{FF2B5EF4-FFF2-40B4-BE49-F238E27FC236}">
                    <a16:creationId xmlns:a16="http://schemas.microsoft.com/office/drawing/2014/main" id="{6A78075A-9A5C-F443-3903-82F1DDA7828A}"/>
                  </a:ext>
                </a:extLst>
              </p:cNvPr>
              <p:cNvSpPr/>
              <p:nvPr/>
            </p:nvSpPr>
            <p:spPr bwMode="gray">
              <a:xfrm>
                <a:off x="8338735" y="5596798"/>
                <a:ext cx="97794" cy="195589"/>
              </a:xfrm>
              <a:custGeom>
                <a:avLst/>
                <a:gdLst>
                  <a:gd name="connsiteX0" fmla="*/ 117694 w 130318"/>
                  <a:gd name="connsiteY0" fmla="*/ 42761 h 260636"/>
                  <a:gd name="connsiteX1" fmla="*/ 117694 w 130318"/>
                  <a:gd name="connsiteY1" fmla="*/ 247198 h 260636"/>
                  <a:gd name="connsiteX2" fmla="*/ 18326 w 130318"/>
                  <a:gd name="connsiteY2" fmla="*/ 247198 h 260636"/>
                  <a:gd name="connsiteX3" fmla="*/ 18326 w 130318"/>
                  <a:gd name="connsiteY3" fmla="*/ 18326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260636">
                    <a:moveTo>
                      <a:pt x="117694" y="42761"/>
                    </a:moveTo>
                    <a:lnTo>
                      <a:pt x="117694" y="247198"/>
                    </a:lnTo>
                    <a:lnTo>
                      <a:pt x="18326" y="247198"/>
                    </a:ln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8" name="Freihandform: Form 149">
                <a:extLst>
                  <a:ext uri="{FF2B5EF4-FFF2-40B4-BE49-F238E27FC236}">
                    <a16:creationId xmlns:a16="http://schemas.microsoft.com/office/drawing/2014/main" id="{9895C9B3-25D4-B3B2-D0DE-B1E4A9C1A954}"/>
                  </a:ext>
                </a:extLst>
              </p:cNvPr>
              <p:cNvSpPr/>
              <p:nvPr/>
            </p:nvSpPr>
            <p:spPr bwMode="gray">
              <a:xfrm>
                <a:off x="8640675" y="5303416"/>
                <a:ext cx="79458" cy="446186"/>
              </a:xfrm>
              <a:custGeom>
                <a:avLst/>
                <a:gdLst>
                  <a:gd name="connsiteX0" fmla="*/ 61494 w 105883"/>
                  <a:gd name="connsiteY0" fmla="*/ 581953 h 594577"/>
                  <a:gd name="connsiteX1" fmla="*/ 18326 w 105883"/>
                  <a:gd name="connsiteY1" fmla="*/ 581953 h 594577"/>
                  <a:gd name="connsiteX2" fmla="*/ 18326 w 105883"/>
                  <a:gd name="connsiteY2" fmla="*/ 18326 h 594577"/>
                  <a:gd name="connsiteX3" fmla="*/ 61494 w 105883"/>
                  <a:gd name="connsiteY3" fmla="*/ 18326 h 594577"/>
                  <a:gd name="connsiteX4" fmla="*/ 94073 w 105883"/>
                  <a:gd name="connsiteY4" fmla="*/ 50906 h 594577"/>
                  <a:gd name="connsiteX5" fmla="*/ 94073 w 105883"/>
                  <a:gd name="connsiteY5" fmla="*/ 549373 h 594577"/>
                  <a:gd name="connsiteX6" fmla="*/ 61494 w 105883"/>
                  <a:gd name="connsiteY6" fmla="*/ 581953 h 594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5883" h="594577">
                    <a:moveTo>
                      <a:pt x="61494" y="581953"/>
                    </a:moveTo>
                    <a:lnTo>
                      <a:pt x="18326" y="581953"/>
                    </a:lnTo>
                    <a:lnTo>
                      <a:pt x="18326" y="18326"/>
                    </a:lnTo>
                    <a:lnTo>
                      <a:pt x="61494" y="18326"/>
                    </a:lnTo>
                    <a:cubicBezTo>
                      <a:pt x="79413" y="18326"/>
                      <a:pt x="94073" y="32987"/>
                      <a:pt x="94073" y="50906"/>
                    </a:cubicBezTo>
                    <a:lnTo>
                      <a:pt x="94073" y="549373"/>
                    </a:lnTo>
                    <a:cubicBezTo>
                      <a:pt x="94073" y="567292"/>
                      <a:pt x="79413" y="581953"/>
                      <a:pt x="61494" y="58195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9" name="Freihandform: Form 150">
                <a:extLst>
                  <a:ext uri="{FF2B5EF4-FFF2-40B4-BE49-F238E27FC236}">
                    <a16:creationId xmlns:a16="http://schemas.microsoft.com/office/drawing/2014/main" id="{2D6FD5AF-ABF4-E8B4-3BF2-ED86C82376B8}"/>
                  </a:ext>
                </a:extLst>
              </p:cNvPr>
              <p:cNvSpPr/>
              <p:nvPr/>
            </p:nvSpPr>
            <p:spPr bwMode="gray">
              <a:xfrm>
                <a:off x="8125421" y="5585273"/>
                <a:ext cx="537869" cy="140580"/>
              </a:xfrm>
              <a:custGeom>
                <a:avLst/>
                <a:gdLst>
                  <a:gd name="connsiteX0" fmla="*/ 704940 w 716750"/>
                  <a:gd name="connsiteY0" fmla="*/ 174591 h 187332"/>
                  <a:gd name="connsiteX1" fmla="*/ 331904 w 716750"/>
                  <a:gd name="connsiteY1" fmla="*/ 39386 h 187332"/>
                  <a:gd name="connsiteX2" fmla="*/ 18326 w 716750"/>
                  <a:gd name="connsiteY2" fmla="*/ 28797 h 187332"/>
                  <a:gd name="connsiteX3" fmla="*/ 18326 w 716750"/>
                  <a:gd name="connsiteY3" fmla="*/ 28797 h 187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6750" h="187332">
                    <a:moveTo>
                      <a:pt x="704940" y="174591"/>
                    </a:moveTo>
                    <a:cubicBezTo>
                      <a:pt x="555074" y="102101"/>
                      <a:pt x="428014" y="62191"/>
                      <a:pt x="331904" y="39386"/>
                    </a:cubicBezTo>
                    <a:cubicBezTo>
                      <a:pt x="229278" y="15765"/>
                      <a:pt x="122581" y="11693"/>
                      <a:pt x="18326" y="28797"/>
                    </a:cubicBezTo>
                    <a:lnTo>
                      <a:pt x="18326" y="28797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0" name="Freihandform: Form 151">
                <a:extLst>
                  <a:ext uri="{FF2B5EF4-FFF2-40B4-BE49-F238E27FC236}">
                    <a16:creationId xmlns:a16="http://schemas.microsoft.com/office/drawing/2014/main" id="{595D3152-1BFF-70FD-6F67-BEF62724CF11}"/>
                  </a:ext>
                </a:extLst>
              </p:cNvPr>
              <p:cNvSpPr/>
              <p:nvPr/>
            </p:nvSpPr>
            <p:spPr bwMode="gray">
              <a:xfrm>
                <a:off x="8071634" y="5415267"/>
                <a:ext cx="79458" cy="226149"/>
              </a:xfrm>
              <a:custGeom>
                <a:avLst/>
                <a:gdLst>
                  <a:gd name="connsiteX0" fmla="*/ 89187 w 105883"/>
                  <a:gd name="connsiteY0" fmla="*/ 283035 h 301361"/>
                  <a:gd name="connsiteX1" fmla="*/ 52535 w 105883"/>
                  <a:gd name="connsiteY1" fmla="*/ 283035 h 301361"/>
                  <a:gd name="connsiteX2" fmla="*/ 18326 w 105883"/>
                  <a:gd name="connsiteY2" fmla="*/ 248827 h 301361"/>
                  <a:gd name="connsiteX3" fmla="*/ 18326 w 105883"/>
                  <a:gd name="connsiteY3" fmla="*/ 52535 h 301361"/>
                  <a:gd name="connsiteX4" fmla="*/ 52535 w 105883"/>
                  <a:gd name="connsiteY4" fmla="*/ 18326 h 301361"/>
                  <a:gd name="connsiteX5" fmla="*/ 89187 w 105883"/>
                  <a:gd name="connsiteY5" fmla="*/ 18326 h 301361"/>
                  <a:gd name="connsiteX6" fmla="*/ 89187 w 105883"/>
                  <a:gd name="connsiteY6" fmla="*/ 283035 h 301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5883" h="301361">
                    <a:moveTo>
                      <a:pt x="89187" y="283035"/>
                    </a:moveTo>
                    <a:lnTo>
                      <a:pt x="52535" y="283035"/>
                    </a:lnTo>
                    <a:cubicBezTo>
                      <a:pt x="33802" y="283035"/>
                      <a:pt x="18326" y="267560"/>
                      <a:pt x="18326" y="248827"/>
                    </a:cubicBezTo>
                    <a:lnTo>
                      <a:pt x="18326" y="52535"/>
                    </a:lnTo>
                    <a:cubicBezTo>
                      <a:pt x="18326" y="33801"/>
                      <a:pt x="33802" y="18326"/>
                      <a:pt x="52535" y="18326"/>
                    </a:cubicBezTo>
                    <a:lnTo>
                      <a:pt x="89187" y="18326"/>
                    </a:lnTo>
                    <a:lnTo>
                      <a:pt x="89187" y="283035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5" name="Gruppieren 152">
              <a:extLst>
                <a:ext uri="{FF2B5EF4-FFF2-40B4-BE49-F238E27FC236}">
                  <a16:creationId xmlns:a16="http://schemas.microsoft.com/office/drawing/2014/main" id="{8872F882-AA25-4F42-700A-300D1E880F5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4363116" y="1676645"/>
              <a:ext cx="442498" cy="390279"/>
              <a:chOff x="8797658" y="7629428"/>
              <a:chExt cx="712335" cy="628274"/>
            </a:xfrm>
          </p:grpSpPr>
          <p:sp>
            <p:nvSpPr>
              <p:cNvPr id="61" name="Freihandform: Form 153">
                <a:extLst>
                  <a:ext uri="{FF2B5EF4-FFF2-40B4-BE49-F238E27FC236}">
                    <a16:creationId xmlns:a16="http://schemas.microsoft.com/office/drawing/2014/main" id="{25319030-2B7E-580C-FDB2-F491361149F3}"/>
                  </a:ext>
                </a:extLst>
              </p:cNvPr>
              <p:cNvSpPr/>
              <p:nvPr/>
            </p:nvSpPr>
            <p:spPr bwMode="gray">
              <a:xfrm>
                <a:off x="9030736" y="7823205"/>
                <a:ext cx="92795" cy="141921"/>
              </a:xfrm>
              <a:custGeom>
                <a:avLst/>
                <a:gdLst>
                  <a:gd name="connsiteX0" fmla="*/ 12282 w 92794"/>
                  <a:gd name="connsiteY0" fmla="*/ 132369 h 141921"/>
                  <a:gd name="connsiteX1" fmla="*/ 12282 w 92794"/>
                  <a:gd name="connsiteY1" fmla="*/ 12282 h 141921"/>
                  <a:gd name="connsiteX2" fmla="*/ 82150 w 92794"/>
                  <a:gd name="connsiteY2" fmla="*/ 12282 h 141921"/>
                  <a:gd name="connsiteX3" fmla="*/ 82150 w 92794"/>
                  <a:gd name="connsiteY3" fmla="*/ 132369 h 141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794" h="141921">
                    <a:moveTo>
                      <a:pt x="12282" y="132369"/>
                    </a:moveTo>
                    <a:lnTo>
                      <a:pt x="12282" y="12282"/>
                    </a:lnTo>
                    <a:lnTo>
                      <a:pt x="82150" y="12282"/>
                    </a:lnTo>
                    <a:lnTo>
                      <a:pt x="82150" y="13236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2" name="Freihandform: Form 154">
                <a:extLst>
                  <a:ext uri="{FF2B5EF4-FFF2-40B4-BE49-F238E27FC236}">
                    <a16:creationId xmlns:a16="http://schemas.microsoft.com/office/drawing/2014/main" id="{235C5CF7-484A-CA36-78DA-0B7B94F45AB3}"/>
                  </a:ext>
                </a:extLst>
              </p:cNvPr>
              <p:cNvSpPr/>
              <p:nvPr/>
            </p:nvSpPr>
            <p:spPr bwMode="gray">
              <a:xfrm>
                <a:off x="9065671" y="7823205"/>
                <a:ext cx="21834" cy="174672"/>
              </a:xfrm>
              <a:custGeom>
                <a:avLst/>
                <a:gdLst>
                  <a:gd name="connsiteX0" fmla="*/ 12282 w 21834"/>
                  <a:gd name="connsiteY0" fmla="*/ 12282 h 174672"/>
                  <a:gd name="connsiteX1" fmla="*/ 12282 w 21834"/>
                  <a:gd name="connsiteY1" fmla="*/ 165120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174672">
                    <a:moveTo>
                      <a:pt x="12282" y="12282"/>
                    </a:moveTo>
                    <a:lnTo>
                      <a:pt x="12282" y="165120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3" name="Freihandform: Form 155">
                <a:extLst>
                  <a:ext uri="{FF2B5EF4-FFF2-40B4-BE49-F238E27FC236}">
                    <a16:creationId xmlns:a16="http://schemas.microsoft.com/office/drawing/2014/main" id="{B355B21C-B0BD-D60C-2C96-5002D7824A09}"/>
                  </a:ext>
                </a:extLst>
              </p:cNvPr>
              <p:cNvSpPr/>
              <p:nvPr/>
            </p:nvSpPr>
            <p:spPr bwMode="gray">
              <a:xfrm>
                <a:off x="9043836" y="7656720"/>
                <a:ext cx="65502" cy="65502"/>
              </a:xfrm>
              <a:custGeom>
                <a:avLst/>
                <a:gdLst>
                  <a:gd name="connsiteX0" fmla="*/ 55950 w 65502"/>
                  <a:gd name="connsiteY0" fmla="*/ 34116 h 65502"/>
                  <a:gd name="connsiteX1" fmla="*/ 34116 w 65502"/>
                  <a:gd name="connsiteY1" fmla="*/ 55950 h 65502"/>
                  <a:gd name="connsiteX2" fmla="*/ 12282 w 65502"/>
                  <a:gd name="connsiteY2" fmla="*/ 34116 h 65502"/>
                  <a:gd name="connsiteX3" fmla="*/ 34116 w 65502"/>
                  <a:gd name="connsiteY3" fmla="*/ 12282 h 65502"/>
                  <a:gd name="connsiteX4" fmla="*/ 55950 w 65502"/>
                  <a:gd name="connsiteY4" fmla="*/ 34116 h 65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502" h="65502">
                    <a:moveTo>
                      <a:pt x="55950" y="34116"/>
                    </a:moveTo>
                    <a:cubicBezTo>
                      <a:pt x="55950" y="46124"/>
                      <a:pt x="46124" y="55950"/>
                      <a:pt x="34116" y="55950"/>
                    </a:cubicBezTo>
                    <a:cubicBezTo>
                      <a:pt x="22107" y="55950"/>
                      <a:pt x="12282" y="46124"/>
                      <a:pt x="12282" y="34116"/>
                    </a:cubicBezTo>
                    <a:cubicBezTo>
                      <a:pt x="12282" y="22107"/>
                      <a:pt x="22107" y="12282"/>
                      <a:pt x="34116" y="12282"/>
                    </a:cubicBezTo>
                    <a:cubicBezTo>
                      <a:pt x="46124" y="12282"/>
                      <a:pt x="55950" y="22107"/>
                      <a:pt x="55950" y="34116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4" name="Freihandform: Form 156">
                <a:extLst>
                  <a:ext uri="{FF2B5EF4-FFF2-40B4-BE49-F238E27FC236}">
                    <a16:creationId xmlns:a16="http://schemas.microsoft.com/office/drawing/2014/main" id="{EA834B4A-DC92-BC1B-C4B0-ABDD36303C87}"/>
                  </a:ext>
                </a:extLst>
              </p:cNvPr>
              <p:cNvSpPr/>
              <p:nvPr/>
            </p:nvSpPr>
            <p:spPr bwMode="gray">
              <a:xfrm>
                <a:off x="9065671" y="7726043"/>
                <a:ext cx="21834" cy="87336"/>
              </a:xfrm>
              <a:custGeom>
                <a:avLst/>
                <a:gdLst>
                  <a:gd name="connsiteX0" fmla="*/ 12282 w 21834"/>
                  <a:gd name="connsiteY0" fmla="*/ 12282 h 87336"/>
                  <a:gd name="connsiteX1" fmla="*/ 12282 w 21834"/>
                  <a:gd name="connsiteY1" fmla="*/ 78875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87336">
                    <a:moveTo>
                      <a:pt x="12282" y="12282"/>
                    </a:moveTo>
                    <a:lnTo>
                      <a:pt x="12282" y="78875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5" name="Freihandform: Form 157">
                <a:extLst>
                  <a:ext uri="{FF2B5EF4-FFF2-40B4-BE49-F238E27FC236}">
                    <a16:creationId xmlns:a16="http://schemas.microsoft.com/office/drawing/2014/main" id="{BD4CE683-062A-C30C-5C7F-BA60B2448AEF}"/>
                  </a:ext>
                </a:extLst>
              </p:cNvPr>
              <p:cNvSpPr/>
              <p:nvPr/>
            </p:nvSpPr>
            <p:spPr bwMode="gray">
              <a:xfrm>
                <a:off x="9030736" y="7770803"/>
                <a:ext cx="92795" cy="76419"/>
              </a:xfrm>
              <a:custGeom>
                <a:avLst/>
                <a:gdLst>
                  <a:gd name="connsiteX0" fmla="*/ 12282 w 92794"/>
                  <a:gd name="connsiteY0" fmla="*/ 12282 h 76419"/>
                  <a:gd name="connsiteX1" fmla="*/ 12282 w 92794"/>
                  <a:gd name="connsiteY1" fmla="*/ 64683 h 76419"/>
                  <a:gd name="connsiteX2" fmla="*/ 82150 w 92794"/>
                  <a:gd name="connsiteY2" fmla="*/ 64683 h 76419"/>
                  <a:gd name="connsiteX3" fmla="*/ 82150 w 92794"/>
                  <a:gd name="connsiteY3" fmla="*/ 12282 h 76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794" h="76419">
                    <a:moveTo>
                      <a:pt x="12282" y="12282"/>
                    </a:moveTo>
                    <a:lnTo>
                      <a:pt x="12282" y="64683"/>
                    </a:lnTo>
                    <a:lnTo>
                      <a:pt x="82150" y="64683"/>
                    </a:lnTo>
                    <a:lnTo>
                      <a:pt x="82150" y="12282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6" name="Freihandform: Form 158">
                <a:extLst>
                  <a:ext uri="{FF2B5EF4-FFF2-40B4-BE49-F238E27FC236}">
                    <a16:creationId xmlns:a16="http://schemas.microsoft.com/office/drawing/2014/main" id="{01888448-A7B1-4F7E-A7DD-DFE88E5F0B24}"/>
                  </a:ext>
                </a:extLst>
              </p:cNvPr>
              <p:cNvSpPr/>
              <p:nvPr/>
            </p:nvSpPr>
            <p:spPr bwMode="gray">
              <a:xfrm>
                <a:off x="8957592" y="7682375"/>
                <a:ext cx="169214" cy="87336"/>
              </a:xfrm>
              <a:custGeom>
                <a:avLst/>
                <a:gdLst>
                  <a:gd name="connsiteX0" fmla="*/ 158570 w 169213"/>
                  <a:gd name="connsiteY0" fmla="*/ 55950 h 87336"/>
                  <a:gd name="connsiteX1" fmla="*/ 101801 w 169213"/>
                  <a:gd name="connsiteY1" fmla="*/ 55950 h 87336"/>
                  <a:gd name="connsiteX2" fmla="*/ 66867 w 169213"/>
                  <a:gd name="connsiteY2" fmla="*/ 69596 h 87336"/>
                  <a:gd name="connsiteX3" fmla="*/ 66867 w 169213"/>
                  <a:gd name="connsiteY3" fmla="*/ 69596 h 87336"/>
                  <a:gd name="connsiteX4" fmla="*/ 32478 w 169213"/>
                  <a:gd name="connsiteY4" fmla="*/ 61954 h 87336"/>
                  <a:gd name="connsiteX5" fmla="*/ 12282 w 169213"/>
                  <a:gd name="connsiteY5" fmla="*/ 12282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9213" h="87336">
                    <a:moveTo>
                      <a:pt x="158570" y="55950"/>
                    </a:moveTo>
                    <a:lnTo>
                      <a:pt x="101801" y="55950"/>
                    </a:lnTo>
                    <a:cubicBezTo>
                      <a:pt x="88701" y="55950"/>
                      <a:pt x="76146" y="60862"/>
                      <a:pt x="66867" y="69596"/>
                    </a:cubicBezTo>
                    <a:lnTo>
                      <a:pt x="66867" y="69596"/>
                    </a:lnTo>
                    <a:cubicBezTo>
                      <a:pt x="55950" y="79967"/>
                      <a:pt x="37937" y="76146"/>
                      <a:pt x="32478" y="61954"/>
                    </a:cubicBezTo>
                    <a:lnTo>
                      <a:pt x="12282" y="12282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7" name="Freihandform: Form 159">
                <a:extLst>
                  <a:ext uri="{FF2B5EF4-FFF2-40B4-BE49-F238E27FC236}">
                    <a16:creationId xmlns:a16="http://schemas.microsoft.com/office/drawing/2014/main" id="{564B1CCB-583D-84D2-C1FF-45BB85D1DC13}"/>
                  </a:ext>
                </a:extLst>
              </p:cNvPr>
              <p:cNvSpPr/>
              <p:nvPr/>
            </p:nvSpPr>
            <p:spPr bwMode="gray">
              <a:xfrm>
                <a:off x="9103880" y="7726043"/>
                <a:ext cx="49127" cy="120087"/>
              </a:xfrm>
              <a:custGeom>
                <a:avLst/>
                <a:gdLst>
                  <a:gd name="connsiteX0" fmla="*/ 12282 w 49126"/>
                  <a:gd name="connsiteY0" fmla="*/ 12282 h 120087"/>
                  <a:gd name="connsiteX1" fmla="*/ 12282 w 49126"/>
                  <a:gd name="connsiteY1" fmla="*/ 12282 h 120087"/>
                  <a:gd name="connsiteX2" fmla="*/ 36845 w 49126"/>
                  <a:gd name="connsiteY2" fmla="*/ 41758 h 120087"/>
                  <a:gd name="connsiteX3" fmla="*/ 36845 w 49126"/>
                  <a:gd name="connsiteY3" fmla="*/ 109443 h 120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126" h="120087">
                    <a:moveTo>
                      <a:pt x="12282" y="12282"/>
                    </a:moveTo>
                    <a:lnTo>
                      <a:pt x="12282" y="12282"/>
                    </a:lnTo>
                    <a:cubicBezTo>
                      <a:pt x="28657" y="12282"/>
                      <a:pt x="36845" y="25382"/>
                      <a:pt x="36845" y="41758"/>
                    </a:cubicBezTo>
                    <a:lnTo>
                      <a:pt x="36845" y="109443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8" name="Freihandform: Form 160">
                <a:extLst>
                  <a:ext uri="{FF2B5EF4-FFF2-40B4-BE49-F238E27FC236}">
                    <a16:creationId xmlns:a16="http://schemas.microsoft.com/office/drawing/2014/main" id="{8EE81A2F-EED7-2CCE-648C-8670F3F7301B}"/>
                  </a:ext>
                </a:extLst>
              </p:cNvPr>
              <p:cNvSpPr/>
              <p:nvPr/>
            </p:nvSpPr>
            <p:spPr bwMode="gray">
              <a:xfrm>
                <a:off x="8797658" y="7900170"/>
                <a:ext cx="447597" cy="262008"/>
              </a:xfrm>
              <a:custGeom>
                <a:avLst/>
                <a:gdLst>
                  <a:gd name="connsiteX0" fmla="*/ 12282 w 447597"/>
                  <a:gd name="connsiteY0" fmla="*/ 189137 h 262008"/>
                  <a:gd name="connsiteX1" fmla="*/ 204967 w 447597"/>
                  <a:gd name="connsiteY1" fmla="*/ 12282 h 262008"/>
                  <a:gd name="connsiteX2" fmla="*/ 438045 w 447597"/>
                  <a:gd name="connsiteY2" fmla="*/ 253548 h 262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7597" h="262008">
                    <a:moveTo>
                      <a:pt x="12282" y="189137"/>
                    </a:moveTo>
                    <a:lnTo>
                      <a:pt x="204967" y="12282"/>
                    </a:lnTo>
                    <a:lnTo>
                      <a:pt x="438045" y="253548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9" name="Freihandform: Form 161">
                <a:extLst>
                  <a:ext uri="{FF2B5EF4-FFF2-40B4-BE49-F238E27FC236}">
                    <a16:creationId xmlns:a16="http://schemas.microsoft.com/office/drawing/2014/main" id="{D8A54E3A-8205-253A-EC04-BFB7218B9BA3}"/>
                  </a:ext>
                </a:extLst>
              </p:cNvPr>
              <p:cNvSpPr/>
              <p:nvPr/>
            </p:nvSpPr>
            <p:spPr bwMode="gray">
              <a:xfrm>
                <a:off x="9062396" y="7779537"/>
                <a:ext cx="447597" cy="251091"/>
              </a:xfrm>
              <a:custGeom>
                <a:avLst/>
                <a:gdLst>
                  <a:gd name="connsiteX0" fmla="*/ 12282 w 447597"/>
                  <a:gd name="connsiteY0" fmla="*/ 211517 h 251091"/>
                  <a:gd name="connsiteX1" fmla="*/ 222980 w 447597"/>
                  <a:gd name="connsiteY1" fmla="*/ 12282 h 251091"/>
                  <a:gd name="connsiteX2" fmla="*/ 438591 w 447597"/>
                  <a:gd name="connsiteY2" fmla="*/ 242085 h 251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7597" h="251091">
                    <a:moveTo>
                      <a:pt x="12282" y="211517"/>
                    </a:moveTo>
                    <a:lnTo>
                      <a:pt x="222980" y="12282"/>
                    </a:lnTo>
                    <a:lnTo>
                      <a:pt x="438591" y="24208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0" name="Freihandform: Form 162">
                <a:extLst>
                  <a:ext uri="{FF2B5EF4-FFF2-40B4-BE49-F238E27FC236}">
                    <a16:creationId xmlns:a16="http://schemas.microsoft.com/office/drawing/2014/main" id="{38A1A52F-A498-8E31-72B0-AA762EB7C947}"/>
                  </a:ext>
                </a:extLst>
              </p:cNvPr>
              <p:cNvSpPr/>
              <p:nvPr/>
            </p:nvSpPr>
            <p:spPr bwMode="gray">
              <a:xfrm>
                <a:off x="9223421" y="7924733"/>
                <a:ext cx="21834" cy="332969"/>
              </a:xfrm>
              <a:custGeom>
                <a:avLst/>
                <a:gdLst>
                  <a:gd name="connsiteX0" fmla="*/ 12282 w 21834"/>
                  <a:gd name="connsiteY0" fmla="*/ 12282 h 332968"/>
                  <a:gd name="connsiteX1" fmla="*/ 12282 w 21834"/>
                  <a:gd name="connsiteY1" fmla="*/ 325054 h 332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32968">
                    <a:moveTo>
                      <a:pt x="12282" y="12282"/>
                    </a:moveTo>
                    <a:lnTo>
                      <a:pt x="12282" y="325054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1" name="Freihandform: Form 163">
                <a:extLst>
                  <a:ext uri="{FF2B5EF4-FFF2-40B4-BE49-F238E27FC236}">
                    <a16:creationId xmlns:a16="http://schemas.microsoft.com/office/drawing/2014/main" id="{5BFBA4E4-2B5A-8435-51DD-AE5AC4B3A67C}"/>
                  </a:ext>
                </a:extLst>
              </p:cNvPr>
              <p:cNvSpPr/>
              <p:nvPr/>
            </p:nvSpPr>
            <p:spPr bwMode="gray">
              <a:xfrm>
                <a:off x="9308574" y="7924733"/>
                <a:ext cx="21834" cy="332969"/>
              </a:xfrm>
              <a:custGeom>
                <a:avLst/>
                <a:gdLst>
                  <a:gd name="connsiteX0" fmla="*/ 12282 w 21834"/>
                  <a:gd name="connsiteY0" fmla="*/ 12282 h 332968"/>
                  <a:gd name="connsiteX1" fmla="*/ 12282 w 21834"/>
                  <a:gd name="connsiteY1" fmla="*/ 325054 h 332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32968">
                    <a:moveTo>
                      <a:pt x="12282" y="12282"/>
                    </a:moveTo>
                    <a:lnTo>
                      <a:pt x="12282" y="325054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2" name="Freihandform: Form 164">
                <a:extLst>
                  <a:ext uri="{FF2B5EF4-FFF2-40B4-BE49-F238E27FC236}">
                    <a16:creationId xmlns:a16="http://schemas.microsoft.com/office/drawing/2014/main" id="{09880B39-BD16-8CE0-6528-8952C9EEBF3D}"/>
                  </a:ext>
                </a:extLst>
              </p:cNvPr>
              <p:cNvSpPr/>
              <p:nvPr/>
            </p:nvSpPr>
            <p:spPr bwMode="gray">
              <a:xfrm>
                <a:off x="9227788" y="7962943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3" name="Freihandform: Form 165">
                <a:extLst>
                  <a:ext uri="{FF2B5EF4-FFF2-40B4-BE49-F238E27FC236}">
                    <a16:creationId xmlns:a16="http://schemas.microsoft.com/office/drawing/2014/main" id="{295AC6F2-68CB-62E9-F456-E8FD8EA4249D}"/>
                  </a:ext>
                </a:extLst>
              </p:cNvPr>
              <p:cNvSpPr/>
              <p:nvPr/>
            </p:nvSpPr>
            <p:spPr bwMode="gray">
              <a:xfrm>
                <a:off x="9227788" y="8021894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4" name="Freihandform: Form 166">
                <a:extLst>
                  <a:ext uri="{FF2B5EF4-FFF2-40B4-BE49-F238E27FC236}">
                    <a16:creationId xmlns:a16="http://schemas.microsoft.com/office/drawing/2014/main" id="{45B0FAB3-68B4-8E26-9797-562ED89CFAD3}"/>
                  </a:ext>
                </a:extLst>
              </p:cNvPr>
              <p:cNvSpPr/>
              <p:nvPr/>
            </p:nvSpPr>
            <p:spPr bwMode="gray">
              <a:xfrm>
                <a:off x="9227788" y="8080846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5" name="Freihandform: Form 167">
                <a:extLst>
                  <a:ext uri="{FF2B5EF4-FFF2-40B4-BE49-F238E27FC236}">
                    <a16:creationId xmlns:a16="http://schemas.microsoft.com/office/drawing/2014/main" id="{A608F61F-A41E-5644-A6F4-E2782D0E93A4}"/>
                  </a:ext>
                </a:extLst>
              </p:cNvPr>
              <p:cNvSpPr/>
              <p:nvPr/>
            </p:nvSpPr>
            <p:spPr bwMode="gray">
              <a:xfrm>
                <a:off x="9227788" y="8140344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6" name="Freihandform: Form 168">
                <a:extLst>
                  <a:ext uri="{FF2B5EF4-FFF2-40B4-BE49-F238E27FC236}">
                    <a16:creationId xmlns:a16="http://schemas.microsoft.com/office/drawing/2014/main" id="{CCB4D8FA-2EC8-BC00-65D1-503D353BD989}"/>
                  </a:ext>
                </a:extLst>
              </p:cNvPr>
              <p:cNvSpPr/>
              <p:nvPr/>
            </p:nvSpPr>
            <p:spPr bwMode="gray">
              <a:xfrm>
                <a:off x="9227788" y="8199296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7" name="Freihandform: Form 169">
                <a:extLst>
                  <a:ext uri="{FF2B5EF4-FFF2-40B4-BE49-F238E27FC236}">
                    <a16:creationId xmlns:a16="http://schemas.microsoft.com/office/drawing/2014/main" id="{36FF92CC-1531-DA0A-4DD3-C1C0227A921A}"/>
                  </a:ext>
                </a:extLst>
              </p:cNvPr>
              <p:cNvSpPr/>
              <p:nvPr/>
            </p:nvSpPr>
            <p:spPr bwMode="gray">
              <a:xfrm>
                <a:off x="9273094" y="7629428"/>
                <a:ext cx="98253" cy="87336"/>
              </a:xfrm>
              <a:custGeom>
                <a:avLst/>
                <a:gdLst>
                  <a:gd name="connsiteX0" fmla="*/ 12282 w 98253"/>
                  <a:gd name="connsiteY0" fmla="*/ 12282 h 87336"/>
                  <a:gd name="connsiteX1" fmla="*/ 89246 w 98253"/>
                  <a:gd name="connsiteY1" fmla="*/ 12282 h 87336"/>
                  <a:gd name="connsiteX2" fmla="*/ 89246 w 98253"/>
                  <a:gd name="connsiteY2" fmla="*/ 79967 h 87336"/>
                  <a:gd name="connsiteX3" fmla="*/ 12282 w 98253"/>
                  <a:gd name="connsiteY3" fmla="*/ 79967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53" h="87336">
                    <a:moveTo>
                      <a:pt x="12282" y="12282"/>
                    </a:moveTo>
                    <a:lnTo>
                      <a:pt x="89246" y="12282"/>
                    </a:lnTo>
                    <a:lnTo>
                      <a:pt x="89246" y="79967"/>
                    </a:lnTo>
                    <a:lnTo>
                      <a:pt x="12282" y="7996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8" name="Freihandform: Form 170">
                <a:extLst>
                  <a:ext uri="{FF2B5EF4-FFF2-40B4-BE49-F238E27FC236}">
                    <a16:creationId xmlns:a16="http://schemas.microsoft.com/office/drawing/2014/main" id="{301B466A-9F17-AC7E-8F7A-0DD6657DB3BD}"/>
                  </a:ext>
                </a:extLst>
              </p:cNvPr>
              <p:cNvSpPr/>
              <p:nvPr/>
            </p:nvSpPr>
            <p:spPr bwMode="gray">
              <a:xfrm>
                <a:off x="9350059" y="7663271"/>
                <a:ext cx="98253" cy="87336"/>
              </a:xfrm>
              <a:custGeom>
                <a:avLst/>
                <a:gdLst>
                  <a:gd name="connsiteX0" fmla="*/ 12282 w 98253"/>
                  <a:gd name="connsiteY0" fmla="*/ 12282 h 87336"/>
                  <a:gd name="connsiteX1" fmla="*/ 89247 w 98253"/>
                  <a:gd name="connsiteY1" fmla="*/ 12282 h 87336"/>
                  <a:gd name="connsiteX2" fmla="*/ 89247 w 98253"/>
                  <a:gd name="connsiteY2" fmla="*/ 79967 h 87336"/>
                  <a:gd name="connsiteX3" fmla="*/ 12282 w 98253"/>
                  <a:gd name="connsiteY3" fmla="*/ 79967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53" h="87336">
                    <a:moveTo>
                      <a:pt x="12282" y="12282"/>
                    </a:moveTo>
                    <a:lnTo>
                      <a:pt x="89247" y="12282"/>
                    </a:lnTo>
                    <a:lnTo>
                      <a:pt x="89247" y="79967"/>
                    </a:lnTo>
                    <a:lnTo>
                      <a:pt x="12282" y="7996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9" name="Freihandform: Form 171">
                <a:extLst>
                  <a:ext uri="{FF2B5EF4-FFF2-40B4-BE49-F238E27FC236}">
                    <a16:creationId xmlns:a16="http://schemas.microsoft.com/office/drawing/2014/main" id="{DE6E8ED5-4098-B867-A25C-5884D17FB746}"/>
                  </a:ext>
                </a:extLst>
              </p:cNvPr>
              <p:cNvSpPr/>
              <p:nvPr/>
            </p:nvSpPr>
            <p:spPr bwMode="gray">
              <a:xfrm>
                <a:off x="9273094" y="7629428"/>
                <a:ext cx="21834" cy="174672"/>
              </a:xfrm>
              <a:custGeom>
                <a:avLst/>
                <a:gdLst>
                  <a:gd name="connsiteX0" fmla="*/ 12282 w 21834"/>
                  <a:gd name="connsiteY0" fmla="*/ 162390 h 174672"/>
                  <a:gd name="connsiteX1" fmla="*/ 12282 w 21834"/>
                  <a:gd name="connsiteY1" fmla="*/ 12282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174672">
                    <a:moveTo>
                      <a:pt x="12282" y="162390"/>
                    </a:moveTo>
                    <a:lnTo>
                      <a:pt x="12282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6" name="Gruppieren 174">
              <a:extLst>
                <a:ext uri="{FF2B5EF4-FFF2-40B4-BE49-F238E27FC236}">
                  <a16:creationId xmlns:a16="http://schemas.microsoft.com/office/drawing/2014/main" id="{286DA8C0-E6E1-8BFC-B825-E353CDB1D4B3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1006530" y="4761255"/>
              <a:ext cx="474967" cy="430310"/>
              <a:chOff x="8663730" y="8525169"/>
              <a:chExt cx="716156" cy="648821"/>
            </a:xfrm>
          </p:grpSpPr>
          <p:sp>
            <p:nvSpPr>
              <p:cNvPr id="48" name="Freihandform: Form 175">
                <a:extLst>
                  <a:ext uri="{FF2B5EF4-FFF2-40B4-BE49-F238E27FC236}">
                    <a16:creationId xmlns:a16="http://schemas.microsoft.com/office/drawing/2014/main" id="{2C1F0C23-2E13-2A0C-287B-3C4F0EDB1C90}"/>
                  </a:ext>
                </a:extLst>
              </p:cNvPr>
              <p:cNvSpPr/>
              <p:nvPr/>
            </p:nvSpPr>
            <p:spPr bwMode="gray">
              <a:xfrm>
                <a:off x="8855869" y="8911268"/>
                <a:ext cx="360261" cy="114629"/>
              </a:xfrm>
              <a:custGeom>
                <a:avLst/>
                <a:gdLst>
                  <a:gd name="connsiteX0" fmla="*/ 205708 w 360261"/>
                  <a:gd name="connsiteY0" fmla="*/ 107623 h 114628"/>
                  <a:gd name="connsiteX1" fmla="*/ 239005 w 360261"/>
                  <a:gd name="connsiteY1" fmla="*/ 107623 h 114628"/>
                  <a:gd name="connsiteX2" fmla="*/ 327978 w 360261"/>
                  <a:gd name="connsiteY2" fmla="*/ 80331 h 114628"/>
                  <a:gd name="connsiteX3" fmla="*/ 352541 w 360261"/>
                  <a:gd name="connsiteY3" fmla="*/ 63955 h 114628"/>
                  <a:gd name="connsiteX4" fmla="*/ 355271 w 360261"/>
                  <a:gd name="connsiteY4" fmla="*/ 51946 h 114628"/>
                  <a:gd name="connsiteX5" fmla="*/ 341078 w 360261"/>
                  <a:gd name="connsiteY5" fmla="*/ 38846 h 114628"/>
                  <a:gd name="connsiteX6" fmla="*/ 302323 w 360261"/>
                  <a:gd name="connsiteY6" fmla="*/ 38300 h 114628"/>
                  <a:gd name="connsiteX7" fmla="*/ 217171 w 360261"/>
                  <a:gd name="connsiteY7" fmla="*/ 41576 h 114628"/>
                  <a:gd name="connsiteX8" fmla="*/ 175140 w 360261"/>
                  <a:gd name="connsiteY8" fmla="*/ 19741 h 114628"/>
                  <a:gd name="connsiteX9" fmla="*/ 7018 w 360261"/>
                  <a:gd name="connsiteY9" fmla="*/ 40483 h 114628"/>
                  <a:gd name="connsiteX10" fmla="*/ 7018 w 360261"/>
                  <a:gd name="connsiteY10" fmla="*/ 40483 h 11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0261" h="114628">
                    <a:moveTo>
                      <a:pt x="205708" y="107623"/>
                    </a:moveTo>
                    <a:lnTo>
                      <a:pt x="239005" y="107623"/>
                    </a:lnTo>
                    <a:cubicBezTo>
                      <a:pt x="270664" y="107623"/>
                      <a:pt x="301777" y="98343"/>
                      <a:pt x="327978" y="80331"/>
                    </a:cubicBezTo>
                    <a:lnTo>
                      <a:pt x="352541" y="63955"/>
                    </a:lnTo>
                    <a:cubicBezTo>
                      <a:pt x="356362" y="61226"/>
                      <a:pt x="358000" y="55768"/>
                      <a:pt x="355271" y="51946"/>
                    </a:cubicBezTo>
                    <a:cubicBezTo>
                      <a:pt x="351450" y="45942"/>
                      <a:pt x="346537" y="42121"/>
                      <a:pt x="341078" y="38846"/>
                    </a:cubicBezTo>
                    <a:cubicBezTo>
                      <a:pt x="329070" y="31750"/>
                      <a:pt x="314332" y="32296"/>
                      <a:pt x="302323" y="38300"/>
                    </a:cubicBezTo>
                    <a:cubicBezTo>
                      <a:pt x="257018" y="60134"/>
                      <a:pt x="217171" y="41576"/>
                      <a:pt x="217171" y="41576"/>
                    </a:cubicBezTo>
                    <a:cubicBezTo>
                      <a:pt x="202433" y="32296"/>
                      <a:pt x="188786" y="25200"/>
                      <a:pt x="175140" y="19741"/>
                    </a:cubicBezTo>
                    <a:cubicBezTo>
                      <a:pt x="119463" y="-3185"/>
                      <a:pt x="55599" y="5549"/>
                      <a:pt x="7018" y="40483"/>
                    </a:cubicBezTo>
                    <a:lnTo>
                      <a:pt x="7018" y="40483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9" name="Freihandform: Form 176">
                <a:extLst>
                  <a:ext uri="{FF2B5EF4-FFF2-40B4-BE49-F238E27FC236}">
                    <a16:creationId xmlns:a16="http://schemas.microsoft.com/office/drawing/2014/main" id="{2FCA1D6E-F1A4-7384-7056-3913E5F75F2E}"/>
                  </a:ext>
                </a:extLst>
              </p:cNvPr>
              <p:cNvSpPr/>
              <p:nvPr/>
            </p:nvSpPr>
            <p:spPr bwMode="gray">
              <a:xfrm>
                <a:off x="8855869" y="8898661"/>
                <a:ext cx="524017" cy="174672"/>
              </a:xfrm>
              <a:custGeom>
                <a:avLst/>
                <a:gdLst>
                  <a:gd name="connsiteX0" fmla="*/ 7018 w 524016"/>
                  <a:gd name="connsiteY0" fmla="*/ 169902 h 174672"/>
                  <a:gd name="connsiteX1" fmla="*/ 213895 w 524016"/>
                  <a:gd name="connsiteY1" fmla="*/ 162806 h 174672"/>
                  <a:gd name="connsiteX2" fmla="*/ 313786 w 524016"/>
                  <a:gd name="connsiteY2" fmla="*/ 140972 h 174672"/>
                  <a:gd name="connsiteX3" fmla="*/ 514113 w 524016"/>
                  <a:gd name="connsiteY3" fmla="*/ 35077 h 174672"/>
                  <a:gd name="connsiteX4" fmla="*/ 516842 w 524016"/>
                  <a:gd name="connsiteY4" fmla="*/ 23068 h 174672"/>
                  <a:gd name="connsiteX5" fmla="*/ 460620 w 524016"/>
                  <a:gd name="connsiteY5" fmla="*/ 9967 h 174672"/>
                  <a:gd name="connsiteX6" fmla="*/ 449703 w 524016"/>
                  <a:gd name="connsiteY6" fmla="*/ 13789 h 174672"/>
                  <a:gd name="connsiteX7" fmla="*/ 348720 w 524016"/>
                  <a:gd name="connsiteY7" fmla="*/ 56911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4016" h="174672">
                    <a:moveTo>
                      <a:pt x="7018" y="169902"/>
                    </a:moveTo>
                    <a:cubicBezTo>
                      <a:pt x="7018" y="169902"/>
                      <a:pt x="82345" y="155164"/>
                      <a:pt x="213895" y="162806"/>
                    </a:cubicBezTo>
                    <a:cubicBezTo>
                      <a:pt x="248830" y="164989"/>
                      <a:pt x="283218" y="156801"/>
                      <a:pt x="313786" y="140972"/>
                    </a:cubicBezTo>
                    <a:lnTo>
                      <a:pt x="514113" y="35077"/>
                    </a:lnTo>
                    <a:cubicBezTo>
                      <a:pt x="518480" y="32894"/>
                      <a:pt x="519572" y="26889"/>
                      <a:pt x="516842" y="23068"/>
                    </a:cubicBezTo>
                    <a:cubicBezTo>
                      <a:pt x="509746" y="13789"/>
                      <a:pt x="493371" y="1234"/>
                      <a:pt x="460620" y="9967"/>
                    </a:cubicBezTo>
                    <a:cubicBezTo>
                      <a:pt x="456799" y="11059"/>
                      <a:pt x="453524" y="12151"/>
                      <a:pt x="449703" y="13789"/>
                    </a:cubicBezTo>
                    <a:lnTo>
                      <a:pt x="348720" y="56911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0" name="Freihandform: Form 177">
                <a:extLst>
                  <a:ext uri="{FF2B5EF4-FFF2-40B4-BE49-F238E27FC236}">
                    <a16:creationId xmlns:a16="http://schemas.microsoft.com/office/drawing/2014/main" id="{53B74D0C-FE90-397B-49C4-A1B6B67483AC}"/>
                  </a:ext>
                </a:extLst>
              </p:cNvPr>
              <p:cNvSpPr/>
              <p:nvPr/>
            </p:nvSpPr>
            <p:spPr bwMode="gray">
              <a:xfrm>
                <a:off x="8779996" y="8918533"/>
                <a:ext cx="87336" cy="201965"/>
              </a:xfrm>
              <a:custGeom>
                <a:avLst/>
                <a:gdLst>
                  <a:gd name="connsiteX0" fmla="*/ 7018 w 87336"/>
                  <a:gd name="connsiteY0" fmla="*/ 198066 h 201964"/>
                  <a:gd name="connsiteX1" fmla="*/ 80708 w 87336"/>
                  <a:gd name="connsiteY1" fmla="*/ 198066 h 201964"/>
                  <a:gd name="connsiteX2" fmla="*/ 80708 w 87336"/>
                  <a:gd name="connsiteY2" fmla="*/ 7018 h 201964"/>
                  <a:gd name="connsiteX3" fmla="*/ 7018 w 87336"/>
                  <a:gd name="connsiteY3" fmla="*/ 7018 h 201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7336" h="201964">
                    <a:moveTo>
                      <a:pt x="7018" y="198066"/>
                    </a:moveTo>
                    <a:lnTo>
                      <a:pt x="80708" y="198066"/>
                    </a:lnTo>
                    <a:lnTo>
                      <a:pt x="80708" y="7018"/>
                    </a:lnTo>
                    <a:lnTo>
                      <a:pt x="7018" y="7018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1" name="Freihandform: Form 178">
                <a:extLst>
                  <a:ext uri="{FF2B5EF4-FFF2-40B4-BE49-F238E27FC236}">
                    <a16:creationId xmlns:a16="http://schemas.microsoft.com/office/drawing/2014/main" id="{16C34792-1994-48E2-F244-70B3A0605D5E}"/>
                  </a:ext>
                </a:extLst>
              </p:cNvPr>
              <p:cNvSpPr/>
              <p:nvPr/>
            </p:nvSpPr>
            <p:spPr bwMode="gray">
              <a:xfrm>
                <a:off x="8663730" y="8862855"/>
                <a:ext cx="125546" cy="311135"/>
              </a:xfrm>
              <a:custGeom>
                <a:avLst/>
                <a:gdLst>
                  <a:gd name="connsiteX0" fmla="*/ 7018 w 125545"/>
                  <a:gd name="connsiteY0" fmla="*/ 304507 h 311134"/>
                  <a:gd name="connsiteX1" fmla="*/ 123284 w 125545"/>
                  <a:gd name="connsiteY1" fmla="*/ 304507 h 311134"/>
                  <a:gd name="connsiteX2" fmla="*/ 123284 w 125545"/>
                  <a:gd name="connsiteY2" fmla="*/ 7018 h 311134"/>
                  <a:gd name="connsiteX3" fmla="*/ 7018 w 125545"/>
                  <a:gd name="connsiteY3" fmla="*/ 7018 h 311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5545" h="311134">
                    <a:moveTo>
                      <a:pt x="7018" y="304507"/>
                    </a:moveTo>
                    <a:lnTo>
                      <a:pt x="123284" y="304507"/>
                    </a:lnTo>
                    <a:lnTo>
                      <a:pt x="123284" y="7018"/>
                    </a:lnTo>
                    <a:lnTo>
                      <a:pt x="7018" y="7018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2" name="Freihandform: Form 179">
                <a:extLst>
                  <a:ext uri="{FF2B5EF4-FFF2-40B4-BE49-F238E27FC236}">
                    <a16:creationId xmlns:a16="http://schemas.microsoft.com/office/drawing/2014/main" id="{1FBA7514-9694-B559-D0BA-352095D8E010}"/>
                  </a:ext>
                </a:extLst>
              </p:cNvPr>
              <p:cNvSpPr/>
              <p:nvPr/>
            </p:nvSpPr>
            <p:spPr bwMode="gray">
              <a:xfrm>
                <a:off x="9052024" y="8745147"/>
                <a:ext cx="87336" cy="147380"/>
              </a:xfrm>
              <a:custGeom>
                <a:avLst/>
                <a:gdLst>
                  <a:gd name="connsiteX0" fmla="*/ 12282 w 87336"/>
                  <a:gd name="connsiteY0" fmla="*/ 107260 h 147379"/>
                  <a:gd name="connsiteX1" fmla="*/ 43941 w 87336"/>
                  <a:gd name="connsiteY1" fmla="*/ 138919 h 147379"/>
                  <a:gd name="connsiteX2" fmla="*/ 75601 w 87336"/>
                  <a:gd name="connsiteY2" fmla="*/ 107260 h 147379"/>
                  <a:gd name="connsiteX3" fmla="*/ 43941 w 87336"/>
                  <a:gd name="connsiteY3" fmla="*/ 75600 h 147379"/>
                  <a:gd name="connsiteX4" fmla="*/ 12282 w 87336"/>
                  <a:gd name="connsiteY4" fmla="*/ 43941 h 147379"/>
                  <a:gd name="connsiteX5" fmla="*/ 43941 w 87336"/>
                  <a:gd name="connsiteY5" fmla="*/ 12282 h 147379"/>
                  <a:gd name="connsiteX6" fmla="*/ 75601 w 87336"/>
                  <a:gd name="connsiteY6" fmla="*/ 43941 h 14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7336" h="147379">
                    <a:moveTo>
                      <a:pt x="12282" y="107260"/>
                    </a:moveTo>
                    <a:cubicBezTo>
                      <a:pt x="12282" y="124727"/>
                      <a:pt x="26474" y="138919"/>
                      <a:pt x="43941" y="138919"/>
                    </a:cubicBezTo>
                    <a:cubicBezTo>
                      <a:pt x="61408" y="138919"/>
                      <a:pt x="75601" y="124727"/>
                      <a:pt x="75601" y="107260"/>
                    </a:cubicBezTo>
                    <a:cubicBezTo>
                      <a:pt x="75601" y="89792"/>
                      <a:pt x="62500" y="81604"/>
                      <a:pt x="43941" y="75600"/>
                    </a:cubicBezTo>
                    <a:cubicBezTo>
                      <a:pt x="27565" y="70142"/>
                      <a:pt x="12282" y="61408"/>
                      <a:pt x="12282" y="43941"/>
                    </a:cubicBezTo>
                    <a:cubicBezTo>
                      <a:pt x="12282" y="26474"/>
                      <a:pt x="26474" y="12282"/>
                      <a:pt x="43941" y="12282"/>
                    </a:cubicBezTo>
                    <a:cubicBezTo>
                      <a:pt x="61408" y="12282"/>
                      <a:pt x="75601" y="26474"/>
                      <a:pt x="75601" y="4394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3" name="Freihandform: Form 180">
                <a:extLst>
                  <a:ext uri="{FF2B5EF4-FFF2-40B4-BE49-F238E27FC236}">
                    <a16:creationId xmlns:a16="http://schemas.microsoft.com/office/drawing/2014/main" id="{5378908A-3CD7-C218-E24B-66C8DAE0DD3F}"/>
                  </a:ext>
                </a:extLst>
              </p:cNvPr>
              <p:cNvSpPr/>
              <p:nvPr/>
            </p:nvSpPr>
            <p:spPr bwMode="gray">
              <a:xfrm>
                <a:off x="9083684" y="8727134"/>
                <a:ext cx="21834" cy="38210"/>
              </a:xfrm>
              <a:custGeom>
                <a:avLst/>
                <a:gdLst>
                  <a:gd name="connsiteX0" fmla="*/ 12282 w 21834"/>
                  <a:gd name="connsiteY0" fmla="*/ 12281 h 38209"/>
                  <a:gd name="connsiteX1" fmla="*/ 12282 w 21834"/>
                  <a:gd name="connsiteY1" fmla="*/ 30295 h 3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8209">
                    <a:moveTo>
                      <a:pt x="12282" y="12281"/>
                    </a:moveTo>
                    <a:lnTo>
                      <a:pt x="12282" y="3029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4" name="Freihandform: Form 181">
                <a:extLst>
                  <a:ext uri="{FF2B5EF4-FFF2-40B4-BE49-F238E27FC236}">
                    <a16:creationId xmlns:a16="http://schemas.microsoft.com/office/drawing/2014/main" id="{13B0C4FF-803B-28E0-E847-1C9AA02F20F8}"/>
                  </a:ext>
                </a:extLst>
              </p:cNvPr>
              <p:cNvSpPr/>
              <p:nvPr/>
            </p:nvSpPr>
            <p:spPr bwMode="gray">
              <a:xfrm>
                <a:off x="9083684" y="8871784"/>
                <a:ext cx="21834" cy="38210"/>
              </a:xfrm>
              <a:custGeom>
                <a:avLst/>
                <a:gdLst>
                  <a:gd name="connsiteX0" fmla="*/ 12282 w 21834"/>
                  <a:gd name="connsiteY0" fmla="*/ 12281 h 38209"/>
                  <a:gd name="connsiteX1" fmla="*/ 12282 w 21834"/>
                  <a:gd name="connsiteY1" fmla="*/ 29749 h 3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8209">
                    <a:moveTo>
                      <a:pt x="12282" y="12281"/>
                    </a:moveTo>
                    <a:lnTo>
                      <a:pt x="12282" y="2974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5" name="Freihandform: Form 182">
                <a:extLst>
                  <a:ext uri="{FF2B5EF4-FFF2-40B4-BE49-F238E27FC236}">
                    <a16:creationId xmlns:a16="http://schemas.microsoft.com/office/drawing/2014/main" id="{3D0AC06F-7936-238E-CC89-14ECA6136DA1}"/>
                  </a:ext>
                </a:extLst>
              </p:cNvPr>
              <p:cNvSpPr/>
              <p:nvPr/>
            </p:nvSpPr>
            <p:spPr bwMode="gray">
              <a:xfrm>
                <a:off x="9198858" y="8709121"/>
                <a:ext cx="103712" cy="229257"/>
              </a:xfrm>
              <a:custGeom>
                <a:avLst/>
                <a:gdLst>
                  <a:gd name="connsiteX0" fmla="*/ 64137 w 103711"/>
                  <a:gd name="connsiteY0" fmla="*/ 221888 h 229257"/>
                  <a:gd name="connsiteX1" fmla="*/ 85425 w 103711"/>
                  <a:gd name="connsiteY1" fmla="*/ 94705 h 229257"/>
                  <a:gd name="connsiteX2" fmla="*/ 12282 w 103711"/>
                  <a:gd name="connsiteY2" fmla="*/ 12282 h 229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3711" h="229257">
                    <a:moveTo>
                      <a:pt x="64137" y="221888"/>
                    </a:moveTo>
                    <a:cubicBezTo>
                      <a:pt x="87609" y="193504"/>
                      <a:pt x="108351" y="140011"/>
                      <a:pt x="85425" y="94705"/>
                    </a:cubicBezTo>
                    <a:cubicBezTo>
                      <a:pt x="70688" y="65775"/>
                      <a:pt x="47216" y="36845"/>
                      <a:pt x="12282" y="1228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6" name="Freihandform: Form 183">
                <a:extLst>
                  <a:ext uri="{FF2B5EF4-FFF2-40B4-BE49-F238E27FC236}">
                    <a16:creationId xmlns:a16="http://schemas.microsoft.com/office/drawing/2014/main" id="{4FBFF65C-FB3C-EC76-F17C-E16B054A1B36}"/>
                  </a:ext>
                </a:extLst>
              </p:cNvPr>
              <p:cNvSpPr/>
              <p:nvPr/>
            </p:nvSpPr>
            <p:spPr bwMode="gray">
              <a:xfrm>
                <a:off x="8883582" y="8708575"/>
                <a:ext cx="109170" cy="223799"/>
              </a:xfrm>
              <a:custGeom>
                <a:avLst/>
                <a:gdLst>
                  <a:gd name="connsiteX0" fmla="*/ 97209 w 109170"/>
                  <a:gd name="connsiteY0" fmla="*/ 12282 h 223798"/>
                  <a:gd name="connsiteX1" fmla="*/ 24065 w 109170"/>
                  <a:gd name="connsiteY1" fmla="*/ 94705 h 223798"/>
                  <a:gd name="connsiteX2" fmla="*/ 39895 w 109170"/>
                  <a:gd name="connsiteY2" fmla="*/ 214792 h 223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170" h="223798">
                    <a:moveTo>
                      <a:pt x="97209" y="12282"/>
                    </a:moveTo>
                    <a:cubicBezTo>
                      <a:pt x="61729" y="36845"/>
                      <a:pt x="38803" y="65775"/>
                      <a:pt x="24065" y="94705"/>
                    </a:cubicBezTo>
                    <a:cubicBezTo>
                      <a:pt x="2231" y="136735"/>
                      <a:pt x="12602" y="187500"/>
                      <a:pt x="39895" y="21479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7" name="Freihandform: Form 184">
                <a:extLst>
                  <a:ext uri="{FF2B5EF4-FFF2-40B4-BE49-F238E27FC236}">
                    <a16:creationId xmlns:a16="http://schemas.microsoft.com/office/drawing/2014/main" id="{8C6E00CB-1ED1-241B-EACC-B33DE9B81184}"/>
                  </a:ext>
                </a:extLst>
              </p:cNvPr>
              <p:cNvSpPr/>
              <p:nvPr/>
            </p:nvSpPr>
            <p:spPr bwMode="gray">
              <a:xfrm>
                <a:off x="8920474" y="8619055"/>
                <a:ext cx="349344" cy="114629"/>
              </a:xfrm>
              <a:custGeom>
                <a:avLst/>
                <a:gdLst>
                  <a:gd name="connsiteX0" fmla="*/ 12282 w 349344"/>
                  <a:gd name="connsiteY0" fmla="*/ 107260 h 114628"/>
                  <a:gd name="connsiteX1" fmla="*/ 12282 w 349344"/>
                  <a:gd name="connsiteY1" fmla="*/ 68504 h 114628"/>
                  <a:gd name="connsiteX2" fmla="*/ 68504 w 349344"/>
                  <a:gd name="connsiteY2" fmla="*/ 12282 h 114628"/>
                  <a:gd name="connsiteX3" fmla="*/ 281932 w 349344"/>
                  <a:gd name="connsiteY3" fmla="*/ 12282 h 114628"/>
                  <a:gd name="connsiteX4" fmla="*/ 338155 w 349344"/>
                  <a:gd name="connsiteY4" fmla="*/ 68504 h 114628"/>
                  <a:gd name="connsiteX5" fmla="*/ 338155 w 349344"/>
                  <a:gd name="connsiteY5" fmla="*/ 107260 h 11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9344" h="114628">
                    <a:moveTo>
                      <a:pt x="12282" y="107260"/>
                    </a:moveTo>
                    <a:lnTo>
                      <a:pt x="12282" y="68504"/>
                    </a:lnTo>
                    <a:cubicBezTo>
                      <a:pt x="12282" y="37391"/>
                      <a:pt x="37391" y="12282"/>
                      <a:pt x="68504" y="12282"/>
                    </a:cubicBezTo>
                    <a:lnTo>
                      <a:pt x="281932" y="12282"/>
                    </a:lnTo>
                    <a:cubicBezTo>
                      <a:pt x="313045" y="12282"/>
                      <a:pt x="338155" y="37391"/>
                      <a:pt x="338155" y="68504"/>
                    </a:cubicBezTo>
                    <a:lnTo>
                      <a:pt x="338155" y="10726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8" name="Freihandform: Form 185">
                <a:extLst>
                  <a:ext uri="{FF2B5EF4-FFF2-40B4-BE49-F238E27FC236}">
                    <a16:creationId xmlns:a16="http://schemas.microsoft.com/office/drawing/2014/main" id="{C0FD4CFA-44AF-109A-F6A6-B5DD4EC6FB80}"/>
                  </a:ext>
                </a:extLst>
              </p:cNvPr>
              <p:cNvSpPr/>
              <p:nvPr/>
            </p:nvSpPr>
            <p:spPr bwMode="gray">
              <a:xfrm>
                <a:off x="9030736" y="8525169"/>
                <a:ext cx="81878" cy="81878"/>
              </a:xfrm>
              <a:custGeom>
                <a:avLst/>
                <a:gdLst>
                  <a:gd name="connsiteX0" fmla="*/ 71234 w 81877"/>
                  <a:gd name="connsiteY0" fmla="*/ 41757 h 81877"/>
                  <a:gd name="connsiteX1" fmla="*/ 41758 w 81877"/>
                  <a:gd name="connsiteY1" fmla="*/ 71234 h 81877"/>
                  <a:gd name="connsiteX2" fmla="*/ 12281 w 81877"/>
                  <a:gd name="connsiteY2" fmla="*/ 41757 h 81877"/>
                  <a:gd name="connsiteX3" fmla="*/ 41758 w 81877"/>
                  <a:gd name="connsiteY3" fmla="*/ 12281 h 81877"/>
                  <a:gd name="connsiteX4" fmla="*/ 71234 w 81877"/>
                  <a:gd name="connsiteY4" fmla="*/ 41757 h 81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877" h="81877">
                    <a:moveTo>
                      <a:pt x="71234" y="41757"/>
                    </a:moveTo>
                    <a:cubicBezTo>
                      <a:pt x="71234" y="58036"/>
                      <a:pt x="58037" y="71234"/>
                      <a:pt x="41758" y="71234"/>
                    </a:cubicBezTo>
                    <a:cubicBezTo>
                      <a:pt x="25478" y="71234"/>
                      <a:pt x="12281" y="58037"/>
                      <a:pt x="12281" y="41757"/>
                    </a:cubicBezTo>
                    <a:cubicBezTo>
                      <a:pt x="12281" y="25479"/>
                      <a:pt x="25478" y="12281"/>
                      <a:pt x="41758" y="12281"/>
                    </a:cubicBezTo>
                    <a:cubicBezTo>
                      <a:pt x="58037" y="12281"/>
                      <a:pt x="71234" y="25478"/>
                      <a:pt x="71234" y="41757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9" name="Freihandform: Form 186">
                <a:extLst>
                  <a:ext uri="{FF2B5EF4-FFF2-40B4-BE49-F238E27FC236}">
                    <a16:creationId xmlns:a16="http://schemas.microsoft.com/office/drawing/2014/main" id="{131B7C5F-B3F2-6AC7-752E-5D9FFF694C9F}"/>
                  </a:ext>
                </a:extLst>
              </p:cNvPr>
              <p:cNvSpPr/>
              <p:nvPr/>
            </p:nvSpPr>
            <p:spPr bwMode="gray">
              <a:xfrm>
                <a:off x="9107155" y="8525169"/>
                <a:ext cx="49127" cy="81878"/>
              </a:xfrm>
              <a:custGeom>
                <a:avLst/>
                <a:gdLst>
                  <a:gd name="connsiteX0" fmla="*/ 12282 w 49126"/>
                  <a:gd name="connsiteY0" fmla="*/ 12282 h 81877"/>
                  <a:gd name="connsiteX1" fmla="*/ 41757 w 49126"/>
                  <a:gd name="connsiteY1" fmla="*/ 41758 h 81877"/>
                  <a:gd name="connsiteX2" fmla="*/ 12282 w 49126"/>
                  <a:gd name="connsiteY2" fmla="*/ 71234 h 81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126" h="81877">
                    <a:moveTo>
                      <a:pt x="12282" y="12282"/>
                    </a:moveTo>
                    <a:cubicBezTo>
                      <a:pt x="28657" y="12282"/>
                      <a:pt x="41757" y="25382"/>
                      <a:pt x="41757" y="41758"/>
                    </a:cubicBezTo>
                    <a:cubicBezTo>
                      <a:pt x="41757" y="58133"/>
                      <a:pt x="28657" y="71234"/>
                      <a:pt x="12282" y="71234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0" name="Freihandform: Form 187">
                <a:extLst>
                  <a:ext uri="{FF2B5EF4-FFF2-40B4-BE49-F238E27FC236}">
                    <a16:creationId xmlns:a16="http://schemas.microsoft.com/office/drawing/2014/main" id="{27B08D01-A4E2-B7EE-C6BD-32BB2313D96A}"/>
                  </a:ext>
                </a:extLst>
              </p:cNvPr>
              <p:cNvSpPr/>
              <p:nvPr/>
            </p:nvSpPr>
            <p:spPr bwMode="gray">
              <a:xfrm>
                <a:off x="8971784" y="8668728"/>
                <a:ext cx="245633" cy="21834"/>
              </a:xfrm>
              <a:custGeom>
                <a:avLst/>
                <a:gdLst>
                  <a:gd name="connsiteX0" fmla="*/ 12282 w 245632"/>
                  <a:gd name="connsiteY0" fmla="*/ 12282 h 21834"/>
                  <a:gd name="connsiteX1" fmla="*/ 236080 w 245632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632" h="21834">
                    <a:moveTo>
                      <a:pt x="12282" y="12282"/>
                    </a:moveTo>
                    <a:lnTo>
                      <a:pt x="236080" y="12282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7" name="Gruppieren 188">
              <a:extLst>
                <a:ext uri="{FF2B5EF4-FFF2-40B4-BE49-F238E27FC236}">
                  <a16:creationId xmlns:a16="http://schemas.microsoft.com/office/drawing/2014/main" id="{E5004FEF-1CB9-75AE-521A-250C7EEA12F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5505450" y="4751731"/>
              <a:ext cx="429848" cy="500110"/>
              <a:chOff x="3034366" y="4089085"/>
              <a:chExt cx="619260" cy="720479"/>
            </a:xfrm>
          </p:grpSpPr>
          <p:sp>
            <p:nvSpPr>
              <p:cNvPr id="28" name="Freihandform: Form 189">
                <a:extLst>
                  <a:ext uri="{FF2B5EF4-FFF2-40B4-BE49-F238E27FC236}">
                    <a16:creationId xmlns:a16="http://schemas.microsoft.com/office/drawing/2014/main" id="{72F8F7BA-E28E-ABA6-B7EB-E63B84C6EAAE}"/>
                  </a:ext>
                </a:extLst>
              </p:cNvPr>
              <p:cNvSpPr/>
              <p:nvPr/>
            </p:nvSpPr>
            <p:spPr bwMode="gray">
              <a:xfrm>
                <a:off x="3136154" y="4089085"/>
                <a:ext cx="420801" cy="420801"/>
              </a:xfrm>
              <a:custGeom>
                <a:avLst/>
                <a:gdLst>
                  <a:gd name="connsiteX0" fmla="*/ 585211 w 602722"/>
                  <a:gd name="connsiteY0" fmla="*/ 301768 h 602722"/>
                  <a:gd name="connsiteX1" fmla="*/ 301768 w 602722"/>
                  <a:gd name="connsiteY1" fmla="*/ 585211 h 602722"/>
                  <a:gd name="connsiteX2" fmla="*/ 18326 w 602722"/>
                  <a:gd name="connsiteY2" fmla="*/ 301768 h 602722"/>
                  <a:gd name="connsiteX3" fmla="*/ 301768 w 602722"/>
                  <a:gd name="connsiteY3" fmla="*/ 18326 h 602722"/>
                  <a:gd name="connsiteX4" fmla="*/ 585211 w 602722"/>
                  <a:gd name="connsiteY4" fmla="*/ 301768 h 602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2722" h="602722">
                    <a:moveTo>
                      <a:pt x="585211" y="301768"/>
                    </a:moveTo>
                    <a:cubicBezTo>
                      <a:pt x="585211" y="458309"/>
                      <a:pt x="458309" y="585211"/>
                      <a:pt x="301768" y="585211"/>
                    </a:cubicBezTo>
                    <a:cubicBezTo>
                      <a:pt x="145228" y="585211"/>
                      <a:pt x="18326" y="458309"/>
                      <a:pt x="18326" y="301768"/>
                    </a:cubicBezTo>
                    <a:cubicBezTo>
                      <a:pt x="18326" y="145227"/>
                      <a:pt x="145228" y="18326"/>
                      <a:pt x="301768" y="18326"/>
                    </a:cubicBezTo>
                    <a:cubicBezTo>
                      <a:pt x="458309" y="18326"/>
                      <a:pt x="585211" y="145227"/>
                      <a:pt x="585211" y="301768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9" name="Freihandform: Form 190">
                <a:extLst>
                  <a:ext uri="{FF2B5EF4-FFF2-40B4-BE49-F238E27FC236}">
                    <a16:creationId xmlns:a16="http://schemas.microsoft.com/office/drawing/2014/main" id="{9CDF5512-B185-06AD-4E3D-8F384B0E58B2}"/>
                  </a:ext>
                </a:extLst>
              </p:cNvPr>
              <p:cNvSpPr/>
              <p:nvPr/>
            </p:nvSpPr>
            <p:spPr bwMode="gray">
              <a:xfrm>
                <a:off x="3334045" y="4130028"/>
                <a:ext cx="181968" cy="181968"/>
              </a:xfrm>
              <a:custGeom>
                <a:avLst/>
                <a:gdLst>
                  <a:gd name="connsiteX0" fmla="*/ 243125 w 260636"/>
                  <a:gd name="connsiteY0" fmla="*/ 243125 h 260636"/>
                  <a:gd name="connsiteX1" fmla="*/ 18326 w 260636"/>
                  <a:gd name="connsiteY1" fmla="*/ 18326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0636" h="260636">
                    <a:moveTo>
                      <a:pt x="243125" y="243125"/>
                    </a:moveTo>
                    <a:cubicBezTo>
                      <a:pt x="243125" y="118508"/>
                      <a:pt x="142128" y="18326"/>
                      <a:pt x="18326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0" name="Freihandform: Form 191">
                <a:extLst>
                  <a:ext uri="{FF2B5EF4-FFF2-40B4-BE49-F238E27FC236}">
                    <a16:creationId xmlns:a16="http://schemas.microsoft.com/office/drawing/2014/main" id="{2343172D-0C97-9A4B-1DED-674410A0B3EF}"/>
                  </a:ext>
                </a:extLst>
              </p:cNvPr>
              <p:cNvSpPr/>
              <p:nvPr/>
            </p:nvSpPr>
            <p:spPr bwMode="gray">
              <a:xfrm>
                <a:off x="3305043" y="4484297"/>
                <a:ext cx="79611" cy="96670"/>
              </a:xfrm>
              <a:custGeom>
                <a:avLst/>
                <a:gdLst>
                  <a:gd name="connsiteX0" fmla="*/ 18326 w 114028"/>
                  <a:gd name="connsiteY0" fmla="*/ 18326 h 138463"/>
                  <a:gd name="connsiteX1" fmla="*/ 18326 w 114028"/>
                  <a:gd name="connsiteY1" fmla="*/ 121766 h 138463"/>
                  <a:gd name="connsiteX2" fmla="*/ 100589 w 114028"/>
                  <a:gd name="connsiteY2" fmla="*/ 121766 h 138463"/>
                  <a:gd name="connsiteX3" fmla="*/ 100589 w 114028"/>
                  <a:gd name="connsiteY3" fmla="*/ 18326 h 13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028" h="138463">
                    <a:moveTo>
                      <a:pt x="18326" y="18326"/>
                    </a:moveTo>
                    <a:lnTo>
                      <a:pt x="18326" y="121766"/>
                    </a:lnTo>
                    <a:lnTo>
                      <a:pt x="100589" y="121766"/>
                    </a:lnTo>
                    <a:lnTo>
                      <a:pt x="100589" y="1832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1" name="Freihandform: Form 192">
                <a:extLst>
                  <a:ext uri="{FF2B5EF4-FFF2-40B4-BE49-F238E27FC236}">
                    <a16:creationId xmlns:a16="http://schemas.microsoft.com/office/drawing/2014/main" id="{11CAEDF4-8D33-677C-7EF5-CC7CE800DD32}"/>
                  </a:ext>
                </a:extLst>
              </p:cNvPr>
              <p:cNvSpPr/>
              <p:nvPr/>
            </p:nvSpPr>
            <p:spPr bwMode="gray">
              <a:xfrm>
                <a:off x="3228844" y="4263661"/>
                <a:ext cx="90984" cy="119417"/>
              </a:xfrm>
              <a:custGeom>
                <a:avLst/>
                <a:gdLst>
                  <a:gd name="connsiteX0" fmla="*/ 18326 w 130318"/>
                  <a:gd name="connsiteY0" fmla="*/ 18326 h 171042"/>
                  <a:gd name="connsiteX1" fmla="*/ 118508 w 130318"/>
                  <a:gd name="connsiteY1" fmla="*/ 18326 h 171042"/>
                  <a:gd name="connsiteX2" fmla="*/ 118508 w 130318"/>
                  <a:gd name="connsiteY2" fmla="*/ 153531 h 171042"/>
                  <a:gd name="connsiteX3" fmla="*/ 18326 w 130318"/>
                  <a:gd name="connsiteY3" fmla="*/ 153531 h 17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171042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153531"/>
                    </a:lnTo>
                    <a:lnTo>
                      <a:pt x="18326" y="153531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2" name="Freihandform: Form 193">
                <a:extLst>
                  <a:ext uri="{FF2B5EF4-FFF2-40B4-BE49-F238E27FC236}">
                    <a16:creationId xmlns:a16="http://schemas.microsoft.com/office/drawing/2014/main" id="{F2C9E232-02AA-2DA4-F8F2-6365ABC0F283}"/>
                  </a:ext>
                </a:extLst>
              </p:cNvPr>
              <p:cNvSpPr/>
              <p:nvPr/>
            </p:nvSpPr>
            <p:spPr bwMode="gray">
              <a:xfrm>
                <a:off x="3298788" y="4215325"/>
                <a:ext cx="90984" cy="164909"/>
              </a:xfrm>
              <a:custGeom>
                <a:avLst/>
                <a:gdLst>
                  <a:gd name="connsiteX0" fmla="*/ 18326 w 130318"/>
                  <a:gd name="connsiteY0" fmla="*/ 18326 h 236201"/>
                  <a:gd name="connsiteX1" fmla="*/ 118508 w 130318"/>
                  <a:gd name="connsiteY1" fmla="*/ 18326 h 236201"/>
                  <a:gd name="connsiteX2" fmla="*/ 118508 w 130318"/>
                  <a:gd name="connsiteY2" fmla="*/ 221948 h 236201"/>
                  <a:gd name="connsiteX3" fmla="*/ 18326 w 130318"/>
                  <a:gd name="connsiteY3" fmla="*/ 221948 h 236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236201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221948"/>
                    </a:lnTo>
                    <a:lnTo>
                      <a:pt x="18326" y="221948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3" name="Freihandform: Form 194">
                <a:extLst>
                  <a:ext uri="{FF2B5EF4-FFF2-40B4-BE49-F238E27FC236}">
                    <a16:creationId xmlns:a16="http://schemas.microsoft.com/office/drawing/2014/main" id="{B9FC8572-16EA-F290-574B-6FE2E863EB33}"/>
                  </a:ext>
                </a:extLst>
              </p:cNvPr>
              <p:cNvSpPr/>
              <p:nvPr/>
            </p:nvSpPr>
            <p:spPr bwMode="gray">
              <a:xfrm>
                <a:off x="3368732" y="4263661"/>
                <a:ext cx="90984" cy="119417"/>
              </a:xfrm>
              <a:custGeom>
                <a:avLst/>
                <a:gdLst>
                  <a:gd name="connsiteX0" fmla="*/ 18326 w 130318"/>
                  <a:gd name="connsiteY0" fmla="*/ 18326 h 171042"/>
                  <a:gd name="connsiteX1" fmla="*/ 118508 w 130318"/>
                  <a:gd name="connsiteY1" fmla="*/ 18326 h 171042"/>
                  <a:gd name="connsiteX2" fmla="*/ 118508 w 130318"/>
                  <a:gd name="connsiteY2" fmla="*/ 153531 h 171042"/>
                  <a:gd name="connsiteX3" fmla="*/ 18326 w 130318"/>
                  <a:gd name="connsiteY3" fmla="*/ 153531 h 17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171042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153531"/>
                    </a:lnTo>
                    <a:lnTo>
                      <a:pt x="18326" y="153531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4" name="Freihandform: Form 195">
                <a:extLst>
                  <a:ext uri="{FF2B5EF4-FFF2-40B4-BE49-F238E27FC236}">
                    <a16:creationId xmlns:a16="http://schemas.microsoft.com/office/drawing/2014/main" id="{0900DC53-3944-D6C4-2848-0E08AEBBC72C}"/>
                  </a:ext>
                </a:extLst>
              </p:cNvPr>
              <p:cNvSpPr/>
              <p:nvPr/>
            </p:nvSpPr>
            <p:spPr bwMode="gray">
              <a:xfrm>
                <a:off x="3074740" y="4629302"/>
                <a:ext cx="56865" cy="62552"/>
              </a:xfrm>
              <a:custGeom>
                <a:avLst/>
                <a:gdLst>
                  <a:gd name="connsiteX0" fmla="*/ 69639 w 81448"/>
                  <a:gd name="connsiteY0" fmla="*/ 18326 h 89593"/>
                  <a:gd name="connsiteX1" fmla="*/ 18326 w 81448"/>
                  <a:gd name="connsiteY1" fmla="*/ 72897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69639" y="18326"/>
                    </a:moveTo>
                    <a:lnTo>
                      <a:pt x="18326" y="72897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5" name="Freihandform: Form 196">
                <a:extLst>
                  <a:ext uri="{FF2B5EF4-FFF2-40B4-BE49-F238E27FC236}">
                    <a16:creationId xmlns:a16="http://schemas.microsoft.com/office/drawing/2014/main" id="{EEC04866-8488-C1EF-9757-2E57FF6C13EC}"/>
                  </a:ext>
                </a:extLst>
              </p:cNvPr>
              <p:cNvSpPr/>
              <p:nvPr/>
            </p:nvSpPr>
            <p:spPr bwMode="gray">
              <a:xfrm>
                <a:off x="3143547" y="4629302"/>
                <a:ext cx="56865" cy="62552"/>
              </a:xfrm>
              <a:custGeom>
                <a:avLst/>
                <a:gdLst>
                  <a:gd name="connsiteX0" fmla="*/ 69639 w 81448"/>
                  <a:gd name="connsiteY0" fmla="*/ 72897 h 89593"/>
                  <a:gd name="connsiteX1" fmla="*/ 18326 w 81448"/>
                  <a:gd name="connsiteY1" fmla="*/ 18326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69639" y="72897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6" name="Freihandform: Form 197">
                <a:extLst>
                  <a:ext uri="{FF2B5EF4-FFF2-40B4-BE49-F238E27FC236}">
                    <a16:creationId xmlns:a16="http://schemas.microsoft.com/office/drawing/2014/main" id="{EADB51F9-8B32-68BF-6426-D6D59E515B47}"/>
                  </a:ext>
                </a:extLst>
              </p:cNvPr>
              <p:cNvSpPr/>
              <p:nvPr/>
            </p:nvSpPr>
            <p:spPr bwMode="gray">
              <a:xfrm>
                <a:off x="3212353" y="4627027"/>
                <a:ext cx="62552" cy="62552"/>
              </a:xfrm>
              <a:custGeom>
                <a:avLst/>
                <a:gdLst>
                  <a:gd name="connsiteX0" fmla="*/ 73711 w 89593"/>
                  <a:gd name="connsiteY0" fmla="*/ 18326 h 89593"/>
                  <a:gd name="connsiteX1" fmla="*/ 18326 w 89593"/>
                  <a:gd name="connsiteY1" fmla="*/ 76155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89593">
                    <a:moveTo>
                      <a:pt x="73711" y="18326"/>
                    </a:moveTo>
                    <a:lnTo>
                      <a:pt x="18326" y="7615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7" name="Freihandform: Form 198">
                <a:extLst>
                  <a:ext uri="{FF2B5EF4-FFF2-40B4-BE49-F238E27FC236}">
                    <a16:creationId xmlns:a16="http://schemas.microsoft.com/office/drawing/2014/main" id="{1EF7EDC9-6770-6D0B-71B1-9E2BE7B5327A}"/>
                  </a:ext>
                </a:extLst>
              </p:cNvPr>
              <p:cNvSpPr/>
              <p:nvPr/>
            </p:nvSpPr>
            <p:spPr bwMode="gray">
              <a:xfrm>
                <a:off x="3034366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4 w 97738"/>
                  <a:gd name="connsiteY1" fmla="*/ 86743 h 97738"/>
                  <a:gd name="connsiteX2" fmla="*/ 18326 w 97738"/>
                  <a:gd name="connsiteY2" fmla="*/ 52535 h 97738"/>
                  <a:gd name="connsiteX3" fmla="*/ 52534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4" y="86743"/>
                    </a:cubicBezTo>
                    <a:cubicBezTo>
                      <a:pt x="33641" y="86743"/>
                      <a:pt x="18326" y="71427"/>
                      <a:pt x="18326" y="52535"/>
                    </a:cubicBezTo>
                    <a:cubicBezTo>
                      <a:pt x="18326" y="33642"/>
                      <a:pt x="33641" y="18326"/>
                      <a:pt x="52534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8" name="Freihandform: Form 199">
                <a:extLst>
                  <a:ext uri="{FF2B5EF4-FFF2-40B4-BE49-F238E27FC236}">
                    <a16:creationId xmlns:a16="http://schemas.microsoft.com/office/drawing/2014/main" id="{C3183271-AB83-07D4-C2E5-E928AE7F49FD}"/>
                  </a:ext>
                </a:extLst>
              </p:cNvPr>
              <p:cNvSpPr/>
              <p:nvPr/>
            </p:nvSpPr>
            <p:spPr bwMode="gray">
              <a:xfrm>
                <a:off x="3103172" y="4588359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9" name="Freihandform: Form 200">
                <a:extLst>
                  <a:ext uri="{FF2B5EF4-FFF2-40B4-BE49-F238E27FC236}">
                    <a16:creationId xmlns:a16="http://schemas.microsoft.com/office/drawing/2014/main" id="{2D9F1285-D86D-07CA-7A2C-6CF98AD820F5}"/>
                  </a:ext>
                </a:extLst>
              </p:cNvPr>
              <p:cNvSpPr/>
              <p:nvPr/>
            </p:nvSpPr>
            <p:spPr bwMode="gray">
              <a:xfrm>
                <a:off x="3172548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18326 h 97738"/>
                  <a:gd name="connsiteX2" fmla="*/ 18326 w 97738"/>
                  <a:gd name="connsiteY2" fmla="*/ 52535 h 97738"/>
                  <a:gd name="connsiteX3" fmla="*/ 52535 w 97738"/>
                  <a:gd name="connsiteY3" fmla="*/ 86743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33801"/>
                      <a:pt x="71268" y="18326"/>
                      <a:pt x="52535" y="18326"/>
                    </a:cubicBezTo>
                    <a:cubicBezTo>
                      <a:pt x="33801" y="18326"/>
                      <a:pt x="18326" y="33801"/>
                      <a:pt x="18326" y="52535"/>
                    </a:cubicBezTo>
                    <a:cubicBezTo>
                      <a:pt x="18326" y="71268"/>
                      <a:pt x="33801" y="86743"/>
                      <a:pt x="52535" y="86743"/>
                    </a:cubicBezTo>
                    <a:cubicBezTo>
                      <a:pt x="71268" y="87558"/>
                      <a:pt x="86743" y="7208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0" name="Freihandform: Form 201">
                <a:extLst>
                  <a:ext uri="{FF2B5EF4-FFF2-40B4-BE49-F238E27FC236}">
                    <a16:creationId xmlns:a16="http://schemas.microsoft.com/office/drawing/2014/main" id="{E646A08B-1033-EBC5-790E-43BA5FCD94EA}"/>
                  </a:ext>
                </a:extLst>
              </p:cNvPr>
              <p:cNvSpPr/>
              <p:nvPr/>
            </p:nvSpPr>
            <p:spPr bwMode="gray">
              <a:xfrm>
                <a:off x="3283434" y="4556515"/>
                <a:ext cx="125103" cy="181968"/>
              </a:xfrm>
              <a:custGeom>
                <a:avLst/>
                <a:gdLst>
                  <a:gd name="connsiteX0" fmla="*/ 162491 w 179187"/>
                  <a:gd name="connsiteY0" fmla="*/ 242311 h 260636"/>
                  <a:gd name="connsiteX1" fmla="*/ 162491 w 179187"/>
                  <a:gd name="connsiteY1" fmla="*/ 44390 h 260636"/>
                  <a:gd name="connsiteX2" fmla="*/ 136427 w 179187"/>
                  <a:gd name="connsiteY2" fmla="*/ 18326 h 260636"/>
                  <a:gd name="connsiteX3" fmla="*/ 44390 w 179187"/>
                  <a:gd name="connsiteY3" fmla="*/ 18326 h 260636"/>
                  <a:gd name="connsiteX4" fmla="*/ 18326 w 179187"/>
                  <a:gd name="connsiteY4" fmla="*/ 44390 h 260636"/>
                  <a:gd name="connsiteX5" fmla="*/ 18326 w 179187"/>
                  <a:gd name="connsiteY5" fmla="*/ 242311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187" h="260636">
                    <a:moveTo>
                      <a:pt x="162491" y="242311"/>
                    </a:moveTo>
                    <a:lnTo>
                      <a:pt x="162491" y="44390"/>
                    </a:lnTo>
                    <a:cubicBezTo>
                      <a:pt x="162491" y="29729"/>
                      <a:pt x="151088" y="18326"/>
                      <a:pt x="136427" y="18326"/>
                    </a:cubicBezTo>
                    <a:lnTo>
                      <a:pt x="44390" y="18326"/>
                    </a:lnTo>
                    <a:cubicBezTo>
                      <a:pt x="29729" y="18326"/>
                      <a:pt x="18326" y="29729"/>
                      <a:pt x="18326" y="44390"/>
                    </a:cubicBezTo>
                    <a:lnTo>
                      <a:pt x="18326" y="242311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1" name="Freihandform: Form 202">
                <a:extLst>
                  <a:ext uri="{FF2B5EF4-FFF2-40B4-BE49-F238E27FC236}">
                    <a16:creationId xmlns:a16="http://schemas.microsoft.com/office/drawing/2014/main" id="{C283D8C7-B5E0-1406-382D-50B18E01D644}"/>
                  </a:ext>
                </a:extLst>
              </p:cNvPr>
              <p:cNvSpPr/>
              <p:nvPr/>
            </p:nvSpPr>
            <p:spPr bwMode="gray">
              <a:xfrm>
                <a:off x="3283434" y="4712894"/>
                <a:ext cx="125103" cy="96670"/>
              </a:xfrm>
              <a:custGeom>
                <a:avLst/>
                <a:gdLst>
                  <a:gd name="connsiteX0" fmla="*/ 18326 w 179187"/>
                  <a:gd name="connsiteY0" fmla="*/ 18326 h 138463"/>
                  <a:gd name="connsiteX1" fmla="*/ 18326 w 179187"/>
                  <a:gd name="connsiteY1" fmla="*/ 99775 h 138463"/>
                  <a:gd name="connsiteX2" fmla="*/ 44390 w 179187"/>
                  <a:gd name="connsiteY2" fmla="*/ 125839 h 138463"/>
                  <a:gd name="connsiteX3" fmla="*/ 136427 w 179187"/>
                  <a:gd name="connsiteY3" fmla="*/ 125839 h 138463"/>
                  <a:gd name="connsiteX4" fmla="*/ 162491 w 179187"/>
                  <a:gd name="connsiteY4" fmla="*/ 99775 h 138463"/>
                  <a:gd name="connsiteX5" fmla="*/ 162491 w 179187"/>
                  <a:gd name="connsiteY5" fmla="*/ 18326 h 13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187" h="138463">
                    <a:moveTo>
                      <a:pt x="18326" y="18326"/>
                    </a:moveTo>
                    <a:lnTo>
                      <a:pt x="18326" y="99775"/>
                    </a:lnTo>
                    <a:cubicBezTo>
                      <a:pt x="18326" y="114436"/>
                      <a:pt x="29729" y="125839"/>
                      <a:pt x="44390" y="125839"/>
                    </a:cubicBezTo>
                    <a:lnTo>
                      <a:pt x="136427" y="125839"/>
                    </a:lnTo>
                    <a:cubicBezTo>
                      <a:pt x="151088" y="125839"/>
                      <a:pt x="162491" y="114436"/>
                      <a:pt x="162491" y="99775"/>
                    </a:cubicBezTo>
                    <a:lnTo>
                      <a:pt x="162491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2" name="Freihandform: Form 203">
                <a:extLst>
                  <a:ext uri="{FF2B5EF4-FFF2-40B4-BE49-F238E27FC236}">
                    <a16:creationId xmlns:a16="http://schemas.microsoft.com/office/drawing/2014/main" id="{FA69EA19-FDF8-0603-CDED-9932D7F2EC60}"/>
                  </a:ext>
                </a:extLst>
              </p:cNvPr>
              <p:cNvSpPr/>
              <p:nvPr/>
            </p:nvSpPr>
            <p:spPr bwMode="gray">
              <a:xfrm>
                <a:off x="3556955" y="4629302"/>
                <a:ext cx="56865" cy="62552"/>
              </a:xfrm>
              <a:custGeom>
                <a:avLst/>
                <a:gdLst>
                  <a:gd name="connsiteX0" fmla="*/ 18326 w 81448"/>
                  <a:gd name="connsiteY0" fmla="*/ 18326 h 89593"/>
                  <a:gd name="connsiteX1" fmla="*/ 69639 w 81448"/>
                  <a:gd name="connsiteY1" fmla="*/ 72897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18326" y="18326"/>
                    </a:moveTo>
                    <a:lnTo>
                      <a:pt x="69639" y="72897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3" name="Freihandform: Form 204">
                <a:extLst>
                  <a:ext uri="{FF2B5EF4-FFF2-40B4-BE49-F238E27FC236}">
                    <a16:creationId xmlns:a16="http://schemas.microsoft.com/office/drawing/2014/main" id="{BC03D6E7-D08D-B45C-D28C-7CF8BA03C999}"/>
                  </a:ext>
                </a:extLst>
              </p:cNvPr>
              <p:cNvSpPr/>
              <p:nvPr/>
            </p:nvSpPr>
            <p:spPr bwMode="gray">
              <a:xfrm>
                <a:off x="3488148" y="4629302"/>
                <a:ext cx="56865" cy="62552"/>
              </a:xfrm>
              <a:custGeom>
                <a:avLst/>
                <a:gdLst>
                  <a:gd name="connsiteX0" fmla="*/ 18326 w 81448"/>
                  <a:gd name="connsiteY0" fmla="*/ 72897 h 89593"/>
                  <a:gd name="connsiteX1" fmla="*/ 69639 w 81448"/>
                  <a:gd name="connsiteY1" fmla="*/ 18326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18326" y="72897"/>
                    </a:moveTo>
                    <a:lnTo>
                      <a:pt x="69639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4" name="Freihandform: Form 205">
                <a:extLst>
                  <a:ext uri="{FF2B5EF4-FFF2-40B4-BE49-F238E27FC236}">
                    <a16:creationId xmlns:a16="http://schemas.microsoft.com/office/drawing/2014/main" id="{4AFE3C38-E252-EC11-E2CB-6E0D2B373E55}"/>
                  </a:ext>
                </a:extLst>
              </p:cNvPr>
              <p:cNvSpPr/>
              <p:nvPr/>
            </p:nvSpPr>
            <p:spPr bwMode="gray">
              <a:xfrm>
                <a:off x="3417067" y="4627027"/>
                <a:ext cx="62552" cy="62552"/>
              </a:xfrm>
              <a:custGeom>
                <a:avLst/>
                <a:gdLst>
                  <a:gd name="connsiteX0" fmla="*/ 18326 w 89593"/>
                  <a:gd name="connsiteY0" fmla="*/ 18326 h 89593"/>
                  <a:gd name="connsiteX1" fmla="*/ 72897 w 89593"/>
                  <a:gd name="connsiteY1" fmla="*/ 76155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89593">
                    <a:moveTo>
                      <a:pt x="18326" y="18326"/>
                    </a:moveTo>
                    <a:lnTo>
                      <a:pt x="72897" y="7615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5" name="Freihandform: Form 206">
                <a:extLst>
                  <a:ext uri="{FF2B5EF4-FFF2-40B4-BE49-F238E27FC236}">
                    <a16:creationId xmlns:a16="http://schemas.microsoft.com/office/drawing/2014/main" id="{FCC2BEEE-CC1F-E8BC-1B4F-F4E9B5949F5E}"/>
                  </a:ext>
                </a:extLst>
              </p:cNvPr>
              <p:cNvSpPr/>
              <p:nvPr/>
            </p:nvSpPr>
            <p:spPr bwMode="gray">
              <a:xfrm>
                <a:off x="3585388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6" name="Freihandform: Form 207">
                <a:extLst>
                  <a:ext uri="{FF2B5EF4-FFF2-40B4-BE49-F238E27FC236}">
                    <a16:creationId xmlns:a16="http://schemas.microsoft.com/office/drawing/2014/main" id="{7A16A5F0-0CCF-3BB3-A0A1-F92A40FA9A73}"/>
                  </a:ext>
                </a:extLst>
              </p:cNvPr>
              <p:cNvSpPr/>
              <p:nvPr/>
            </p:nvSpPr>
            <p:spPr bwMode="gray">
              <a:xfrm>
                <a:off x="3516581" y="4588359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7" name="Freihandform: Form 208">
                <a:extLst>
                  <a:ext uri="{FF2B5EF4-FFF2-40B4-BE49-F238E27FC236}">
                    <a16:creationId xmlns:a16="http://schemas.microsoft.com/office/drawing/2014/main" id="{353352E0-0648-06D3-1FB2-D72B4219458B}"/>
                  </a:ext>
                </a:extLst>
              </p:cNvPr>
              <p:cNvSpPr/>
              <p:nvPr/>
            </p:nvSpPr>
            <p:spPr bwMode="gray">
              <a:xfrm>
                <a:off x="3447774" y="4660578"/>
                <a:ext cx="68238" cy="68238"/>
              </a:xfrm>
              <a:custGeom>
                <a:avLst/>
                <a:gdLst>
                  <a:gd name="connsiteX0" fmla="*/ 18326 w 97738"/>
                  <a:gd name="connsiteY0" fmla="*/ 52535 h 97738"/>
                  <a:gd name="connsiteX1" fmla="*/ 52535 w 97738"/>
                  <a:gd name="connsiteY1" fmla="*/ 18326 h 97738"/>
                  <a:gd name="connsiteX2" fmla="*/ 86743 w 97738"/>
                  <a:gd name="connsiteY2" fmla="*/ 52535 h 97738"/>
                  <a:gd name="connsiteX3" fmla="*/ 52535 w 97738"/>
                  <a:gd name="connsiteY3" fmla="*/ 86743 h 97738"/>
                  <a:gd name="connsiteX4" fmla="*/ 18326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18326" y="52535"/>
                    </a:moveTo>
                    <a:cubicBezTo>
                      <a:pt x="18326" y="33801"/>
                      <a:pt x="33801" y="18326"/>
                      <a:pt x="52535" y="18326"/>
                    </a:cubicBezTo>
                    <a:cubicBezTo>
                      <a:pt x="71268" y="18326"/>
                      <a:pt x="86743" y="33801"/>
                      <a:pt x="86743" y="52535"/>
                    </a:cubicBezTo>
                    <a:cubicBezTo>
                      <a:pt x="86743" y="71268"/>
                      <a:pt x="71268" y="86743"/>
                      <a:pt x="52535" y="86743"/>
                    </a:cubicBezTo>
                    <a:cubicBezTo>
                      <a:pt x="32987" y="87558"/>
                      <a:pt x="18326" y="72082"/>
                      <a:pt x="18326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</p:grpSp>
      <p:sp>
        <p:nvSpPr>
          <p:cNvPr id="254" name="Gefaltete Ecke 50">
            <a:extLst>
              <a:ext uri="{FF2B5EF4-FFF2-40B4-BE49-F238E27FC236}">
                <a16:creationId xmlns:a16="http://schemas.microsoft.com/office/drawing/2014/main" id="{CB42A211-8E9A-E190-0313-140DE1F5E18E}"/>
              </a:ext>
            </a:extLst>
          </p:cNvPr>
          <p:cNvSpPr/>
          <p:nvPr/>
        </p:nvSpPr>
        <p:spPr bwMode="gray">
          <a:xfrm rot="21420000">
            <a:off x="7350127" y="1868979"/>
            <a:ext cx="958324" cy="665014"/>
          </a:xfrm>
          <a:prstGeom prst="foldedCorner">
            <a:avLst/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o is paying? Who is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using?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2213C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255" name="Gefaltete Ecke 52">
            <a:extLst>
              <a:ext uri="{FF2B5EF4-FFF2-40B4-BE49-F238E27FC236}">
                <a16:creationId xmlns:a16="http://schemas.microsoft.com/office/drawing/2014/main" id="{6CC2F115-F322-EF8D-9603-0DAEA4B64358}"/>
              </a:ext>
            </a:extLst>
          </p:cNvPr>
          <p:cNvSpPr/>
          <p:nvPr/>
        </p:nvSpPr>
        <p:spPr bwMode="gray">
          <a:xfrm rot="21420000">
            <a:off x="3925681" y="1866306"/>
            <a:ext cx="958324" cy="665014"/>
          </a:xfrm>
          <a:prstGeom prst="foldedCorner">
            <a:avLst/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at you 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offer to users and paying customers</a:t>
            </a:r>
          </a:p>
        </p:txBody>
      </p:sp>
      <p:sp>
        <p:nvSpPr>
          <p:cNvPr id="3" name="Gefaltete Ecke 47">
            <a:extLst>
              <a:ext uri="{FF2B5EF4-FFF2-40B4-BE49-F238E27FC236}">
                <a16:creationId xmlns:a16="http://schemas.microsoft.com/office/drawing/2014/main" id="{8E1C6438-AF0E-FD71-74BE-863750830B0C}"/>
              </a:ext>
            </a:extLst>
          </p:cNvPr>
          <p:cNvSpPr/>
          <p:nvPr/>
        </p:nvSpPr>
        <p:spPr bwMode="gray">
          <a:xfrm rot="21420000">
            <a:off x="1699361" y="3934130"/>
            <a:ext cx="1042880" cy="416334"/>
          </a:xfrm>
          <a:prstGeom prst="foldedCorner">
            <a:avLst>
              <a:gd name="adj" fmla="val 26113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at do you have to pay for</a:t>
            </a:r>
          </a:p>
        </p:txBody>
      </p:sp>
      <p:sp>
        <p:nvSpPr>
          <p:cNvPr id="5" name="Gefaltete Ecke 46">
            <a:extLst>
              <a:ext uri="{FF2B5EF4-FFF2-40B4-BE49-F238E27FC236}">
                <a16:creationId xmlns:a16="http://schemas.microsoft.com/office/drawing/2014/main" id="{DDC974CC-3926-C78F-34C0-0A11178B86B2}"/>
              </a:ext>
            </a:extLst>
          </p:cNvPr>
          <p:cNvSpPr/>
          <p:nvPr/>
        </p:nvSpPr>
        <p:spPr bwMode="gray">
          <a:xfrm rot="21420000">
            <a:off x="5882553" y="3899048"/>
            <a:ext cx="958323" cy="416334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at you get paid for</a:t>
            </a:r>
          </a:p>
        </p:txBody>
      </p:sp>
      <p:sp>
        <p:nvSpPr>
          <p:cNvPr id="6" name="Gefaltete Ecke 46">
            <a:extLst>
              <a:ext uri="{FF2B5EF4-FFF2-40B4-BE49-F238E27FC236}">
                <a16:creationId xmlns:a16="http://schemas.microsoft.com/office/drawing/2014/main" id="{D94F3E3D-7DC7-177E-0A5D-FF211680B9AE}"/>
              </a:ext>
            </a:extLst>
          </p:cNvPr>
          <p:cNvSpPr/>
          <p:nvPr/>
        </p:nvSpPr>
        <p:spPr bwMode="gray">
          <a:xfrm rot="21420000">
            <a:off x="5735753" y="2712494"/>
            <a:ext cx="958323" cy="416334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How you deliver</a:t>
            </a:r>
          </a:p>
        </p:txBody>
      </p:sp>
      <p:sp>
        <p:nvSpPr>
          <p:cNvPr id="122" name="Gefaltete Ecke 46">
            <a:extLst>
              <a:ext uri="{FF2B5EF4-FFF2-40B4-BE49-F238E27FC236}">
                <a16:creationId xmlns:a16="http://schemas.microsoft.com/office/drawing/2014/main" id="{C65F0DFC-6CA8-536F-7251-FF6AEF580FA9}"/>
              </a:ext>
            </a:extLst>
          </p:cNvPr>
          <p:cNvSpPr/>
          <p:nvPr/>
        </p:nvSpPr>
        <p:spPr bwMode="gray">
          <a:xfrm rot="21420000">
            <a:off x="5683730" y="1363496"/>
            <a:ext cx="958323" cy="657529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How you handle relationships</a:t>
            </a:r>
          </a:p>
        </p:txBody>
      </p:sp>
      <p:sp>
        <p:nvSpPr>
          <p:cNvPr id="124" name="Gefaltete Ecke 46">
            <a:extLst>
              <a:ext uri="{FF2B5EF4-FFF2-40B4-BE49-F238E27FC236}">
                <a16:creationId xmlns:a16="http://schemas.microsoft.com/office/drawing/2014/main" id="{B3F45379-AD54-0C8F-68D7-888B6D4D717A}"/>
              </a:ext>
            </a:extLst>
          </p:cNvPr>
          <p:cNvSpPr/>
          <p:nvPr/>
        </p:nvSpPr>
        <p:spPr bwMode="gray">
          <a:xfrm rot="21420000">
            <a:off x="2165209" y="2800283"/>
            <a:ext cx="958323" cy="416334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at assets do you have</a:t>
            </a:r>
          </a:p>
        </p:txBody>
      </p:sp>
      <p:sp>
        <p:nvSpPr>
          <p:cNvPr id="125" name="Gefaltete Ecke 46">
            <a:extLst>
              <a:ext uri="{FF2B5EF4-FFF2-40B4-BE49-F238E27FC236}">
                <a16:creationId xmlns:a16="http://schemas.microsoft.com/office/drawing/2014/main" id="{80F882A5-2F77-0066-2E70-9BE9C8FD6E78}"/>
              </a:ext>
            </a:extLst>
          </p:cNvPr>
          <p:cNvSpPr/>
          <p:nvPr/>
        </p:nvSpPr>
        <p:spPr bwMode="gray">
          <a:xfrm rot="21420000">
            <a:off x="2230637" y="1449024"/>
            <a:ext cx="958323" cy="416334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at you do yourself</a:t>
            </a:r>
          </a:p>
        </p:txBody>
      </p:sp>
      <p:sp>
        <p:nvSpPr>
          <p:cNvPr id="126" name="Gefaltete Ecke 46">
            <a:extLst>
              <a:ext uri="{FF2B5EF4-FFF2-40B4-BE49-F238E27FC236}">
                <a16:creationId xmlns:a16="http://schemas.microsoft.com/office/drawing/2014/main" id="{013074A3-985A-BC7D-60CB-34AE42FF98A2}"/>
              </a:ext>
            </a:extLst>
          </p:cNvPr>
          <p:cNvSpPr/>
          <p:nvPr/>
        </p:nvSpPr>
        <p:spPr bwMode="gray">
          <a:xfrm rot="21420000">
            <a:off x="493164" y="1609290"/>
            <a:ext cx="958323" cy="416334"/>
          </a:xfrm>
          <a:prstGeom prst="foldedCorner">
            <a:avLst>
              <a:gd name="adj" fmla="val 29261"/>
            </a:avLst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o help you with that</a:t>
            </a:r>
          </a:p>
        </p:txBody>
      </p:sp>
    </p:spTree>
    <p:extLst>
      <p:ext uri="{BB962C8B-B14F-4D97-AF65-F5344CB8AC3E}">
        <p14:creationId xmlns:p14="http://schemas.microsoft.com/office/powerpoint/2010/main" val="14304282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" name="Google Shape;887;g2157e93a457_0_165"/>
          <p:cNvSpPr/>
          <p:nvPr/>
        </p:nvSpPr>
        <p:spPr>
          <a:xfrm>
            <a:off x="6110908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8" name="Google Shape;888;g2157e93a457_0_165"/>
          <p:cNvSpPr/>
          <p:nvPr/>
        </p:nvSpPr>
        <p:spPr>
          <a:xfrm>
            <a:off x="514350" y="45200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1" name="Google Shape;891;g2157e93a457_0_165"/>
          <p:cNvSpPr txBox="1"/>
          <p:nvPr/>
        </p:nvSpPr>
        <p:spPr>
          <a:xfrm>
            <a:off x="1231625" y="3238100"/>
            <a:ext cx="1427100" cy="10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ptember 9th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ssion 9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Intellectual Property</a:t>
            </a: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cxnSp>
        <p:nvCxnSpPr>
          <p:cNvPr id="892" name="Google Shape;892;g2157e93a457_0_165"/>
          <p:cNvCxnSpPr/>
          <p:nvPr/>
        </p:nvCxnSpPr>
        <p:spPr>
          <a:xfrm rot="10800000" flipH="1">
            <a:off x="896850" y="2798500"/>
            <a:ext cx="7350300" cy="114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oval" w="med" len="med"/>
          </a:ln>
        </p:spPr>
      </p:cxnSp>
      <p:cxnSp>
        <p:nvCxnSpPr>
          <p:cNvPr id="893" name="Google Shape;893;g2157e93a457_0_165"/>
          <p:cNvCxnSpPr/>
          <p:nvPr/>
        </p:nvCxnSpPr>
        <p:spPr>
          <a:xfrm rot="10800000">
            <a:off x="1945184" y="2811326"/>
            <a:ext cx="0" cy="2859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cxnSp>
        <p:nvCxnSpPr>
          <p:cNvPr id="894" name="Google Shape;894;g2157e93a457_0_165"/>
          <p:cNvCxnSpPr/>
          <p:nvPr/>
        </p:nvCxnSpPr>
        <p:spPr>
          <a:xfrm rot="10800000">
            <a:off x="5240366" y="2803001"/>
            <a:ext cx="0" cy="2859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cxnSp>
        <p:nvCxnSpPr>
          <p:cNvPr id="895" name="Google Shape;895;g2157e93a457_0_165"/>
          <p:cNvCxnSpPr/>
          <p:nvPr/>
        </p:nvCxnSpPr>
        <p:spPr>
          <a:xfrm>
            <a:off x="6901970" y="2500903"/>
            <a:ext cx="0" cy="2976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cxnSp>
        <p:nvCxnSpPr>
          <p:cNvPr id="896" name="Google Shape;896;g2157e93a457_0_165"/>
          <p:cNvCxnSpPr/>
          <p:nvPr/>
        </p:nvCxnSpPr>
        <p:spPr>
          <a:xfrm>
            <a:off x="3621095" y="2500903"/>
            <a:ext cx="0" cy="2976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sp>
        <p:nvSpPr>
          <p:cNvPr id="897" name="Google Shape;897;g2157e93a457_0_165"/>
          <p:cNvSpPr txBox="1"/>
          <p:nvPr/>
        </p:nvSpPr>
        <p:spPr>
          <a:xfrm>
            <a:off x="2591050" y="1259225"/>
            <a:ext cx="2089800" cy="1215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ptember 11th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ssion 10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tart-up creation</a:t>
            </a:r>
            <a:endParaRPr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with Juan</a:t>
            </a:r>
            <a:endParaRPr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898" name="Google Shape;898;g2157e93a457_0_165"/>
          <p:cNvSpPr txBox="1"/>
          <p:nvPr/>
        </p:nvSpPr>
        <p:spPr>
          <a:xfrm>
            <a:off x="4309025" y="3166375"/>
            <a:ext cx="1862700" cy="12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ptember 16th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ssion 11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Negotiation skills (external)</a:t>
            </a: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899" name="Google Shape;899;g2157e93a457_0_165"/>
          <p:cNvSpPr txBox="1"/>
          <p:nvPr/>
        </p:nvSpPr>
        <p:spPr>
          <a:xfrm>
            <a:off x="6217525" y="1259225"/>
            <a:ext cx="1398600" cy="10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ptember 18th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ssion 12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Negotiation skills (internal)</a:t>
            </a: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15" name="Google Shape;855;g2157e93a457_0_114">
            <a:extLst>
              <a:ext uri="{FF2B5EF4-FFF2-40B4-BE49-F238E27FC236}">
                <a16:creationId xmlns:a16="http://schemas.microsoft.com/office/drawing/2014/main" id="{101B542D-C519-4B5D-B525-D0D6F7C47F34}"/>
              </a:ext>
            </a:extLst>
          </p:cNvPr>
          <p:cNvSpPr txBox="1"/>
          <p:nvPr/>
        </p:nvSpPr>
        <p:spPr>
          <a:xfrm>
            <a:off x="469800" y="475175"/>
            <a:ext cx="6783900" cy="129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rgbClr val="333089"/>
                </a:solidFill>
                <a:latin typeface="Titillium Web" panose="00000500000000000000" pitchFamily="2" charset="0"/>
                <a:ea typeface="Titillium Web"/>
                <a:cs typeface="Titillium Web"/>
                <a:sym typeface="Titillium Web"/>
              </a:rPr>
              <a:t>Sessions </a:t>
            </a:r>
            <a:endParaRPr sz="2800" dirty="0">
              <a:solidFill>
                <a:srgbClr val="333089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800" dirty="0">
              <a:solidFill>
                <a:srgbClr val="333089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800" dirty="0">
              <a:solidFill>
                <a:srgbClr val="333089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</p:txBody>
      </p:sp>
      <p:cxnSp>
        <p:nvCxnSpPr>
          <p:cNvPr id="16" name="Google Shape;856;g2157e93a457_0_114">
            <a:extLst>
              <a:ext uri="{FF2B5EF4-FFF2-40B4-BE49-F238E27FC236}">
                <a16:creationId xmlns:a16="http://schemas.microsoft.com/office/drawing/2014/main" id="{60551DAE-9F61-403A-91CE-89B0EB26365D}"/>
              </a:ext>
            </a:extLst>
          </p:cNvPr>
          <p:cNvCxnSpPr/>
          <p:nvPr/>
        </p:nvCxnSpPr>
        <p:spPr>
          <a:xfrm>
            <a:off x="469810" y="1002556"/>
            <a:ext cx="3444600" cy="4500"/>
          </a:xfrm>
          <a:prstGeom prst="straightConnector1">
            <a:avLst/>
          </a:prstGeom>
          <a:noFill/>
          <a:ln w="28575" cap="rnd" cmpd="sng">
            <a:solidFill>
              <a:srgbClr val="33308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" name="Google Shape;904;g2157e93a457_0_184"/>
          <p:cNvSpPr/>
          <p:nvPr/>
        </p:nvSpPr>
        <p:spPr>
          <a:xfrm>
            <a:off x="6110908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5" name="Google Shape;905;g2157e93a457_0_184"/>
          <p:cNvSpPr/>
          <p:nvPr/>
        </p:nvSpPr>
        <p:spPr>
          <a:xfrm>
            <a:off x="514350" y="45200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8" name="Google Shape;908;g2157e93a457_0_184"/>
          <p:cNvSpPr txBox="1"/>
          <p:nvPr/>
        </p:nvSpPr>
        <p:spPr>
          <a:xfrm>
            <a:off x="1231625" y="3238100"/>
            <a:ext cx="1427100" cy="10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ptember 23rd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ssion 13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Roadmapping</a:t>
            </a: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cxnSp>
        <p:nvCxnSpPr>
          <p:cNvPr id="909" name="Google Shape;909;g2157e93a457_0_184"/>
          <p:cNvCxnSpPr/>
          <p:nvPr/>
        </p:nvCxnSpPr>
        <p:spPr>
          <a:xfrm rot="10800000" flipH="1">
            <a:off x="896850" y="2798500"/>
            <a:ext cx="7350300" cy="114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oval" w="med" len="med"/>
          </a:ln>
        </p:spPr>
      </p:cxnSp>
      <p:cxnSp>
        <p:nvCxnSpPr>
          <p:cNvPr id="910" name="Google Shape;910;g2157e93a457_0_184"/>
          <p:cNvCxnSpPr/>
          <p:nvPr/>
        </p:nvCxnSpPr>
        <p:spPr>
          <a:xfrm rot="10800000">
            <a:off x="1945184" y="2811326"/>
            <a:ext cx="0" cy="2859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cxnSp>
        <p:nvCxnSpPr>
          <p:cNvPr id="911" name="Google Shape;911;g2157e93a457_0_184"/>
          <p:cNvCxnSpPr/>
          <p:nvPr/>
        </p:nvCxnSpPr>
        <p:spPr>
          <a:xfrm rot="10800000">
            <a:off x="5570891" y="2811326"/>
            <a:ext cx="0" cy="2859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cxnSp>
        <p:nvCxnSpPr>
          <p:cNvPr id="912" name="Google Shape;912;g2157e93a457_0_184"/>
          <p:cNvCxnSpPr/>
          <p:nvPr/>
        </p:nvCxnSpPr>
        <p:spPr>
          <a:xfrm>
            <a:off x="6901970" y="2500903"/>
            <a:ext cx="0" cy="2976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cxnSp>
        <p:nvCxnSpPr>
          <p:cNvPr id="913" name="Google Shape;913;g2157e93a457_0_184"/>
          <p:cNvCxnSpPr/>
          <p:nvPr/>
        </p:nvCxnSpPr>
        <p:spPr>
          <a:xfrm>
            <a:off x="4309020" y="2487828"/>
            <a:ext cx="0" cy="2976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sp>
        <p:nvSpPr>
          <p:cNvPr id="914" name="Google Shape;914;g2157e93a457_0_184"/>
          <p:cNvSpPr txBox="1"/>
          <p:nvPr/>
        </p:nvSpPr>
        <p:spPr>
          <a:xfrm>
            <a:off x="3014825" y="1237475"/>
            <a:ext cx="2588400" cy="1215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October 2nd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ssion 14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Juan &amp; Alex: Funding - Public </a:t>
            </a:r>
            <a:endParaRPr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Innovative framework of EIT</a:t>
            </a:r>
            <a:endParaRPr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915" name="Google Shape;915;g2157e93a457_0_184"/>
          <p:cNvSpPr txBox="1"/>
          <p:nvPr/>
        </p:nvSpPr>
        <p:spPr>
          <a:xfrm>
            <a:off x="4639550" y="3144100"/>
            <a:ext cx="1862700" cy="10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October 7th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ssion 15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 Private investment</a:t>
            </a: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916" name="Google Shape;916;g2157e93a457_0_184"/>
          <p:cNvSpPr txBox="1"/>
          <p:nvPr/>
        </p:nvSpPr>
        <p:spPr>
          <a:xfrm>
            <a:off x="6202675" y="1237475"/>
            <a:ext cx="1398600" cy="78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October 9th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ssion 16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Pitch Training</a:t>
            </a: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grpSp>
        <p:nvGrpSpPr>
          <p:cNvPr id="917" name="Google Shape;917;g2157e93a457_0_184"/>
          <p:cNvGrpSpPr/>
          <p:nvPr/>
        </p:nvGrpSpPr>
        <p:grpSpPr>
          <a:xfrm>
            <a:off x="2565546" y="2298249"/>
            <a:ext cx="1144024" cy="1131978"/>
            <a:chOff x="10299" y="60839"/>
            <a:chExt cx="2327617" cy="2303109"/>
          </a:xfrm>
        </p:grpSpPr>
        <p:grpSp>
          <p:nvGrpSpPr>
            <p:cNvPr id="918" name="Google Shape;918;g2157e93a457_0_184"/>
            <p:cNvGrpSpPr/>
            <p:nvPr/>
          </p:nvGrpSpPr>
          <p:grpSpPr>
            <a:xfrm>
              <a:off x="10299" y="60839"/>
              <a:ext cx="2327617" cy="2303109"/>
              <a:chOff x="15240" y="90026"/>
              <a:chExt cx="3444240" cy="3407973"/>
            </a:xfrm>
          </p:grpSpPr>
          <p:sp>
            <p:nvSpPr>
              <p:cNvPr id="919" name="Google Shape;919;g2157e93a457_0_184"/>
              <p:cNvSpPr/>
              <p:nvPr/>
            </p:nvSpPr>
            <p:spPr>
              <a:xfrm>
                <a:off x="15240" y="248920"/>
                <a:ext cx="3444240" cy="3249079"/>
              </a:xfrm>
              <a:custGeom>
                <a:avLst/>
                <a:gdLst/>
                <a:ahLst/>
                <a:cxnLst/>
                <a:rect l="l" t="t" r="r" b="b"/>
                <a:pathLst>
                  <a:path w="3444240" h="3249079" extrusionOk="0">
                    <a:moveTo>
                      <a:pt x="3441700" y="645160"/>
                    </a:moveTo>
                    <a:cubicBezTo>
                      <a:pt x="3444240" y="488950"/>
                      <a:pt x="3422650" y="30480"/>
                      <a:pt x="3422650" y="30480"/>
                    </a:cubicBezTo>
                    <a:cubicBezTo>
                      <a:pt x="3422650" y="30480"/>
                      <a:pt x="3037840" y="40640"/>
                      <a:pt x="2684780" y="40640"/>
                    </a:cubicBezTo>
                    <a:cubicBezTo>
                      <a:pt x="2653030" y="40640"/>
                      <a:pt x="2401570" y="40640"/>
                      <a:pt x="2341880" y="40640"/>
                    </a:cubicBezTo>
                    <a:cubicBezTo>
                      <a:pt x="1906270" y="40640"/>
                      <a:pt x="1042670" y="38100"/>
                      <a:pt x="795020" y="33020"/>
                    </a:cubicBezTo>
                    <a:cubicBezTo>
                      <a:pt x="482600" y="20320"/>
                      <a:pt x="11430" y="0"/>
                      <a:pt x="10160" y="29210"/>
                    </a:cubicBezTo>
                    <a:cubicBezTo>
                      <a:pt x="8890" y="58420"/>
                      <a:pt x="21590" y="440690"/>
                      <a:pt x="21590" y="440690"/>
                    </a:cubicBezTo>
                    <a:cubicBezTo>
                      <a:pt x="21590" y="440690"/>
                      <a:pt x="21590" y="2400719"/>
                      <a:pt x="21590" y="2592489"/>
                    </a:cubicBezTo>
                    <a:cubicBezTo>
                      <a:pt x="6350" y="2837599"/>
                      <a:pt x="0" y="3210979"/>
                      <a:pt x="0" y="3210979"/>
                    </a:cubicBezTo>
                    <a:cubicBezTo>
                      <a:pt x="204470" y="3241459"/>
                      <a:pt x="450850" y="3249079"/>
                      <a:pt x="657860" y="3246539"/>
                    </a:cubicBezTo>
                    <a:cubicBezTo>
                      <a:pt x="891540" y="3246539"/>
                      <a:pt x="2616200" y="3246539"/>
                      <a:pt x="2616200" y="3246539"/>
                    </a:cubicBezTo>
                    <a:lnTo>
                      <a:pt x="3402330" y="3232569"/>
                    </a:lnTo>
                    <a:cubicBezTo>
                      <a:pt x="3402330" y="3232569"/>
                      <a:pt x="3441700" y="2530259"/>
                      <a:pt x="3441700" y="2404529"/>
                    </a:cubicBezTo>
                    <a:cubicBezTo>
                      <a:pt x="3441700" y="2230539"/>
                      <a:pt x="3439160" y="803910"/>
                      <a:pt x="3441700" y="645160"/>
                    </a:cubicBezTo>
                    <a:close/>
                  </a:path>
                </a:pathLst>
              </a:custGeom>
              <a:solidFill>
                <a:srgbClr val="CAC0F6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0" name="Google Shape;920;g2157e93a457_0_184"/>
              <p:cNvSpPr/>
              <p:nvPr/>
            </p:nvSpPr>
            <p:spPr>
              <a:xfrm>
                <a:off x="844782" y="90026"/>
                <a:ext cx="1583691" cy="554990"/>
              </a:xfrm>
              <a:custGeom>
                <a:avLst/>
                <a:gdLst/>
                <a:ahLst/>
                <a:cxnLst/>
                <a:rect l="l" t="t" r="r" b="b"/>
                <a:pathLst>
                  <a:path w="1583690" h="554990" extrusionOk="0">
                    <a:moveTo>
                      <a:pt x="27940" y="0"/>
                    </a:moveTo>
                    <a:cubicBezTo>
                      <a:pt x="27940" y="0"/>
                      <a:pt x="990600" y="95250"/>
                      <a:pt x="1109980" y="97790"/>
                    </a:cubicBezTo>
                    <a:lnTo>
                      <a:pt x="1558290" y="106680"/>
                    </a:lnTo>
                    <a:lnTo>
                      <a:pt x="1557020" y="199390"/>
                    </a:lnTo>
                    <a:cubicBezTo>
                      <a:pt x="1557020" y="199390"/>
                      <a:pt x="1583690" y="342900"/>
                      <a:pt x="1582420" y="402590"/>
                    </a:cubicBezTo>
                    <a:lnTo>
                      <a:pt x="1579880" y="554990"/>
                    </a:lnTo>
                    <a:cubicBezTo>
                      <a:pt x="1579880" y="554990"/>
                      <a:pt x="975360" y="504190"/>
                      <a:pt x="825500" y="497840"/>
                    </a:cubicBezTo>
                    <a:cubicBezTo>
                      <a:pt x="511810" y="482600"/>
                      <a:pt x="11430" y="414020"/>
                      <a:pt x="11430" y="414020"/>
                    </a:cubicBezTo>
                    <a:lnTo>
                      <a:pt x="0" y="261620"/>
                    </a:lnTo>
                    <a:lnTo>
                      <a:pt x="48260" y="135890"/>
                    </a:lnTo>
                    <a:lnTo>
                      <a:pt x="2794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921" name="Google Shape;921;g2157e93a457_0_184"/>
            <p:cNvSpPr txBox="1"/>
            <p:nvPr/>
          </p:nvSpPr>
          <p:spPr>
            <a:xfrm>
              <a:off x="185182" y="526331"/>
              <a:ext cx="1841701" cy="169073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40019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964" b="1" dirty="0">
                  <a:latin typeface="Titillium Web"/>
                  <a:ea typeface="Titillium Web"/>
                  <a:cs typeface="Titillium Web"/>
                  <a:sym typeface="Titillium Web"/>
                </a:rPr>
                <a:t>BREAK </a:t>
              </a:r>
              <a:endParaRPr sz="964" b="1" dirty="0"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0" marR="0" lvl="0" indent="0" algn="ctr" rtl="0">
                <a:lnSpc>
                  <a:spcPct val="140019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964" dirty="0">
                  <a:latin typeface="Titillium Web"/>
                  <a:ea typeface="Titillium Web"/>
                  <a:cs typeface="Titillium Web"/>
                  <a:sym typeface="Titillium Web"/>
                </a:rPr>
                <a:t>between </a:t>
              </a:r>
              <a:br>
                <a:rPr lang="en" sz="964" dirty="0">
                  <a:latin typeface="Titillium Web"/>
                  <a:ea typeface="Titillium Web"/>
                  <a:cs typeface="Titillium Web"/>
                  <a:sym typeface="Titillium Web"/>
                </a:rPr>
              </a:br>
              <a:r>
                <a:rPr lang="en" sz="964" dirty="0">
                  <a:latin typeface="Titillium Web"/>
                  <a:ea typeface="Titillium Web"/>
                  <a:cs typeface="Titillium Web"/>
                  <a:sym typeface="Titillium Web"/>
                </a:rPr>
                <a:t>Sept 22nd and Oct 1st </a:t>
              </a:r>
              <a:endParaRPr sz="300" dirty="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</p:grpSp>
      <p:grpSp>
        <p:nvGrpSpPr>
          <p:cNvPr id="20" name="Google Shape;917;g2157e93a457_0_184">
            <a:extLst>
              <a:ext uri="{FF2B5EF4-FFF2-40B4-BE49-F238E27FC236}">
                <a16:creationId xmlns:a16="http://schemas.microsoft.com/office/drawing/2014/main" id="{DE0065B7-D2A2-429F-8E33-AC2C569A6ED5}"/>
              </a:ext>
            </a:extLst>
          </p:cNvPr>
          <p:cNvGrpSpPr/>
          <p:nvPr/>
        </p:nvGrpSpPr>
        <p:grpSpPr>
          <a:xfrm>
            <a:off x="3077125" y="3509157"/>
            <a:ext cx="1144024" cy="1159616"/>
            <a:chOff x="10299" y="4607"/>
            <a:chExt cx="2327617" cy="2359341"/>
          </a:xfrm>
        </p:grpSpPr>
        <p:grpSp>
          <p:nvGrpSpPr>
            <p:cNvPr id="21" name="Google Shape;918;g2157e93a457_0_184">
              <a:extLst>
                <a:ext uri="{FF2B5EF4-FFF2-40B4-BE49-F238E27FC236}">
                  <a16:creationId xmlns:a16="http://schemas.microsoft.com/office/drawing/2014/main" id="{975AA9D2-8281-43A3-85A5-717E093A0425}"/>
                </a:ext>
              </a:extLst>
            </p:cNvPr>
            <p:cNvGrpSpPr/>
            <p:nvPr/>
          </p:nvGrpSpPr>
          <p:grpSpPr>
            <a:xfrm>
              <a:off x="10299" y="4607"/>
              <a:ext cx="2327617" cy="2359341"/>
              <a:chOff x="15240" y="6818"/>
              <a:chExt cx="3444240" cy="3491181"/>
            </a:xfrm>
          </p:grpSpPr>
          <p:sp>
            <p:nvSpPr>
              <p:cNvPr id="23" name="Google Shape;919;g2157e93a457_0_184">
                <a:extLst>
                  <a:ext uri="{FF2B5EF4-FFF2-40B4-BE49-F238E27FC236}">
                    <a16:creationId xmlns:a16="http://schemas.microsoft.com/office/drawing/2014/main" id="{974C11EF-8322-4438-88F5-E6ADDC81532A}"/>
                  </a:ext>
                </a:extLst>
              </p:cNvPr>
              <p:cNvSpPr/>
              <p:nvPr/>
            </p:nvSpPr>
            <p:spPr>
              <a:xfrm>
                <a:off x="15240" y="248920"/>
                <a:ext cx="3444240" cy="3249079"/>
              </a:xfrm>
              <a:custGeom>
                <a:avLst/>
                <a:gdLst/>
                <a:ahLst/>
                <a:cxnLst/>
                <a:rect l="l" t="t" r="r" b="b"/>
                <a:pathLst>
                  <a:path w="3444240" h="3249079" extrusionOk="0">
                    <a:moveTo>
                      <a:pt x="3441700" y="645160"/>
                    </a:moveTo>
                    <a:cubicBezTo>
                      <a:pt x="3444240" y="488950"/>
                      <a:pt x="3422650" y="30480"/>
                      <a:pt x="3422650" y="30480"/>
                    </a:cubicBezTo>
                    <a:cubicBezTo>
                      <a:pt x="3422650" y="30480"/>
                      <a:pt x="3037840" y="40640"/>
                      <a:pt x="2684780" y="40640"/>
                    </a:cubicBezTo>
                    <a:cubicBezTo>
                      <a:pt x="2653030" y="40640"/>
                      <a:pt x="2401570" y="40640"/>
                      <a:pt x="2341880" y="40640"/>
                    </a:cubicBezTo>
                    <a:cubicBezTo>
                      <a:pt x="1906270" y="40640"/>
                      <a:pt x="1042670" y="38100"/>
                      <a:pt x="795020" y="33020"/>
                    </a:cubicBezTo>
                    <a:cubicBezTo>
                      <a:pt x="482600" y="20320"/>
                      <a:pt x="11430" y="0"/>
                      <a:pt x="10160" y="29210"/>
                    </a:cubicBezTo>
                    <a:cubicBezTo>
                      <a:pt x="8890" y="58420"/>
                      <a:pt x="21590" y="440690"/>
                      <a:pt x="21590" y="440690"/>
                    </a:cubicBezTo>
                    <a:cubicBezTo>
                      <a:pt x="21590" y="440690"/>
                      <a:pt x="21590" y="2400719"/>
                      <a:pt x="21590" y="2592489"/>
                    </a:cubicBezTo>
                    <a:cubicBezTo>
                      <a:pt x="6350" y="2837599"/>
                      <a:pt x="0" y="3210979"/>
                      <a:pt x="0" y="3210979"/>
                    </a:cubicBezTo>
                    <a:cubicBezTo>
                      <a:pt x="204470" y="3241459"/>
                      <a:pt x="450850" y="3249079"/>
                      <a:pt x="657860" y="3246539"/>
                    </a:cubicBezTo>
                    <a:cubicBezTo>
                      <a:pt x="891540" y="3246539"/>
                      <a:pt x="2616200" y="3246539"/>
                      <a:pt x="2616200" y="3246539"/>
                    </a:cubicBezTo>
                    <a:lnTo>
                      <a:pt x="3402330" y="3232569"/>
                    </a:lnTo>
                    <a:cubicBezTo>
                      <a:pt x="3402330" y="3232569"/>
                      <a:pt x="3441700" y="2530259"/>
                      <a:pt x="3441700" y="2404529"/>
                    </a:cubicBezTo>
                    <a:cubicBezTo>
                      <a:pt x="3441700" y="2230539"/>
                      <a:pt x="3439160" y="803910"/>
                      <a:pt x="3441700" y="645160"/>
                    </a:cubicBezTo>
                    <a:close/>
                  </a:path>
                </a:pathLst>
              </a:custGeom>
              <a:solidFill>
                <a:srgbClr val="CAC0F6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" name="Google Shape;920;g2157e93a457_0_184">
                <a:extLst>
                  <a:ext uri="{FF2B5EF4-FFF2-40B4-BE49-F238E27FC236}">
                    <a16:creationId xmlns:a16="http://schemas.microsoft.com/office/drawing/2014/main" id="{94DE4F92-628D-44B2-B7BD-ADB179577480}"/>
                  </a:ext>
                </a:extLst>
              </p:cNvPr>
              <p:cNvSpPr/>
              <p:nvPr/>
            </p:nvSpPr>
            <p:spPr>
              <a:xfrm>
                <a:off x="944274" y="6818"/>
                <a:ext cx="1583691" cy="554990"/>
              </a:xfrm>
              <a:custGeom>
                <a:avLst/>
                <a:gdLst/>
                <a:ahLst/>
                <a:cxnLst/>
                <a:rect l="l" t="t" r="r" b="b"/>
                <a:pathLst>
                  <a:path w="1583690" h="554990" extrusionOk="0">
                    <a:moveTo>
                      <a:pt x="27940" y="0"/>
                    </a:moveTo>
                    <a:cubicBezTo>
                      <a:pt x="27940" y="0"/>
                      <a:pt x="990600" y="95250"/>
                      <a:pt x="1109980" y="97790"/>
                    </a:cubicBezTo>
                    <a:lnTo>
                      <a:pt x="1558290" y="106680"/>
                    </a:lnTo>
                    <a:lnTo>
                      <a:pt x="1557020" y="199390"/>
                    </a:lnTo>
                    <a:cubicBezTo>
                      <a:pt x="1557020" y="199390"/>
                      <a:pt x="1583690" y="342900"/>
                      <a:pt x="1582420" y="402590"/>
                    </a:cubicBezTo>
                    <a:lnTo>
                      <a:pt x="1579880" y="554990"/>
                    </a:lnTo>
                    <a:cubicBezTo>
                      <a:pt x="1579880" y="554990"/>
                      <a:pt x="975360" y="504190"/>
                      <a:pt x="825500" y="497840"/>
                    </a:cubicBezTo>
                    <a:cubicBezTo>
                      <a:pt x="511810" y="482600"/>
                      <a:pt x="11430" y="414020"/>
                      <a:pt x="11430" y="414020"/>
                    </a:cubicBezTo>
                    <a:lnTo>
                      <a:pt x="0" y="261620"/>
                    </a:lnTo>
                    <a:lnTo>
                      <a:pt x="48260" y="135890"/>
                    </a:lnTo>
                    <a:lnTo>
                      <a:pt x="2794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2" name="Google Shape;921;g2157e93a457_0_184">
              <a:extLst>
                <a:ext uri="{FF2B5EF4-FFF2-40B4-BE49-F238E27FC236}">
                  <a16:creationId xmlns:a16="http://schemas.microsoft.com/office/drawing/2014/main" id="{E418FE07-7BEC-4D1B-B048-9A48178276B6}"/>
                </a:ext>
              </a:extLst>
            </p:cNvPr>
            <p:cNvSpPr txBox="1"/>
            <p:nvPr/>
          </p:nvSpPr>
          <p:spPr>
            <a:xfrm>
              <a:off x="252419" y="591801"/>
              <a:ext cx="1841701" cy="12680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40019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964" b="1" dirty="0">
                  <a:latin typeface="Titillium Web"/>
                  <a:ea typeface="Titillium Web"/>
                  <a:cs typeface="Titillium Web"/>
                  <a:sym typeface="Titillium Web"/>
                </a:rPr>
                <a:t>DELIVERABLE </a:t>
              </a:r>
              <a:endParaRPr sz="964" b="1" dirty="0"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0" marR="0" lvl="0" indent="0" algn="ctr" rtl="0">
                <a:lnSpc>
                  <a:spcPct val="140019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964" dirty="0" err="1">
                  <a:latin typeface="Titillium Web"/>
                  <a:ea typeface="Titillium Web"/>
                  <a:cs typeface="Titillium Web"/>
                  <a:sym typeface="Titillium Web"/>
                </a:rPr>
                <a:t>Roadmapping</a:t>
              </a:r>
              <a:endParaRPr lang="de-DE" sz="964" dirty="0"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0" marR="0" lvl="0" indent="0" algn="ctr" rtl="0">
                <a:lnSpc>
                  <a:spcPct val="140019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964" b="1" dirty="0">
                  <a:latin typeface="Titillium Web"/>
                  <a:ea typeface="Titillium Web"/>
                  <a:cs typeface="Titillium Web"/>
                  <a:sym typeface="Titillium Web"/>
                </a:rPr>
                <a:t>29th September</a:t>
              </a:r>
            </a:p>
          </p:txBody>
        </p:sp>
      </p:grpSp>
      <p:sp>
        <p:nvSpPr>
          <p:cNvPr id="25" name="Google Shape;855;g2157e93a457_0_114">
            <a:extLst>
              <a:ext uri="{FF2B5EF4-FFF2-40B4-BE49-F238E27FC236}">
                <a16:creationId xmlns:a16="http://schemas.microsoft.com/office/drawing/2014/main" id="{B4E2AE15-56E2-42C3-936C-A32ABCD55EF2}"/>
              </a:ext>
            </a:extLst>
          </p:cNvPr>
          <p:cNvSpPr txBox="1"/>
          <p:nvPr/>
        </p:nvSpPr>
        <p:spPr>
          <a:xfrm>
            <a:off x="469800" y="475175"/>
            <a:ext cx="6783900" cy="129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rgbClr val="333089"/>
                </a:solidFill>
                <a:latin typeface="Titillium Web" panose="00000500000000000000" pitchFamily="2" charset="0"/>
                <a:ea typeface="Titillium Web"/>
                <a:cs typeface="Titillium Web"/>
                <a:sym typeface="Titillium Web"/>
              </a:rPr>
              <a:t>Sessions </a:t>
            </a:r>
            <a:endParaRPr sz="2800" dirty="0">
              <a:solidFill>
                <a:srgbClr val="333089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800" dirty="0">
              <a:solidFill>
                <a:srgbClr val="333089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800" dirty="0">
              <a:solidFill>
                <a:srgbClr val="333089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</p:txBody>
      </p:sp>
      <p:cxnSp>
        <p:nvCxnSpPr>
          <p:cNvPr id="26" name="Google Shape;856;g2157e93a457_0_114">
            <a:extLst>
              <a:ext uri="{FF2B5EF4-FFF2-40B4-BE49-F238E27FC236}">
                <a16:creationId xmlns:a16="http://schemas.microsoft.com/office/drawing/2014/main" id="{3F4F36D5-EAB4-4029-A161-0DA022BB7697}"/>
              </a:ext>
            </a:extLst>
          </p:cNvPr>
          <p:cNvCxnSpPr/>
          <p:nvPr/>
        </p:nvCxnSpPr>
        <p:spPr>
          <a:xfrm>
            <a:off x="469810" y="1002556"/>
            <a:ext cx="3444600" cy="4500"/>
          </a:xfrm>
          <a:prstGeom prst="straightConnector1">
            <a:avLst/>
          </a:prstGeom>
          <a:noFill/>
          <a:ln w="28575" cap="rnd" cmpd="sng">
            <a:solidFill>
              <a:srgbClr val="33308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6" name="Google Shape;926;g2157e93a457_0_266"/>
          <p:cNvSpPr/>
          <p:nvPr/>
        </p:nvSpPr>
        <p:spPr>
          <a:xfrm>
            <a:off x="6110908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7" name="Google Shape;927;g2157e93a457_0_266"/>
          <p:cNvSpPr/>
          <p:nvPr/>
        </p:nvSpPr>
        <p:spPr>
          <a:xfrm>
            <a:off x="514350" y="45200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0" name="Google Shape;930;g2157e93a457_0_266"/>
          <p:cNvSpPr txBox="1"/>
          <p:nvPr/>
        </p:nvSpPr>
        <p:spPr>
          <a:xfrm>
            <a:off x="1127051" y="3233880"/>
            <a:ext cx="1636265" cy="10156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October 14h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ssion 17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How to prepare your pitch?!</a:t>
            </a: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cxnSp>
        <p:nvCxnSpPr>
          <p:cNvPr id="931" name="Google Shape;931;g2157e93a457_0_266"/>
          <p:cNvCxnSpPr/>
          <p:nvPr/>
        </p:nvCxnSpPr>
        <p:spPr>
          <a:xfrm rot="10800000" flipH="1">
            <a:off x="896850" y="2798500"/>
            <a:ext cx="7350300" cy="114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oval" w="med" len="med"/>
          </a:ln>
        </p:spPr>
      </p:cxnSp>
      <p:cxnSp>
        <p:nvCxnSpPr>
          <p:cNvPr id="932" name="Google Shape;932;g2157e93a457_0_266"/>
          <p:cNvCxnSpPr/>
          <p:nvPr/>
        </p:nvCxnSpPr>
        <p:spPr>
          <a:xfrm rot="10800000">
            <a:off x="1945184" y="2811326"/>
            <a:ext cx="0" cy="2859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cxnSp>
        <p:nvCxnSpPr>
          <p:cNvPr id="933" name="Google Shape;933;g2157e93a457_0_266"/>
          <p:cNvCxnSpPr/>
          <p:nvPr/>
        </p:nvCxnSpPr>
        <p:spPr>
          <a:xfrm rot="10800000">
            <a:off x="5240366" y="2803001"/>
            <a:ext cx="0" cy="2859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cxnSp>
        <p:nvCxnSpPr>
          <p:cNvPr id="934" name="Google Shape;934;g2157e93a457_0_266"/>
          <p:cNvCxnSpPr/>
          <p:nvPr/>
        </p:nvCxnSpPr>
        <p:spPr>
          <a:xfrm>
            <a:off x="6901970" y="2500903"/>
            <a:ext cx="0" cy="2976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cxnSp>
        <p:nvCxnSpPr>
          <p:cNvPr id="935" name="Google Shape;935;g2157e93a457_0_266"/>
          <p:cNvCxnSpPr/>
          <p:nvPr/>
        </p:nvCxnSpPr>
        <p:spPr>
          <a:xfrm>
            <a:off x="3621095" y="2500903"/>
            <a:ext cx="0" cy="2976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sp>
        <p:nvSpPr>
          <p:cNvPr id="936" name="Google Shape;936;g2157e93a457_0_266"/>
          <p:cNvSpPr txBox="1"/>
          <p:nvPr/>
        </p:nvSpPr>
        <p:spPr>
          <a:xfrm>
            <a:off x="2576200" y="1417975"/>
            <a:ext cx="2089800" cy="10464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October 16th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ssion 18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Practice your Pitch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(7 teams pitching)</a:t>
            </a:r>
            <a:endParaRPr sz="16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937" name="Google Shape;937;g2157e93a457_0_266"/>
          <p:cNvSpPr txBox="1"/>
          <p:nvPr/>
        </p:nvSpPr>
        <p:spPr>
          <a:xfrm>
            <a:off x="4309025" y="3166375"/>
            <a:ext cx="1862700" cy="12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October 23rd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ssion 19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Practice your Pitch</a:t>
            </a: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(8 teams pitching)</a:t>
            </a: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938" name="Google Shape;938;g2157e93a457_0_266"/>
          <p:cNvSpPr txBox="1"/>
          <p:nvPr/>
        </p:nvSpPr>
        <p:spPr>
          <a:xfrm>
            <a:off x="6217525" y="1259225"/>
            <a:ext cx="1726800" cy="10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October 28th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ssion 20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Practice your Pitch</a:t>
            </a: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(15 teams pitching)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20" name="Google Shape;938;g2157e93a457_0_266">
            <a:extLst>
              <a:ext uri="{FF2B5EF4-FFF2-40B4-BE49-F238E27FC236}">
                <a16:creationId xmlns:a16="http://schemas.microsoft.com/office/drawing/2014/main" id="{90FCDD7B-54C4-4AC0-841C-66419A0679BF}"/>
              </a:ext>
            </a:extLst>
          </p:cNvPr>
          <p:cNvSpPr txBox="1"/>
          <p:nvPr/>
        </p:nvSpPr>
        <p:spPr>
          <a:xfrm>
            <a:off x="7210160" y="3096140"/>
            <a:ext cx="1726800" cy="10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October 30th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Session 21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500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Final Pitch </a:t>
            </a:r>
            <a:r>
              <a:rPr lang="de-DE" sz="1500" dirty="0" err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troubleshooting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cxnSp>
        <p:nvCxnSpPr>
          <p:cNvPr id="21" name="Google Shape;933;g2157e93a457_0_266">
            <a:extLst>
              <a:ext uri="{FF2B5EF4-FFF2-40B4-BE49-F238E27FC236}">
                <a16:creationId xmlns:a16="http://schemas.microsoft.com/office/drawing/2014/main" id="{11188D8F-1F86-4E68-89FB-4C767031D1F7}"/>
              </a:ext>
            </a:extLst>
          </p:cNvPr>
          <p:cNvCxnSpPr/>
          <p:nvPr/>
        </p:nvCxnSpPr>
        <p:spPr>
          <a:xfrm rot="10800000">
            <a:off x="8073560" y="2778550"/>
            <a:ext cx="0" cy="2859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grpSp>
        <p:nvGrpSpPr>
          <p:cNvPr id="22" name="Google Shape;917;g2157e93a457_0_184">
            <a:extLst>
              <a:ext uri="{FF2B5EF4-FFF2-40B4-BE49-F238E27FC236}">
                <a16:creationId xmlns:a16="http://schemas.microsoft.com/office/drawing/2014/main" id="{D0D8FE9F-124B-4DA8-A537-A839323101C2}"/>
              </a:ext>
            </a:extLst>
          </p:cNvPr>
          <p:cNvGrpSpPr/>
          <p:nvPr/>
        </p:nvGrpSpPr>
        <p:grpSpPr>
          <a:xfrm>
            <a:off x="3165001" y="2956253"/>
            <a:ext cx="1144024" cy="1159616"/>
            <a:chOff x="10299" y="4607"/>
            <a:chExt cx="2327617" cy="2359341"/>
          </a:xfrm>
        </p:grpSpPr>
        <p:grpSp>
          <p:nvGrpSpPr>
            <p:cNvPr id="23" name="Google Shape;918;g2157e93a457_0_184">
              <a:extLst>
                <a:ext uri="{FF2B5EF4-FFF2-40B4-BE49-F238E27FC236}">
                  <a16:creationId xmlns:a16="http://schemas.microsoft.com/office/drawing/2014/main" id="{497A3946-716D-4641-8A78-6A80E87DC421}"/>
                </a:ext>
              </a:extLst>
            </p:cNvPr>
            <p:cNvGrpSpPr/>
            <p:nvPr/>
          </p:nvGrpSpPr>
          <p:grpSpPr>
            <a:xfrm>
              <a:off x="10299" y="4607"/>
              <a:ext cx="2327617" cy="2359341"/>
              <a:chOff x="15240" y="6818"/>
              <a:chExt cx="3444240" cy="3491181"/>
            </a:xfrm>
          </p:grpSpPr>
          <p:sp>
            <p:nvSpPr>
              <p:cNvPr id="25" name="Google Shape;919;g2157e93a457_0_184">
                <a:extLst>
                  <a:ext uri="{FF2B5EF4-FFF2-40B4-BE49-F238E27FC236}">
                    <a16:creationId xmlns:a16="http://schemas.microsoft.com/office/drawing/2014/main" id="{B80CDF8C-89D5-49BE-9ABD-15B1569FD1E5}"/>
                  </a:ext>
                </a:extLst>
              </p:cNvPr>
              <p:cNvSpPr/>
              <p:nvPr/>
            </p:nvSpPr>
            <p:spPr>
              <a:xfrm>
                <a:off x="15240" y="248920"/>
                <a:ext cx="3444240" cy="3249079"/>
              </a:xfrm>
              <a:custGeom>
                <a:avLst/>
                <a:gdLst/>
                <a:ahLst/>
                <a:cxnLst/>
                <a:rect l="l" t="t" r="r" b="b"/>
                <a:pathLst>
                  <a:path w="3444240" h="3249079" extrusionOk="0">
                    <a:moveTo>
                      <a:pt x="3441700" y="645160"/>
                    </a:moveTo>
                    <a:cubicBezTo>
                      <a:pt x="3444240" y="488950"/>
                      <a:pt x="3422650" y="30480"/>
                      <a:pt x="3422650" y="30480"/>
                    </a:cubicBezTo>
                    <a:cubicBezTo>
                      <a:pt x="3422650" y="30480"/>
                      <a:pt x="3037840" y="40640"/>
                      <a:pt x="2684780" y="40640"/>
                    </a:cubicBezTo>
                    <a:cubicBezTo>
                      <a:pt x="2653030" y="40640"/>
                      <a:pt x="2401570" y="40640"/>
                      <a:pt x="2341880" y="40640"/>
                    </a:cubicBezTo>
                    <a:cubicBezTo>
                      <a:pt x="1906270" y="40640"/>
                      <a:pt x="1042670" y="38100"/>
                      <a:pt x="795020" y="33020"/>
                    </a:cubicBezTo>
                    <a:cubicBezTo>
                      <a:pt x="482600" y="20320"/>
                      <a:pt x="11430" y="0"/>
                      <a:pt x="10160" y="29210"/>
                    </a:cubicBezTo>
                    <a:cubicBezTo>
                      <a:pt x="8890" y="58420"/>
                      <a:pt x="21590" y="440690"/>
                      <a:pt x="21590" y="440690"/>
                    </a:cubicBezTo>
                    <a:cubicBezTo>
                      <a:pt x="21590" y="440690"/>
                      <a:pt x="21590" y="2400719"/>
                      <a:pt x="21590" y="2592489"/>
                    </a:cubicBezTo>
                    <a:cubicBezTo>
                      <a:pt x="6350" y="2837599"/>
                      <a:pt x="0" y="3210979"/>
                      <a:pt x="0" y="3210979"/>
                    </a:cubicBezTo>
                    <a:cubicBezTo>
                      <a:pt x="204470" y="3241459"/>
                      <a:pt x="450850" y="3249079"/>
                      <a:pt x="657860" y="3246539"/>
                    </a:cubicBezTo>
                    <a:cubicBezTo>
                      <a:pt x="891540" y="3246539"/>
                      <a:pt x="2616200" y="3246539"/>
                      <a:pt x="2616200" y="3246539"/>
                    </a:cubicBezTo>
                    <a:lnTo>
                      <a:pt x="3402330" y="3232569"/>
                    </a:lnTo>
                    <a:cubicBezTo>
                      <a:pt x="3402330" y="3232569"/>
                      <a:pt x="3441700" y="2530259"/>
                      <a:pt x="3441700" y="2404529"/>
                    </a:cubicBezTo>
                    <a:cubicBezTo>
                      <a:pt x="3441700" y="2230539"/>
                      <a:pt x="3439160" y="803910"/>
                      <a:pt x="3441700" y="645160"/>
                    </a:cubicBezTo>
                    <a:close/>
                  </a:path>
                </a:pathLst>
              </a:custGeom>
              <a:solidFill>
                <a:srgbClr val="CAC0F6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" name="Google Shape;920;g2157e93a457_0_184">
                <a:extLst>
                  <a:ext uri="{FF2B5EF4-FFF2-40B4-BE49-F238E27FC236}">
                    <a16:creationId xmlns:a16="http://schemas.microsoft.com/office/drawing/2014/main" id="{C6F43E49-F006-474E-A0D6-5C45A0976882}"/>
                  </a:ext>
                </a:extLst>
              </p:cNvPr>
              <p:cNvSpPr/>
              <p:nvPr/>
            </p:nvSpPr>
            <p:spPr>
              <a:xfrm>
                <a:off x="944274" y="6818"/>
                <a:ext cx="1583691" cy="554990"/>
              </a:xfrm>
              <a:custGeom>
                <a:avLst/>
                <a:gdLst/>
                <a:ahLst/>
                <a:cxnLst/>
                <a:rect l="l" t="t" r="r" b="b"/>
                <a:pathLst>
                  <a:path w="1583690" h="554990" extrusionOk="0">
                    <a:moveTo>
                      <a:pt x="27940" y="0"/>
                    </a:moveTo>
                    <a:cubicBezTo>
                      <a:pt x="27940" y="0"/>
                      <a:pt x="990600" y="95250"/>
                      <a:pt x="1109980" y="97790"/>
                    </a:cubicBezTo>
                    <a:lnTo>
                      <a:pt x="1558290" y="106680"/>
                    </a:lnTo>
                    <a:lnTo>
                      <a:pt x="1557020" y="199390"/>
                    </a:lnTo>
                    <a:cubicBezTo>
                      <a:pt x="1557020" y="199390"/>
                      <a:pt x="1583690" y="342900"/>
                      <a:pt x="1582420" y="402590"/>
                    </a:cubicBezTo>
                    <a:lnTo>
                      <a:pt x="1579880" y="554990"/>
                    </a:lnTo>
                    <a:cubicBezTo>
                      <a:pt x="1579880" y="554990"/>
                      <a:pt x="975360" y="504190"/>
                      <a:pt x="825500" y="497840"/>
                    </a:cubicBezTo>
                    <a:cubicBezTo>
                      <a:pt x="511810" y="482600"/>
                      <a:pt x="11430" y="414020"/>
                      <a:pt x="11430" y="414020"/>
                    </a:cubicBezTo>
                    <a:lnTo>
                      <a:pt x="0" y="261620"/>
                    </a:lnTo>
                    <a:lnTo>
                      <a:pt x="48260" y="135890"/>
                    </a:lnTo>
                    <a:lnTo>
                      <a:pt x="2794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4" name="Google Shape;921;g2157e93a457_0_184">
              <a:extLst>
                <a:ext uri="{FF2B5EF4-FFF2-40B4-BE49-F238E27FC236}">
                  <a16:creationId xmlns:a16="http://schemas.microsoft.com/office/drawing/2014/main" id="{A818F44B-C796-441F-AC00-34EB6C6B63BE}"/>
                </a:ext>
              </a:extLst>
            </p:cNvPr>
            <p:cNvSpPr txBox="1"/>
            <p:nvPr/>
          </p:nvSpPr>
          <p:spPr>
            <a:xfrm>
              <a:off x="252419" y="591801"/>
              <a:ext cx="1841701" cy="128370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40019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964" b="1" dirty="0">
                  <a:latin typeface="Titillium Web"/>
                  <a:ea typeface="Titillium Web"/>
                  <a:cs typeface="Titillium Web"/>
                  <a:sym typeface="Titillium Web"/>
                </a:rPr>
                <a:t>DELIVERABLE </a:t>
              </a:r>
              <a:endParaRPr sz="964" b="1" dirty="0"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0" marR="0" lvl="0" indent="0" algn="ctr" rtl="0">
                <a:lnSpc>
                  <a:spcPct val="140019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 dirty="0">
                  <a:solidFill>
                    <a:schemeClr val="bg2"/>
                  </a:solidFill>
                  <a:latin typeface="Titillium Web"/>
                  <a:ea typeface="Titillium Web"/>
                  <a:cs typeface="Titillium Web"/>
                  <a:sym typeface="Titillium Web"/>
                </a:rPr>
                <a:t>Pitch Deck</a:t>
              </a:r>
              <a:endParaRPr lang="de-DE" sz="964" dirty="0">
                <a:solidFill>
                  <a:schemeClr val="bg2"/>
                </a:solidFill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0" marR="0" lvl="0" indent="0" algn="ctr" rtl="0">
                <a:lnSpc>
                  <a:spcPct val="140019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964" b="1" dirty="0">
                  <a:latin typeface="Titillium Web"/>
                  <a:ea typeface="Titillium Web"/>
                  <a:cs typeface="Titillium Web"/>
                  <a:sym typeface="Titillium Web"/>
                </a:rPr>
                <a:t>20th </a:t>
              </a:r>
              <a:r>
                <a:rPr lang="de-DE" sz="964" b="1" dirty="0" err="1">
                  <a:latin typeface="Titillium Web"/>
                  <a:ea typeface="Titillium Web"/>
                  <a:cs typeface="Titillium Web"/>
                  <a:sym typeface="Titillium Web"/>
                </a:rPr>
                <a:t>October</a:t>
              </a:r>
              <a:endParaRPr lang="de-DE" sz="964" b="1" dirty="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</p:grpSp>
      <p:sp>
        <p:nvSpPr>
          <p:cNvPr id="27" name="Google Shape;855;g2157e93a457_0_114">
            <a:extLst>
              <a:ext uri="{FF2B5EF4-FFF2-40B4-BE49-F238E27FC236}">
                <a16:creationId xmlns:a16="http://schemas.microsoft.com/office/drawing/2014/main" id="{557320C9-8DB8-4E5C-BFB6-97FA79F78835}"/>
              </a:ext>
            </a:extLst>
          </p:cNvPr>
          <p:cNvSpPr txBox="1"/>
          <p:nvPr/>
        </p:nvSpPr>
        <p:spPr>
          <a:xfrm>
            <a:off x="469800" y="475175"/>
            <a:ext cx="6783900" cy="129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rgbClr val="333089"/>
                </a:solidFill>
                <a:latin typeface="Titillium Web" panose="00000500000000000000" pitchFamily="2" charset="0"/>
                <a:ea typeface="Titillium Web"/>
                <a:cs typeface="Titillium Web"/>
                <a:sym typeface="Titillium Web"/>
              </a:rPr>
              <a:t>Sessions </a:t>
            </a:r>
            <a:endParaRPr sz="2800" dirty="0">
              <a:solidFill>
                <a:srgbClr val="333089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800" dirty="0">
              <a:solidFill>
                <a:srgbClr val="333089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800" dirty="0">
              <a:solidFill>
                <a:srgbClr val="333089"/>
              </a:solidFill>
              <a:latin typeface="Titillium Web" panose="00000500000000000000" pitchFamily="2" charset="0"/>
              <a:ea typeface="Titillium Web"/>
              <a:cs typeface="Titillium Web"/>
              <a:sym typeface="Titillium Web"/>
            </a:endParaRPr>
          </a:p>
        </p:txBody>
      </p:sp>
      <p:cxnSp>
        <p:nvCxnSpPr>
          <p:cNvPr id="28" name="Google Shape;856;g2157e93a457_0_114">
            <a:extLst>
              <a:ext uri="{FF2B5EF4-FFF2-40B4-BE49-F238E27FC236}">
                <a16:creationId xmlns:a16="http://schemas.microsoft.com/office/drawing/2014/main" id="{D395692D-136F-4225-B9EA-0A79F192C2A3}"/>
              </a:ext>
            </a:extLst>
          </p:cNvPr>
          <p:cNvCxnSpPr/>
          <p:nvPr/>
        </p:nvCxnSpPr>
        <p:spPr>
          <a:xfrm>
            <a:off x="469810" y="1002556"/>
            <a:ext cx="3444600" cy="4500"/>
          </a:xfrm>
          <a:prstGeom prst="straightConnector1">
            <a:avLst/>
          </a:prstGeom>
          <a:noFill/>
          <a:ln w="28575" cap="rnd" cmpd="sng">
            <a:solidFill>
              <a:srgbClr val="33308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g2157e93a457_0_266"/>
          <p:cNvSpPr/>
          <p:nvPr/>
        </p:nvSpPr>
        <p:spPr>
          <a:xfrm>
            <a:off x="514350" y="45200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8" name="Google Shape;928;g2157e93a457_0_266"/>
          <p:cNvSpPr txBox="1"/>
          <p:nvPr/>
        </p:nvSpPr>
        <p:spPr>
          <a:xfrm>
            <a:off x="469800" y="475175"/>
            <a:ext cx="67839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b="1" dirty="0">
                <a:solidFill>
                  <a:srgbClr val="333089"/>
                </a:solidFill>
                <a:latin typeface="Titillium Web"/>
                <a:ea typeface="Titillium Web"/>
                <a:cs typeface="Titillium Web"/>
                <a:sym typeface="Titillium Web"/>
              </a:rPr>
              <a:t>Graduation</a:t>
            </a:r>
            <a:r>
              <a:rPr lang="en" sz="2800" dirty="0">
                <a:solidFill>
                  <a:srgbClr val="333089"/>
                </a:solidFill>
                <a:latin typeface="Titillium Web"/>
                <a:ea typeface="Titillium Web"/>
                <a:cs typeface="Titillium Web"/>
                <a:sym typeface="Titillium Web"/>
              </a:rPr>
              <a:t>:  Pitch competition </a:t>
            </a:r>
            <a:endParaRPr sz="2800" dirty="0">
              <a:solidFill>
                <a:srgbClr val="333089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cxnSp>
        <p:nvCxnSpPr>
          <p:cNvPr id="929" name="Google Shape;929;g2157e93a457_0_266"/>
          <p:cNvCxnSpPr/>
          <p:nvPr/>
        </p:nvCxnSpPr>
        <p:spPr>
          <a:xfrm>
            <a:off x="469810" y="1002556"/>
            <a:ext cx="3444600" cy="4500"/>
          </a:xfrm>
          <a:prstGeom prst="straightConnector1">
            <a:avLst/>
          </a:prstGeom>
          <a:noFill/>
          <a:ln w="28575" cap="rnd" cmpd="sng">
            <a:solidFill>
              <a:srgbClr val="33308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0" name="Google Shape;930;g2157e93a457_0_266"/>
          <p:cNvSpPr txBox="1"/>
          <p:nvPr/>
        </p:nvSpPr>
        <p:spPr>
          <a:xfrm>
            <a:off x="1127051" y="3233880"/>
            <a:ext cx="1636265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November 3rd</a:t>
            </a:r>
            <a:endParaRPr sz="1200" b="1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Day 1 with 8 teams</a:t>
            </a:r>
            <a:endParaRPr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cxnSp>
        <p:nvCxnSpPr>
          <p:cNvPr id="931" name="Google Shape;931;g2157e93a457_0_266"/>
          <p:cNvCxnSpPr/>
          <p:nvPr/>
        </p:nvCxnSpPr>
        <p:spPr>
          <a:xfrm rot="10800000" flipH="1">
            <a:off x="896850" y="2798500"/>
            <a:ext cx="7350300" cy="114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oval" w="med" len="med"/>
          </a:ln>
        </p:spPr>
      </p:cxnSp>
      <p:cxnSp>
        <p:nvCxnSpPr>
          <p:cNvPr id="932" name="Google Shape;932;g2157e93a457_0_266"/>
          <p:cNvCxnSpPr/>
          <p:nvPr/>
        </p:nvCxnSpPr>
        <p:spPr>
          <a:xfrm rot="10800000">
            <a:off x="1945184" y="2811326"/>
            <a:ext cx="0" cy="2859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cxnSp>
        <p:nvCxnSpPr>
          <p:cNvPr id="933" name="Google Shape;933;g2157e93a457_0_266"/>
          <p:cNvCxnSpPr/>
          <p:nvPr/>
        </p:nvCxnSpPr>
        <p:spPr>
          <a:xfrm rot="10800000">
            <a:off x="5240366" y="2803001"/>
            <a:ext cx="0" cy="2859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cxnSp>
        <p:nvCxnSpPr>
          <p:cNvPr id="935" name="Google Shape;935;g2157e93a457_0_266"/>
          <p:cNvCxnSpPr/>
          <p:nvPr/>
        </p:nvCxnSpPr>
        <p:spPr>
          <a:xfrm>
            <a:off x="3621095" y="2500903"/>
            <a:ext cx="0" cy="29760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round/>
            <a:headEnd type="oval" w="med" len="med"/>
            <a:tailEnd type="none" w="sm" len="sm"/>
          </a:ln>
        </p:spPr>
      </p:cxnSp>
      <p:sp>
        <p:nvSpPr>
          <p:cNvPr id="936" name="Google Shape;936;g2157e93a457_0_266"/>
          <p:cNvSpPr txBox="1"/>
          <p:nvPr/>
        </p:nvSpPr>
        <p:spPr>
          <a:xfrm>
            <a:off x="2576200" y="1417975"/>
            <a:ext cx="2089800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November 4th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Day 2 with 7 teams</a:t>
            </a:r>
            <a:endParaRPr lang="en-US" sz="1500"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grpSp>
        <p:nvGrpSpPr>
          <p:cNvPr id="27" name="Google Shape;963;g2157e93a457_0_288">
            <a:extLst>
              <a:ext uri="{FF2B5EF4-FFF2-40B4-BE49-F238E27FC236}">
                <a16:creationId xmlns:a16="http://schemas.microsoft.com/office/drawing/2014/main" id="{C506056D-C450-42A3-8EF5-199EC70B9200}"/>
              </a:ext>
            </a:extLst>
          </p:cNvPr>
          <p:cNvGrpSpPr/>
          <p:nvPr/>
        </p:nvGrpSpPr>
        <p:grpSpPr>
          <a:xfrm>
            <a:off x="4383697" y="3145124"/>
            <a:ext cx="1745713" cy="1755890"/>
            <a:chOff x="10299" y="32775"/>
            <a:chExt cx="2327617" cy="2341188"/>
          </a:xfrm>
        </p:grpSpPr>
        <p:grpSp>
          <p:nvGrpSpPr>
            <p:cNvPr id="28" name="Google Shape;964;g2157e93a457_0_288">
              <a:extLst>
                <a:ext uri="{FF2B5EF4-FFF2-40B4-BE49-F238E27FC236}">
                  <a16:creationId xmlns:a16="http://schemas.microsoft.com/office/drawing/2014/main" id="{311BFCE3-38D3-448D-BB5E-DBC5536847D6}"/>
                </a:ext>
              </a:extLst>
            </p:cNvPr>
            <p:cNvGrpSpPr/>
            <p:nvPr/>
          </p:nvGrpSpPr>
          <p:grpSpPr>
            <a:xfrm>
              <a:off x="10299" y="32775"/>
              <a:ext cx="2327617" cy="2341188"/>
              <a:chOff x="15240" y="48499"/>
              <a:chExt cx="3444240" cy="3464321"/>
            </a:xfrm>
          </p:grpSpPr>
          <p:sp>
            <p:nvSpPr>
              <p:cNvPr id="30" name="Google Shape;965;g2157e93a457_0_288">
                <a:extLst>
                  <a:ext uri="{FF2B5EF4-FFF2-40B4-BE49-F238E27FC236}">
                    <a16:creationId xmlns:a16="http://schemas.microsoft.com/office/drawing/2014/main" id="{19820F1B-D268-44CF-9A36-7582EAA6A79E}"/>
                  </a:ext>
                </a:extLst>
              </p:cNvPr>
              <p:cNvSpPr/>
              <p:nvPr/>
            </p:nvSpPr>
            <p:spPr>
              <a:xfrm>
                <a:off x="15240" y="248920"/>
                <a:ext cx="3444240" cy="3263900"/>
              </a:xfrm>
              <a:custGeom>
                <a:avLst/>
                <a:gdLst/>
                <a:ahLst/>
                <a:cxnLst/>
                <a:rect l="l" t="t" r="r" b="b"/>
                <a:pathLst>
                  <a:path w="3444240" h="3263900" extrusionOk="0">
                    <a:moveTo>
                      <a:pt x="3441700" y="645160"/>
                    </a:moveTo>
                    <a:cubicBezTo>
                      <a:pt x="3444240" y="488950"/>
                      <a:pt x="3422650" y="30480"/>
                      <a:pt x="3422650" y="30480"/>
                    </a:cubicBezTo>
                    <a:cubicBezTo>
                      <a:pt x="3422650" y="30480"/>
                      <a:pt x="3037840" y="40640"/>
                      <a:pt x="2684780" y="40640"/>
                    </a:cubicBezTo>
                    <a:cubicBezTo>
                      <a:pt x="2653030" y="40640"/>
                      <a:pt x="2401570" y="40640"/>
                      <a:pt x="2341880" y="40640"/>
                    </a:cubicBezTo>
                    <a:cubicBezTo>
                      <a:pt x="1906270" y="40640"/>
                      <a:pt x="1042670" y="38100"/>
                      <a:pt x="795020" y="33020"/>
                    </a:cubicBezTo>
                    <a:cubicBezTo>
                      <a:pt x="482600" y="20320"/>
                      <a:pt x="11430" y="0"/>
                      <a:pt x="10160" y="29210"/>
                    </a:cubicBezTo>
                    <a:cubicBezTo>
                      <a:pt x="8890" y="58420"/>
                      <a:pt x="21590" y="440690"/>
                      <a:pt x="21590" y="440690"/>
                    </a:cubicBezTo>
                    <a:cubicBezTo>
                      <a:pt x="21590" y="440690"/>
                      <a:pt x="21590" y="2415540"/>
                      <a:pt x="21590" y="2607310"/>
                    </a:cubicBezTo>
                    <a:cubicBezTo>
                      <a:pt x="6350" y="2852420"/>
                      <a:pt x="0" y="3225800"/>
                      <a:pt x="0" y="3225800"/>
                    </a:cubicBezTo>
                    <a:cubicBezTo>
                      <a:pt x="204470" y="3256280"/>
                      <a:pt x="450850" y="3263900"/>
                      <a:pt x="657860" y="3261360"/>
                    </a:cubicBezTo>
                    <a:cubicBezTo>
                      <a:pt x="891540" y="3261360"/>
                      <a:pt x="2616200" y="3261360"/>
                      <a:pt x="2616200" y="3261360"/>
                    </a:cubicBezTo>
                    <a:lnTo>
                      <a:pt x="3402330" y="3247390"/>
                    </a:lnTo>
                    <a:cubicBezTo>
                      <a:pt x="3402330" y="3247390"/>
                      <a:pt x="3441700" y="2545080"/>
                      <a:pt x="3441700" y="2419350"/>
                    </a:cubicBezTo>
                    <a:cubicBezTo>
                      <a:pt x="3441700" y="2245360"/>
                      <a:pt x="3439160" y="803910"/>
                      <a:pt x="3441700" y="645160"/>
                    </a:cubicBezTo>
                    <a:close/>
                  </a:path>
                </a:pathLst>
              </a:custGeom>
              <a:solidFill>
                <a:srgbClr val="8C75F3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Titillium Web" panose="00000500000000000000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" name="Google Shape;966;g2157e93a457_0_288">
                <a:extLst>
                  <a:ext uri="{FF2B5EF4-FFF2-40B4-BE49-F238E27FC236}">
                    <a16:creationId xmlns:a16="http://schemas.microsoft.com/office/drawing/2014/main" id="{20187CE1-EFDA-4486-B530-19DF7A00E7D1}"/>
                  </a:ext>
                </a:extLst>
              </p:cNvPr>
              <p:cNvSpPr/>
              <p:nvPr/>
            </p:nvSpPr>
            <p:spPr>
              <a:xfrm>
                <a:off x="916274" y="48499"/>
                <a:ext cx="1583689" cy="554991"/>
              </a:xfrm>
              <a:custGeom>
                <a:avLst/>
                <a:gdLst/>
                <a:ahLst/>
                <a:cxnLst/>
                <a:rect l="l" t="t" r="r" b="b"/>
                <a:pathLst>
                  <a:path w="1583690" h="554990" extrusionOk="0">
                    <a:moveTo>
                      <a:pt x="27940" y="0"/>
                    </a:moveTo>
                    <a:cubicBezTo>
                      <a:pt x="27940" y="0"/>
                      <a:pt x="990600" y="95250"/>
                      <a:pt x="1109980" y="97790"/>
                    </a:cubicBezTo>
                    <a:lnTo>
                      <a:pt x="1558290" y="106680"/>
                    </a:lnTo>
                    <a:lnTo>
                      <a:pt x="1557020" y="199390"/>
                    </a:lnTo>
                    <a:cubicBezTo>
                      <a:pt x="1557020" y="199390"/>
                      <a:pt x="1583690" y="342900"/>
                      <a:pt x="1582420" y="402590"/>
                    </a:cubicBezTo>
                    <a:lnTo>
                      <a:pt x="1579880" y="554990"/>
                    </a:lnTo>
                    <a:cubicBezTo>
                      <a:pt x="1579880" y="554990"/>
                      <a:pt x="975360" y="504190"/>
                      <a:pt x="825500" y="497840"/>
                    </a:cubicBezTo>
                    <a:cubicBezTo>
                      <a:pt x="511810" y="482600"/>
                      <a:pt x="11430" y="414020"/>
                      <a:pt x="11430" y="414020"/>
                    </a:cubicBezTo>
                    <a:lnTo>
                      <a:pt x="0" y="261620"/>
                    </a:lnTo>
                    <a:lnTo>
                      <a:pt x="48260" y="135890"/>
                    </a:lnTo>
                    <a:lnTo>
                      <a:pt x="2794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Titillium Web" panose="00000500000000000000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9" name="Google Shape;967;g2157e93a457_0_288">
              <a:extLst>
                <a:ext uri="{FF2B5EF4-FFF2-40B4-BE49-F238E27FC236}">
                  <a16:creationId xmlns:a16="http://schemas.microsoft.com/office/drawing/2014/main" id="{5B73BBF4-4CEC-4EAA-BB5E-7CBA755340CD}"/>
                </a:ext>
              </a:extLst>
            </p:cNvPr>
            <p:cNvSpPr txBox="1"/>
            <p:nvPr/>
          </p:nvSpPr>
          <p:spPr>
            <a:xfrm>
              <a:off x="194127" y="647457"/>
              <a:ext cx="1841700" cy="12044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40019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64" dirty="0">
                  <a:solidFill>
                    <a:srgbClr val="FFFFFF"/>
                  </a:solidFill>
                  <a:latin typeface="Titillium Web" panose="00000500000000000000" pitchFamily="2" charset="0"/>
                  <a:ea typeface="DM Sans"/>
                  <a:cs typeface="DM Sans"/>
                  <a:sym typeface="DM Sans"/>
                </a:rPr>
                <a:t>Closing ceremony</a:t>
              </a:r>
            </a:p>
            <a:p>
              <a:pPr marL="0" marR="0" lvl="0" indent="0" algn="ctr" rtl="0">
                <a:lnSpc>
                  <a:spcPct val="140019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364" b="1" dirty="0">
                  <a:solidFill>
                    <a:srgbClr val="FFFFFF"/>
                  </a:solidFill>
                  <a:latin typeface="Titillium Web" panose="00000500000000000000" pitchFamily="2" charset="0"/>
                  <a:ea typeface="DM Sans"/>
                  <a:cs typeface="DM Sans"/>
                  <a:sym typeface="DM Sans"/>
                </a:rPr>
                <a:t>November 12th</a:t>
              </a:r>
              <a:endParaRPr sz="1164" dirty="0">
                <a:solidFill>
                  <a:srgbClr val="FFFFFF"/>
                </a:solidFill>
                <a:latin typeface="Titillium Web" panose="00000500000000000000" pitchFamily="2" charset="0"/>
                <a:ea typeface="DM Sans"/>
                <a:cs typeface="DM Sans"/>
                <a:sym typeface="DM Sans"/>
              </a:endParaRPr>
            </a:p>
            <a:p>
              <a:pPr marL="0" marR="0" lvl="0" indent="0" algn="ctr" rtl="0">
                <a:lnSpc>
                  <a:spcPct val="140019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564" dirty="0">
                <a:solidFill>
                  <a:srgbClr val="FFFFFF"/>
                </a:solidFill>
                <a:latin typeface="Titillium Web" panose="00000500000000000000" pitchFamily="2" charset="0"/>
                <a:ea typeface="DM Sans"/>
                <a:cs typeface="DM Sans"/>
                <a:sym typeface="DM Sans"/>
              </a:endParaRPr>
            </a:p>
          </p:txBody>
        </p:sp>
      </p:grpSp>
      <p:sp>
        <p:nvSpPr>
          <p:cNvPr id="32" name="Freeform 15">
            <a:extLst>
              <a:ext uri="{FF2B5EF4-FFF2-40B4-BE49-F238E27FC236}">
                <a16:creationId xmlns:a16="http://schemas.microsoft.com/office/drawing/2014/main" id="{B69570C7-9ED6-4FDB-9141-2AD98624D645}"/>
              </a:ext>
            </a:extLst>
          </p:cNvPr>
          <p:cNvSpPr/>
          <p:nvPr/>
        </p:nvSpPr>
        <p:spPr>
          <a:xfrm>
            <a:off x="702733" y="3233880"/>
            <a:ext cx="424318" cy="384515"/>
          </a:xfrm>
          <a:custGeom>
            <a:avLst/>
            <a:gdLst/>
            <a:ahLst/>
            <a:cxnLst/>
            <a:rect l="l" t="t" r="r" b="b"/>
            <a:pathLst>
              <a:path w="1879152" h="1879152">
                <a:moveTo>
                  <a:pt x="0" y="0"/>
                </a:moveTo>
                <a:lnTo>
                  <a:pt x="1879153" y="0"/>
                </a:lnTo>
                <a:lnTo>
                  <a:pt x="1879153" y="1879152"/>
                </a:lnTo>
                <a:lnTo>
                  <a:pt x="0" y="187915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  <p:sp>
        <p:nvSpPr>
          <p:cNvPr id="33" name="Freeform 15">
            <a:extLst>
              <a:ext uri="{FF2B5EF4-FFF2-40B4-BE49-F238E27FC236}">
                <a16:creationId xmlns:a16="http://schemas.microsoft.com/office/drawing/2014/main" id="{AC9F07F8-1010-407F-A8DF-4AA9A0A7A825}"/>
              </a:ext>
            </a:extLst>
          </p:cNvPr>
          <p:cNvSpPr/>
          <p:nvPr/>
        </p:nvSpPr>
        <p:spPr>
          <a:xfrm>
            <a:off x="2551157" y="1417481"/>
            <a:ext cx="424318" cy="384515"/>
          </a:xfrm>
          <a:custGeom>
            <a:avLst/>
            <a:gdLst/>
            <a:ahLst/>
            <a:cxnLst/>
            <a:rect l="l" t="t" r="r" b="b"/>
            <a:pathLst>
              <a:path w="1879152" h="1879152">
                <a:moveTo>
                  <a:pt x="0" y="0"/>
                </a:moveTo>
                <a:lnTo>
                  <a:pt x="1879153" y="0"/>
                </a:lnTo>
                <a:lnTo>
                  <a:pt x="1879153" y="1879152"/>
                </a:lnTo>
                <a:lnTo>
                  <a:pt x="0" y="187915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  <p:sp>
        <p:nvSpPr>
          <p:cNvPr id="18" name="Freeform 15">
            <a:extLst>
              <a:ext uri="{FF2B5EF4-FFF2-40B4-BE49-F238E27FC236}">
                <a16:creationId xmlns:a16="http://schemas.microsoft.com/office/drawing/2014/main" id="{948D4539-5F87-4137-965E-F9244EC021EC}"/>
              </a:ext>
            </a:extLst>
          </p:cNvPr>
          <p:cNvSpPr/>
          <p:nvPr/>
        </p:nvSpPr>
        <p:spPr>
          <a:xfrm>
            <a:off x="5000046" y="4317201"/>
            <a:ext cx="424318" cy="384515"/>
          </a:xfrm>
          <a:custGeom>
            <a:avLst/>
            <a:gdLst/>
            <a:ahLst/>
            <a:cxnLst/>
            <a:rect l="l" t="t" r="r" b="b"/>
            <a:pathLst>
              <a:path w="1879152" h="1879152">
                <a:moveTo>
                  <a:pt x="0" y="0"/>
                </a:moveTo>
                <a:lnTo>
                  <a:pt x="1879153" y="0"/>
                </a:lnTo>
                <a:lnTo>
                  <a:pt x="1879153" y="1879152"/>
                </a:lnTo>
                <a:lnTo>
                  <a:pt x="0" y="1879152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DE00B487-5376-409E-8A6D-24766C75F6F0}"/>
              </a:ext>
            </a:extLst>
          </p:cNvPr>
          <p:cNvSpPr txBox="1"/>
          <p:nvPr/>
        </p:nvSpPr>
        <p:spPr>
          <a:xfrm>
            <a:off x="6437567" y="3605050"/>
            <a:ext cx="2624448" cy="619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457200">
              <a:lnSpc>
                <a:spcPct val="150000"/>
              </a:lnSpc>
              <a:buClrTx/>
            </a:pPr>
            <a:r>
              <a:rPr lang="en-US" kern="1200" dirty="0">
                <a:solidFill>
                  <a:srgbClr val="8C75F3"/>
                </a:solidFill>
                <a:latin typeface="Titillium Web" panose="00000500000000000000" pitchFamily="2" charset="0"/>
                <a:ea typeface="+mn-ea"/>
                <a:cs typeface="+mn-cs"/>
              </a:rPr>
              <a:t>Next Step for winners:</a:t>
            </a:r>
          </a:p>
          <a:p>
            <a:pPr defTabSz="457200">
              <a:lnSpc>
                <a:spcPct val="150000"/>
              </a:lnSpc>
              <a:buClrTx/>
            </a:pPr>
            <a:r>
              <a:rPr lang="en-US" kern="1200" dirty="0">
                <a:solidFill>
                  <a:srgbClr val="8C75F3"/>
                </a:solidFill>
                <a:latin typeface="Titillium Web" panose="00000500000000000000" pitchFamily="2" charset="0"/>
                <a:ea typeface="+mn-ea"/>
                <a:cs typeface="+mn-cs"/>
              </a:rPr>
              <a:t>Register the company</a:t>
            </a:r>
          </a:p>
        </p:txBody>
      </p:sp>
      <p:sp>
        <p:nvSpPr>
          <p:cNvPr id="20" name="Freeform 15">
            <a:extLst>
              <a:ext uri="{FF2B5EF4-FFF2-40B4-BE49-F238E27FC236}">
                <a16:creationId xmlns:a16="http://schemas.microsoft.com/office/drawing/2014/main" id="{DDA42785-16AC-4A3C-BD68-F5FCC6592D61}"/>
              </a:ext>
            </a:extLst>
          </p:cNvPr>
          <p:cNvSpPr/>
          <p:nvPr/>
        </p:nvSpPr>
        <p:spPr>
          <a:xfrm>
            <a:off x="8183446" y="3786515"/>
            <a:ext cx="424318" cy="384515"/>
          </a:xfrm>
          <a:custGeom>
            <a:avLst/>
            <a:gdLst/>
            <a:ahLst/>
            <a:cxnLst/>
            <a:rect l="l" t="t" r="r" b="b"/>
            <a:pathLst>
              <a:path w="1879152" h="1879152">
                <a:moveTo>
                  <a:pt x="0" y="0"/>
                </a:moveTo>
                <a:lnTo>
                  <a:pt x="1879153" y="0"/>
                </a:lnTo>
                <a:lnTo>
                  <a:pt x="1879153" y="1879152"/>
                </a:lnTo>
                <a:lnTo>
                  <a:pt x="0" y="1879152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9507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" name="Google Shape;854;g2157e93a457_0_114"/>
          <p:cNvSpPr/>
          <p:nvPr/>
        </p:nvSpPr>
        <p:spPr>
          <a:xfrm>
            <a:off x="514350" y="45200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Titillium Web" panose="00000500000000000000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18" name="TextBox 7">
            <a:extLst>
              <a:ext uri="{FF2B5EF4-FFF2-40B4-BE49-F238E27FC236}">
                <a16:creationId xmlns:a16="http://schemas.microsoft.com/office/drawing/2014/main" id="{F35247CD-CD54-43BC-BE2F-60885D378853}"/>
              </a:ext>
            </a:extLst>
          </p:cNvPr>
          <p:cNvSpPr txBox="1"/>
          <p:nvPr/>
        </p:nvSpPr>
        <p:spPr>
          <a:xfrm>
            <a:off x="453762" y="291561"/>
            <a:ext cx="4572000" cy="3539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700" b="1" i="0" u="none" strike="noStrike" kern="0" cap="none" spc="0" normalizeH="0" baseline="0" noProof="0" dirty="0">
                <a:ln>
                  <a:noFill/>
                </a:ln>
                <a:solidFill>
                  <a:srgbClr val="AFA3EF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Good reading recommendations</a:t>
            </a:r>
            <a:endParaRPr lang="en-GB" dirty="0">
              <a:solidFill>
                <a:srgbClr val="AFA3EF"/>
              </a:solidFill>
            </a:endParaRPr>
          </a:p>
        </p:txBody>
      </p:sp>
      <p:pic>
        <p:nvPicPr>
          <p:cNvPr id="19" name="Picture 8">
            <a:extLst>
              <a:ext uri="{FF2B5EF4-FFF2-40B4-BE49-F238E27FC236}">
                <a16:creationId xmlns:a16="http://schemas.microsoft.com/office/drawing/2014/main" id="{78BE88F9-C17C-4EF1-AF01-E44CABF9783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27959" y="1888771"/>
            <a:ext cx="564330" cy="866760"/>
          </a:xfrm>
          <a:prstGeom prst="rect">
            <a:avLst/>
          </a:prstGeom>
        </p:spPr>
      </p:pic>
      <p:pic>
        <p:nvPicPr>
          <p:cNvPr id="20" name="Picture 9">
            <a:extLst>
              <a:ext uri="{FF2B5EF4-FFF2-40B4-BE49-F238E27FC236}">
                <a16:creationId xmlns:a16="http://schemas.microsoft.com/office/drawing/2014/main" id="{362D72C2-1AFF-4297-8137-6CB9641D912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3876" y="842357"/>
            <a:ext cx="556235" cy="857395"/>
          </a:xfrm>
          <a:prstGeom prst="rect">
            <a:avLst/>
          </a:prstGeom>
        </p:spPr>
      </p:pic>
      <p:pic>
        <p:nvPicPr>
          <p:cNvPr id="21" name="Picture 10">
            <a:extLst>
              <a:ext uri="{FF2B5EF4-FFF2-40B4-BE49-F238E27FC236}">
                <a16:creationId xmlns:a16="http://schemas.microsoft.com/office/drawing/2014/main" id="{D77F4B4D-A35A-4E88-A0A7-269D56BA94D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689" y="1880333"/>
            <a:ext cx="575760" cy="877683"/>
          </a:xfrm>
          <a:prstGeom prst="rect">
            <a:avLst/>
          </a:prstGeom>
        </p:spPr>
      </p:pic>
      <p:pic>
        <p:nvPicPr>
          <p:cNvPr id="22" name="Picture 11">
            <a:extLst>
              <a:ext uri="{FF2B5EF4-FFF2-40B4-BE49-F238E27FC236}">
                <a16:creationId xmlns:a16="http://schemas.microsoft.com/office/drawing/2014/main" id="{51A040CB-2275-4B82-BF89-FD723CA2EEE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8728" y="837410"/>
            <a:ext cx="606464" cy="857395"/>
          </a:xfrm>
          <a:prstGeom prst="rect">
            <a:avLst/>
          </a:prstGeom>
        </p:spPr>
      </p:pic>
      <p:pic>
        <p:nvPicPr>
          <p:cNvPr id="23" name="Picture 12">
            <a:extLst>
              <a:ext uri="{FF2B5EF4-FFF2-40B4-BE49-F238E27FC236}">
                <a16:creationId xmlns:a16="http://schemas.microsoft.com/office/drawing/2014/main" id="{028629B3-15B5-40D1-8606-F0CBF4699D0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1457" y="840204"/>
            <a:ext cx="562366" cy="849656"/>
          </a:xfrm>
          <a:prstGeom prst="rect">
            <a:avLst/>
          </a:prstGeom>
        </p:spPr>
      </p:pic>
      <p:pic>
        <p:nvPicPr>
          <p:cNvPr id="24" name="Picture 13">
            <a:extLst>
              <a:ext uri="{FF2B5EF4-FFF2-40B4-BE49-F238E27FC236}">
                <a16:creationId xmlns:a16="http://schemas.microsoft.com/office/drawing/2014/main" id="{99D0F1B5-B242-49BC-B55B-8246D6A5CBE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597" y="842357"/>
            <a:ext cx="545792" cy="847503"/>
          </a:xfrm>
          <a:prstGeom prst="rect">
            <a:avLst/>
          </a:prstGeom>
        </p:spPr>
      </p:pic>
      <p:pic>
        <p:nvPicPr>
          <p:cNvPr id="25" name="Picture 14">
            <a:extLst>
              <a:ext uri="{FF2B5EF4-FFF2-40B4-BE49-F238E27FC236}">
                <a16:creationId xmlns:a16="http://schemas.microsoft.com/office/drawing/2014/main" id="{4F76F9DE-2E4B-43CA-86D8-FE51FC26E9B5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5382" y="845602"/>
            <a:ext cx="534958" cy="854150"/>
          </a:xfrm>
          <a:prstGeom prst="rect">
            <a:avLst/>
          </a:prstGeom>
        </p:spPr>
      </p:pic>
      <p:pic>
        <p:nvPicPr>
          <p:cNvPr id="26" name="Picture 15">
            <a:extLst>
              <a:ext uri="{FF2B5EF4-FFF2-40B4-BE49-F238E27FC236}">
                <a16:creationId xmlns:a16="http://schemas.microsoft.com/office/drawing/2014/main" id="{E05D7A91-1A49-4AFC-B78F-0CF7D61AF9E0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779" y="842357"/>
            <a:ext cx="538499" cy="868027"/>
          </a:xfrm>
          <a:prstGeom prst="rect">
            <a:avLst/>
          </a:prstGeom>
        </p:spPr>
      </p:pic>
      <p:pic>
        <p:nvPicPr>
          <p:cNvPr id="27" name="Picture 16">
            <a:extLst>
              <a:ext uri="{FF2B5EF4-FFF2-40B4-BE49-F238E27FC236}">
                <a16:creationId xmlns:a16="http://schemas.microsoft.com/office/drawing/2014/main" id="{A4B377EE-9507-4A59-8E5D-20616AD92B63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73" r="30488"/>
          <a:stretch/>
        </p:blipFill>
        <p:spPr>
          <a:xfrm>
            <a:off x="2985169" y="840204"/>
            <a:ext cx="598867" cy="867595"/>
          </a:xfrm>
          <a:prstGeom prst="rect">
            <a:avLst/>
          </a:prstGeom>
        </p:spPr>
      </p:pic>
      <p:pic>
        <p:nvPicPr>
          <p:cNvPr id="28" name="Picture 17">
            <a:extLst>
              <a:ext uri="{FF2B5EF4-FFF2-40B4-BE49-F238E27FC236}">
                <a16:creationId xmlns:a16="http://schemas.microsoft.com/office/drawing/2014/main" id="{0B335C63-781F-4290-AB67-BA23FF678A32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1974" y="1887696"/>
            <a:ext cx="604403" cy="854626"/>
          </a:xfrm>
          <a:prstGeom prst="rect">
            <a:avLst/>
          </a:prstGeom>
        </p:spPr>
      </p:pic>
      <p:pic>
        <p:nvPicPr>
          <p:cNvPr id="29" name="Picture 18">
            <a:extLst>
              <a:ext uri="{FF2B5EF4-FFF2-40B4-BE49-F238E27FC236}">
                <a16:creationId xmlns:a16="http://schemas.microsoft.com/office/drawing/2014/main" id="{F8EF7060-9AD6-4C89-BD62-B92446C5DFCF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075" y="1887695"/>
            <a:ext cx="611804" cy="862039"/>
          </a:xfrm>
          <a:prstGeom prst="rect">
            <a:avLst/>
          </a:prstGeom>
        </p:spPr>
      </p:pic>
      <p:pic>
        <p:nvPicPr>
          <p:cNvPr id="30" name="Picture 19">
            <a:extLst>
              <a:ext uri="{FF2B5EF4-FFF2-40B4-BE49-F238E27FC236}">
                <a16:creationId xmlns:a16="http://schemas.microsoft.com/office/drawing/2014/main" id="{7698A1D5-7C5C-4C8B-B568-3F6CB85D0D0C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3811" y="1887696"/>
            <a:ext cx="576343" cy="864084"/>
          </a:xfrm>
          <a:prstGeom prst="rect">
            <a:avLst/>
          </a:prstGeom>
        </p:spPr>
      </p:pic>
      <p:pic>
        <p:nvPicPr>
          <p:cNvPr id="31" name="Picture 20">
            <a:extLst>
              <a:ext uri="{FF2B5EF4-FFF2-40B4-BE49-F238E27FC236}">
                <a16:creationId xmlns:a16="http://schemas.microsoft.com/office/drawing/2014/main" id="{479B0417-0729-4B1A-806C-144F8B998EF3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97" r="18147"/>
          <a:stretch/>
        </p:blipFill>
        <p:spPr>
          <a:xfrm>
            <a:off x="1159753" y="1888890"/>
            <a:ext cx="559620" cy="881889"/>
          </a:xfrm>
          <a:prstGeom prst="rect">
            <a:avLst/>
          </a:prstGeom>
        </p:spPr>
      </p:pic>
      <p:pic>
        <p:nvPicPr>
          <p:cNvPr id="32" name="Picture 21">
            <a:extLst>
              <a:ext uri="{FF2B5EF4-FFF2-40B4-BE49-F238E27FC236}">
                <a16:creationId xmlns:a16="http://schemas.microsoft.com/office/drawing/2014/main" id="{1A1BCB8C-49B8-4BF9-A539-B1DE18557439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49" t="15280" r="22002" b="15461"/>
          <a:stretch/>
        </p:blipFill>
        <p:spPr>
          <a:xfrm>
            <a:off x="2409210" y="2927965"/>
            <a:ext cx="608254" cy="884104"/>
          </a:xfrm>
          <a:prstGeom prst="rect">
            <a:avLst/>
          </a:prstGeom>
        </p:spPr>
      </p:pic>
      <p:pic>
        <p:nvPicPr>
          <p:cNvPr id="33" name="Picture 22">
            <a:extLst>
              <a:ext uri="{FF2B5EF4-FFF2-40B4-BE49-F238E27FC236}">
                <a16:creationId xmlns:a16="http://schemas.microsoft.com/office/drawing/2014/main" id="{545B24D3-EA3F-4A0D-8560-CEF74C4D9A61}"/>
              </a:ext>
            </a:extLst>
          </p:cNvPr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1" t="2996" r="32676"/>
          <a:stretch/>
        </p:blipFill>
        <p:spPr>
          <a:xfrm>
            <a:off x="1753013" y="2927965"/>
            <a:ext cx="593202" cy="886715"/>
          </a:xfrm>
          <a:prstGeom prst="rect">
            <a:avLst/>
          </a:prstGeom>
        </p:spPr>
      </p:pic>
      <p:pic>
        <p:nvPicPr>
          <p:cNvPr id="34" name="Picture 24">
            <a:extLst>
              <a:ext uri="{FF2B5EF4-FFF2-40B4-BE49-F238E27FC236}">
                <a16:creationId xmlns:a16="http://schemas.microsoft.com/office/drawing/2014/main" id="{C253906B-053C-471A-8F06-E66ECCA2866E}"/>
              </a:ext>
            </a:extLst>
          </p:cNvPr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66" t="3452" r="3395" b="2322"/>
          <a:stretch/>
        </p:blipFill>
        <p:spPr>
          <a:xfrm>
            <a:off x="1144212" y="2927965"/>
            <a:ext cx="544342" cy="888819"/>
          </a:xfrm>
          <a:prstGeom prst="rect">
            <a:avLst/>
          </a:prstGeom>
        </p:spPr>
      </p:pic>
      <p:pic>
        <p:nvPicPr>
          <p:cNvPr id="35" name="Picture 25">
            <a:extLst>
              <a:ext uri="{FF2B5EF4-FFF2-40B4-BE49-F238E27FC236}">
                <a16:creationId xmlns:a16="http://schemas.microsoft.com/office/drawing/2014/main" id="{18D42060-2AC0-4CFE-8FA8-B1B47C1D282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119" y="2927965"/>
            <a:ext cx="563634" cy="898961"/>
          </a:xfrm>
          <a:prstGeom prst="rect">
            <a:avLst/>
          </a:prstGeom>
        </p:spPr>
      </p:pic>
      <p:pic>
        <p:nvPicPr>
          <p:cNvPr id="36" name="Picture 26">
            <a:extLst>
              <a:ext uri="{FF2B5EF4-FFF2-40B4-BE49-F238E27FC236}">
                <a16:creationId xmlns:a16="http://schemas.microsoft.com/office/drawing/2014/main" id="{5E44CC4A-F5E2-4118-BCCD-BF47F6B7A8BD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786" y="1888890"/>
            <a:ext cx="587257" cy="890797"/>
          </a:xfrm>
          <a:prstGeom prst="rect">
            <a:avLst/>
          </a:prstGeom>
        </p:spPr>
      </p:pic>
      <p:pic>
        <p:nvPicPr>
          <p:cNvPr id="37" name="Picture 27">
            <a:extLst>
              <a:ext uri="{FF2B5EF4-FFF2-40B4-BE49-F238E27FC236}">
                <a16:creationId xmlns:a16="http://schemas.microsoft.com/office/drawing/2014/main" id="{545EBD82-D0B5-4D69-97E7-2A2E1D1E0F32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1456" y="1880333"/>
            <a:ext cx="562367" cy="896940"/>
          </a:xfrm>
          <a:prstGeom prst="rect">
            <a:avLst/>
          </a:prstGeom>
        </p:spPr>
      </p:pic>
      <p:pic>
        <p:nvPicPr>
          <p:cNvPr id="38" name="Picture 28">
            <a:extLst>
              <a:ext uri="{FF2B5EF4-FFF2-40B4-BE49-F238E27FC236}">
                <a16:creationId xmlns:a16="http://schemas.microsoft.com/office/drawing/2014/main" id="{B5E7C604-6184-4714-81A0-AD561705AF3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4584" y="834642"/>
            <a:ext cx="1037982" cy="849656"/>
          </a:xfrm>
          <a:prstGeom prst="rect">
            <a:avLst/>
          </a:prstGeom>
        </p:spPr>
      </p:pic>
      <p:pic>
        <p:nvPicPr>
          <p:cNvPr id="39" name="Picture 29">
            <a:extLst>
              <a:ext uri="{FF2B5EF4-FFF2-40B4-BE49-F238E27FC236}">
                <a16:creationId xmlns:a16="http://schemas.microsoft.com/office/drawing/2014/main" id="{4F26275F-8BDA-4C6D-9507-3066FC3CC9EC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5968142" y="834642"/>
            <a:ext cx="550940" cy="849656"/>
          </a:xfrm>
          <a:prstGeom prst="rect">
            <a:avLst/>
          </a:prstGeom>
        </p:spPr>
      </p:pic>
      <p:pic>
        <p:nvPicPr>
          <p:cNvPr id="40" name="Picture 30">
            <a:extLst>
              <a:ext uri="{FF2B5EF4-FFF2-40B4-BE49-F238E27FC236}">
                <a16:creationId xmlns:a16="http://schemas.microsoft.com/office/drawing/2014/main" id="{277CE90A-7C47-4C2C-B49D-B36AB2362C62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6575859" y="834642"/>
            <a:ext cx="526210" cy="845933"/>
          </a:xfrm>
          <a:prstGeom prst="rect">
            <a:avLst/>
          </a:prstGeom>
        </p:spPr>
      </p:pic>
      <p:pic>
        <p:nvPicPr>
          <p:cNvPr id="41" name="Picture 31">
            <a:extLst>
              <a:ext uri="{FF2B5EF4-FFF2-40B4-BE49-F238E27FC236}">
                <a16:creationId xmlns:a16="http://schemas.microsoft.com/office/drawing/2014/main" id="{6B01451C-E4D0-4DC5-BFB7-C955ACC12D6E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7151729" y="834642"/>
            <a:ext cx="560017" cy="845933"/>
          </a:xfrm>
          <a:prstGeom prst="rect">
            <a:avLst/>
          </a:prstGeom>
        </p:spPr>
      </p:pic>
      <p:pic>
        <p:nvPicPr>
          <p:cNvPr id="42" name="Picture 32">
            <a:extLst>
              <a:ext uri="{FF2B5EF4-FFF2-40B4-BE49-F238E27FC236}">
                <a16:creationId xmlns:a16="http://schemas.microsoft.com/office/drawing/2014/main" id="{EB09EDB6-B622-4CD1-8427-FA54C78CF4B2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3080459" y="2922219"/>
            <a:ext cx="575821" cy="898961"/>
          </a:xfrm>
          <a:prstGeom prst="rect">
            <a:avLst/>
          </a:prstGeom>
        </p:spPr>
      </p:pic>
      <p:pic>
        <p:nvPicPr>
          <p:cNvPr id="43" name="Picture 33">
            <a:extLst>
              <a:ext uri="{FF2B5EF4-FFF2-40B4-BE49-F238E27FC236}">
                <a16:creationId xmlns:a16="http://schemas.microsoft.com/office/drawing/2014/main" id="{F8B83B54-0048-4C07-A695-54728E33778F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3719275" y="2913107"/>
            <a:ext cx="661658" cy="898962"/>
          </a:xfrm>
          <a:prstGeom prst="rect">
            <a:avLst/>
          </a:prstGeom>
        </p:spPr>
      </p:pic>
      <p:pic>
        <p:nvPicPr>
          <p:cNvPr id="44" name="Picture 35">
            <a:extLst>
              <a:ext uri="{FF2B5EF4-FFF2-40B4-BE49-F238E27FC236}">
                <a16:creationId xmlns:a16="http://schemas.microsoft.com/office/drawing/2014/main" id="{2ACC9421-97DA-46B5-A001-1BDC1D7FAAFB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7759168" y="834643"/>
            <a:ext cx="635438" cy="847250"/>
          </a:xfrm>
          <a:prstGeom prst="rect">
            <a:avLst/>
          </a:prstGeom>
        </p:spPr>
      </p:pic>
      <p:pic>
        <p:nvPicPr>
          <p:cNvPr id="45" name="Picture 36">
            <a:extLst>
              <a:ext uri="{FF2B5EF4-FFF2-40B4-BE49-F238E27FC236}">
                <a16:creationId xmlns:a16="http://schemas.microsoft.com/office/drawing/2014/main" id="{289AD536-32C4-4937-BD0D-D2BA5BADF8D0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4422231" y="2908953"/>
            <a:ext cx="603531" cy="905297"/>
          </a:xfrm>
          <a:prstGeom prst="rect">
            <a:avLst/>
          </a:prstGeom>
        </p:spPr>
      </p:pic>
      <p:pic>
        <p:nvPicPr>
          <p:cNvPr id="46" name="Picture 37">
            <a:extLst>
              <a:ext uri="{FF2B5EF4-FFF2-40B4-BE49-F238E27FC236}">
                <a16:creationId xmlns:a16="http://schemas.microsoft.com/office/drawing/2014/main" id="{5E2BD54F-E552-462B-851D-CBD8966C8A2A}"/>
              </a:ext>
            </a:extLst>
          </p:cNvPr>
          <p:cNvPicPr>
            <a:picLocks noChangeAspect="1"/>
          </p:cNvPicPr>
          <p:nvPr/>
        </p:nvPicPr>
        <p:blipFill rotWithShape="1">
          <a:blip r:embed="rId35"/>
          <a:srcRect l="18748" r="19077"/>
          <a:stretch/>
        </p:blipFill>
        <p:spPr>
          <a:xfrm>
            <a:off x="5082744" y="2908952"/>
            <a:ext cx="568661" cy="914609"/>
          </a:xfrm>
          <a:prstGeom prst="rect">
            <a:avLst/>
          </a:prstGeom>
        </p:spPr>
      </p:pic>
      <p:pic>
        <p:nvPicPr>
          <p:cNvPr id="47" name="Picture 38">
            <a:extLst>
              <a:ext uri="{FF2B5EF4-FFF2-40B4-BE49-F238E27FC236}">
                <a16:creationId xmlns:a16="http://schemas.microsoft.com/office/drawing/2014/main" id="{C33F5FAD-AD61-487F-88C5-4262AFE53921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2964154" y="1880333"/>
            <a:ext cx="590318" cy="894194"/>
          </a:xfrm>
          <a:prstGeom prst="rect">
            <a:avLst/>
          </a:prstGeom>
        </p:spPr>
      </p:pic>
      <p:pic>
        <p:nvPicPr>
          <p:cNvPr id="48" name="Picture 39">
            <a:extLst>
              <a:ext uri="{FF2B5EF4-FFF2-40B4-BE49-F238E27FC236}">
                <a16:creationId xmlns:a16="http://schemas.microsoft.com/office/drawing/2014/main" id="{5B415AFB-3643-44BC-B77C-631E2D59464D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5708387" y="2922219"/>
            <a:ext cx="899025" cy="899025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5458B689-2FF9-48FE-954D-284ED285550D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3604894" y="1867971"/>
            <a:ext cx="590318" cy="904487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E6C5C227-B4D4-42B4-93D0-78A5B5BB18D6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4225817" y="1867970"/>
            <a:ext cx="636695" cy="901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8225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3" name="think-cell data - do not delete" hidden="1">
            <a:extLst>
              <a:ext uri="{FF2B5EF4-FFF2-40B4-BE49-F238E27FC236}">
                <a16:creationId xmlns:a16="http://schemas.microsoft.com/office/drawing/2014/main" id="{4C4C064D-5EB7-4345-AD39-BE96EFB726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9919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4" imgW="404" imgH="405" progId="TCLayout.ActiveDocument.1">
                  <p:embed/>
                </p:oleObj>
              </mc:Choice>
              <mc:Fallback>
                <p:oleObj name="think-cell Folie" r:id="rId44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23;p32">
            <a:extLst>
              <a:ext uri="{FF2B5EF4-FFF2-40B4-BE49-F238E27FC236}">
                <a16:creationId xmlns:a16="http://schemas.microsoft.com/office/drawing/2014/main" id="{B855D884-7FE5-438D-816C-C8863676789B}"/>
              </a:ext>
            </a:extLst>
          </p:cNvPr>
          <p:cNvSpPr txBox="1">
            <a:spLocks/>
          </p:cNvSpPr>
          <p:nvPr/>
        </p:nvSpPr>
        <p:spPr>
          <a:xfrm>
            <a:off x="0" y="-1"/>
            <a:ext cx="9143999" cy="1171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indent="0" algn="ctr">
              <a:buFont typeface="Titillium Web"/>
              <a:buNone/>
            </a:pPr>
            <a:r>
              <a:rPr lang="en-US" sz="3200" b="1" dirty="0">
                <a:solidFill>
                  <a:schemeClr val="tx1"/>
                </a:solidFill>
                <a:latin typeface="Titillium Web" panose="00000500000000000000" pitchFamily="2" charset="0"/>
              </a:rPr>
              <a:t>Core reasons for start-up failure: market, team, distractions and bad luck</a:t>
            </a:r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DE2D58D2-A6E6-42B0-81B1-3C5A4C6C1C85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46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sp>
        <p:nvSpPr>
          <p:cNvPr id="71" name="Titel 3">
            <a:extLst>
              <a:ext uri="{FF2B5EF4-FFF2-40B4-BE49-F238E27FC236}">
                <a16:creationId xmlns:a16="http://schemas.microsoft.com/office/drawing/2014/main" id="{20212B4F-62FF-49CE-8897-20F2504B9252}"/>
              </a:ext>
            </a:extLst>
          </p:cNvPr>
          <p:cNvSpPr txBox="1">
            <a:spLocks/>
          </p:cNvSpPr>
          <p:nvPr/>
        </p:nvSpPr>
        <p:spPr>
          <a:xfrm>
            <a:off x="273207" y="147233"/>
            <a:ext cx="6874877" cy="463786"/>
          </a:xfrm>
          <a:prstGeom prst="rect">
            <a:avLst/>
          </a:prstGeom>
        </p:spPr>
        <p:txBody>
          <a:bodyPr vert="horz" lIns="81619" tIns="40809" rIns="81619" bIns="40809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None/>
            </a:pPr>
            <a:endParaRPr lang="de-DE" sz="1875" dirty="0">
              <a:solidFill>
                <a:srgbClr val="4C4C4C"/>
              </a:solidFill>
              <a:latin typeface="Titillium Web" panose="00000500000000000000" pitchFamily="2" charset="0"/>
              <a:ea typeface="+mn-ea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637DEBA-A62B-4180-8B95-0A3499580FA4}"/>
              </a:ext>
            </a:extLst>
          </p:cNvPr>
          <p:cNvSpPr/>
          <p:nvPr/>
        </p:nvSpPr>
        <p:spPr>
          <a:xfrm>
            <a:off x="7806480" y="4267200"/>
            <a:ext cx="67678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16159">
              <a:buClrTx/>
            </a:pPr>
            <a:r>
              <a:rPr lang="de-DE" sz="900" kern="1200" dirty="0" err="1">
                <a:solidFill>
                  <a:srgbClr val="4B4B4B"/>
                </a:solidFill>
                <a:latin typeface="Titillium Web" panose="00000500000000000000" pitchFamily="2" charset="0"/>
                <a:ea typeface="+mn-ea"/>
                <a:cs typeface="Calibri Light" panose="020F0302020204030204" pitchFamily="34" charset="0"/>
              </a:rPr>
              <a:t>cbinsights</a:t>
            </a:r>
            <a:endParaRPr lang="de-DE" sz="900" kern="1200" dirty="0">
              <a:solidFill>
                <a:srgbClr val="4B4B4B"/>
              </a:solidFill>
              <a:latin typeface="Titillium Web" panose="00000500000000000000" pitchFamily="2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6873489-33B7-4E7E-8A04-6990B5A1D9D1}"/>
              </a:ext>
            </a:extLst>
          </p:cNvPr>
          <p:cNvSpPr/>
          <p:nvPr/>
        </p:nvSpPr>
        <p:spPr>
          <a:xfrm>
            <a:off x="684468" y="1916113"/>
            <a:ext cx="702078" cy="361950"/>
          </a:xfrm>
          <a:prstGeom prst="rect">
            <a:avLst/>
          </a:prstGeom>
          <a:solidFill>
            <a:srgbClr val="0097A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159">
              <a:buClrTx/>
            </a:pPr>
            <a:r>
              <a:rPr lang="de-DE" sz="1050" kern="1200" dirty="0">
                <a:solidFill>
                  <a:srgbClr val="FFFFFF"/>
                </a:solidFill>
                <a:latin typeface="Titillium Web" panose="00000500000000000000" pitchFamily="2" charset="0"/>
              </a:rPr>
              <a:t>Market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074B6B73-C122-4241-989C-95F3E6DB5695}"/>
              </a:ext>
            </a:extLst>
          </p:cNvPr>
          <p:cNvSpPr/>
          <p:nvPr/>
        </p:nvSpPr>
        <p:spPr>
          <a:xfrm>
            <a:off x="684468" y="2465388"/>
            <a:ext cx="702078" cy="360363"/>
          </a:xfrm>
          <a:prstGeom prst="rect">
            <a:avLst/>
          </a:prstGeom>
          <a:solidFill>
            <a:srgbClr val="B6CA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159">
              <a:buClrTx/>
            </a:pPr>
            <a:r>
              <a:rPr lang="de-DE" sz="1050" kern="1200" dirty="0">
                <a:solidFill>
                  <a:schemeClr val="tx1"/>
                </a:solidFill>
                <a:latin typeface="Titillium Web" panose="00000500000000000000" pitchFamily="2" charset="0"/>
              </a:rPr>
              <a:t>Team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3A120027-EBDD-4052-9301-2D7F6FCDDE12}"/>
              </a:ext>
            </a:extLst>
          </p:cNvPr>
          <p:cNvSpPr/>
          <p:nvPr/>
        </p:nvSpPr>
        <p:spPr>
          <a:xfrm>
            <a:off x="684468" y="3013075"/>
            <a:ext cx="702078" cy="361950"/>
          </a:xfrm>
          <a:prstGeom prst="rect">
            <a:avLst/>
          </a:prstGeom>
          <a:solidFill>
            <a:srgbClr val="36338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816159">
              <a:buClrTx/>
            </a:pPr>
            <a:r>
              <a:rPr lang="de-DE" sz="1050" kern="1200" dirty="0" err="1">
                <a:solidFill>
                  <a:srgbClr val="FFFFFF"/>
                </a:solidFill>
                <a:latin typeface="Titillium Web" panose="00000500000000000000" pitchFamily="2" charset="0"/>
              </a:rPr>
              <a:t>Distractions</a:t>
            </a:r>
            <a:endParaRPr lang="de-DE" sz="1050" kern="1200" dirty="0">
              <a:solidFill>
                <a:srgbClr val="FFFFFF"/>
              </a:solidFill>
              <a:latin typeface="Titillium Web" panose="00000500000000000000" pitchFamily="2" charset="0"/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5FCDD23C-0F8F-4988-8A99-B6B17D4FED07}"/>
              </a:ext>
            </a:extLst>
          </p:cNvPr>
          <p:cNvSpPr/>
          <p:nvPr/>
        </p:nvSpPr>
        <p:spPr>
          <a:xfrm>
            <a:off x="684468" y="3562350"/>
            <a:ext cx="702078" cy="360363"/>
          </a:xfrm>
          <a:prstGeom prst="rect">
            <a:avLst/>
          </a:prstGeom>
          <a:solidFill>
            <a:srgbClr val="8080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159">
              <a:buClrTx/>
            </a:pPr>
            <a:r>
              <a:rPr lang="de-DE" sz="1050" kern="1200" dirty="0">
                <a:solidFill>
                  <a:srgbClr val="FFFFFF"/>
                </a:solidFill>
                <a:latin typeface="Titillium Web" panose="00000500000000000000" pitchFamily="2" charset="0"/>
              </a:rPr>
              <a:t>Other</a:t>
            </a:r>
          </a:p>
        </p:txBody>
      </p:sp>
      <p:graphicFrame>
        <p:nvGraphicFramePr>
          <p:cNvPr id="150" name="Chart 3">
            <a:extLst>
              <a:ext uri="{FF2B5EF4-FFF2-40B4-BE49-F238E27FC236}">
                <a16:creationId xmlns:a16="http://schemas.microsoft.com/office/drawing/2014/main" id="{77418C19-A959-4D2F-94B4-3E5BB4C3739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5631126"/>
              </p:ext>
            </p:extLst>
          </p:nvPr>
        </p:nvGraphicFramePr>
        <p:xfrm>
          <a:off x="3198813" y="1131888"/>
          <a:ext cx="5451475" cy="3781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78" name="Textplatzhalter 2">
            <a:extLst>
              <a:ext uri="{FF2B5EF4-FFF2-40B4-BE49-F238E27FC236}">
                <a16:creationId xmlns:a16="http://schemas.microsoft.com/office/drawing/2014/main" id="{DA23D1D3-FF3C-42AA-931F-78E3F531C68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093913" y="1225550"/>
            <a:ext cx="1098550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754D1631-A2BE-40CC-9A88-11F4D4586DF7}" type="datetime'''''L''''ack'' o''f'' ma''''''r''''''''ket'''' ''''n''''eed'''">
              <a:rPr lang="de-DE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Lack of market need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79" name="Textplatzhalter 2">
            <a:extLst>
              <a:ext uri="{FF2B5EF4-FFF2-40B4-BE49-F238E27FC236}">
                <a16:creationId xmlns:a16="http://schemas.microsoft.com/office/drawing/2014/main" id="{0FEF9FB7-DD80-4EE3-A9E6-9277644E313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970463" y="1406525"/>
            <a:ext cx="269875" cy="160338"/>
          </a:xfrm>
          <a:prstGeom prst="rect">
            <a:avLst/>
          </a:prstGeom>
          <a:solidFill>
            <a:srgbClr val="808080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69CCFECA-4AE1-4391-9445-D59A92D69787}" type="datetime'''''''''''''''''2''''''''''''''''9''''''''''''''%'''''''''">
              <a:rPr lang="de-DE" altLang="en-US" sz="1050" smtClean="0">
                <a:solidFill>
                  <a:srgbClr val="FFFFFF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29%</a:t>
            </a:fld>
            <a:endParaRPr lang="de-DE" sz="1050" dirty="0">
              <a:solidFill>
                <a:srgbClr val="FFFFFF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80" name="Textplatzhalter 2">
            <a:extLst>
              <a:ext uri="{FF2B5EF4-FFF2-40B4-BE49-F238E27FC236}">
                <a16:creationId xmlns:a16="http://schemas.microsoft.com/office/drawing/2014/main" id="{F69044BA-71A6-4FAD-9E8C-E85FD6C4D11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220913" y="1406525"/>
            <a:ext cx="971550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E54CEA89-1913-4E26-8358-F6DCD3546F39}" type="datetime'R''''''u''''n out'''' of'' ''''m''''''on''''''''e''''''y'">
              <a:rPr lang="de-DE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Run out of money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81" name="Textplatzhalter 2">
            <a:extLst>
              <a:ext uri="{FF2B5EF4-FFF2-40B4-BE49-F238E27FC236}">
                <a16:creationId xmlns:a16="http://schemas.microsoft.com/office/drawing/2014/main" id="{E5703575-A507-440D-A9B5-EF4B26833E6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592638" y="1587500"/>
            <a:ext cx="269875" cy="160338"/>
          </a:xfrm>
          <a:prstGeom prst="rect">
            <a:avLst/>
          </a:prstGeom>
          <a:solidFill>
            <a:srgbClr val="B6CA00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F446D006-E1C2-416C-8ECA-C60EEBC4EF72}" type="datetime'''2''3%'''''''''''">
              <a:rPr lang="de-DE" altLang="en-US" sz="1050" smtClean="0">
                <a:solidFill>
                  <a:schemeClr val="tx1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23%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82" name="Textplatzhalter 2">
            <a:extLst>
              <a:ext uri="{FF2B5EF4-FFF2-40B4-BE49-F238E27FC236}">
                <a16:creationId xmlns:a16="http://schemas.microsoft.com/office/drawing/2014/main" id="{60451234-2764-457C-9562-25B30BAA087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185988" y="1587500"/>
            <a:ext cx="1006475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761441A4-AF69-423F-8E04-EA6729EAECF7}" type="datetime'''''''''''No''''t t''h''''e r''i''''g''ht'''' t''''e''''am'''">
              <a:rPr lang="de-DE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Not the right team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83" name="Textplatzhalter 2">
            <a:extLst>
              <a:ext uri="{FF2B5EF4-FFF2-40B4-BE49-F238E27FC236}">
                <a16:creationId xmlns:a16="http://schemas.microsoft.com/office/drawing/2014/main" id="{9A3A5449-2E86-4782-BBEA-9321E25FAFE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341813" y="1768475"/>
            <a:ext cx="269875" cy="160338"/>
          </a:xfrm>
          <a:prstGeom prst="rect">
            <a:avLst/>
          </a:prstGeom>
          <a:solidFill>
            <a:srgbClr val="808080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F56E3D2A-47D6-4EDD-81BA-B69DE67CB8C5}" type="datetime'''''''''''''1''''''''''''''''''''''''''''''9''''%'''''''''">
              <a:rPr lang="de-DE" altLang="en-US" sz="1050" smtClean="0">
                <a:solidFill>
                  <a:srgbClr val="FFFFFF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19%</a:t>
            </a:fld>
            <a:endParaRPr lang="de-DE" sz="1050" dirty="0">
              <a:solidFill>
                <a:srgbClr val="FFFFFF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950DC4C4-C42E-4C93-ADDC-618078744CB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893888" y="1768475"/>
            <a:ext cx="1298575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5EC06DA0-3A99-4105-99B2-CE64F5DF55C6}" type="datetime'''K''n''o''c''''ke''d'''' out ''''of th''''e fi''''''eld'''''">
              <a:rPr lang="en-US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Knocked out of the field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02037169-6B6A-43E6-98C1-4AD33971874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278313" y="1949450"/>
            <a:ext cx="269875" cy="160338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17C03D23-81C0-40AF-98EC-A7D5F4ED4F96}" type="datetime'''''1''''''''''''''8''''''''''''''%'">
              <a:rPr lang="de-DE" altLang="en-US" sz="1050" smtClean="0">
                <a:solidFill>
                  <a:srgbClr val="FFFFFF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18%</a:t>
            </a:fld>
            <a:endParaRPr lang="de-DE" sz="1050" dirty="0">
              <a:solidFill>
                <a:srgbClr val="FFFFFF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78C07E0C-C0E9-4EB0-A15A-B3BB9E72567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985963" y="1949450"/>
            <a:ext cx="1206500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842CC58F-9FD3-4301-8743-9C8B6C45E1D8}" type="datetime'P''''ric''''ing ''a''nd ''''co''''''''''s''t ''i''ssues'''''''">
              <a:rPr lang="de-DE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Pricing and cost issues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87" name="Textplatzhalter 2">
            <a:extLst>
              <a:ext uri="{FF2B5EF4-FFF2-40B4-BE49-F238E27FC236}">
                <a16:creationId xmlns:a16="http://schemas.microsoft.com/office/drawing/2014/main" id="{A261F94F-0432-43B6-A115-3801CDCE685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216400" y="2128838"/>
            <a:ext cx="269875" cy="160338"/>
          </a:xfrm>
          <a:prstGeom prst="rect">
            <a:avLst/>
          </a:prstGeom>
          <a:solidFill>
            <a:srgbClr val="007770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702B163E-4B39-4750-9F74-6EFCFDD64E2A}" type="datetime'''17''''''''''''%'''''">
              <a:rPr lang="de-DE" altLang="en-US" sz="1050" smtClean="0">
                <a:solidFill>
                  <a:srgbClr val="FFFFFF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17%</a:t>
            </a:fld>
            <a:endParaRPr lang="de-DE" sz="1050" dirty="0">
              <a:solidFill>
                <a:srgbClr val="FFFFFF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C9161CC3-0555-4DB3-A518-027D1A79293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146300" y="2128838"/>
            <a:ext cx="1046163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31F65674-39A3-4B81-8573-7D0B0C0A357B}" type="datetime'Ba''d'' ''''/ Un''''fi''t ''''p''r''''od''''uc''''''t'">
              <a:rPr lang="de-DE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Bad / Unfit product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89" name="Textplatzhalter 2">
            <a:extLst>
              <a:ext uri="{FF2B5EF4-FFF2-40B4-BE49-F238E27FC236}">
                <a16:creationId xmlns:a16="http://schemas.microsoft.com/office/drawing/2014/main" id="{EF12C32A-F2D1-4873-955D-FEA4564B376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216400" y="2309813"/>
            <a:ext cx="269875" cy="160338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D5E80C2B-6D43-4190-ADD5-562DFA7EF5F4}" type="datetime'''''''''''''''''''''''''''1''''''''''''7''%'''''''">
              <a:rPr lang="de-DE" altLang="en-US" sz="1050" smtClean="0">
                <a:solidFill>
                  <a:srgbClr val="FFFFFF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17%</a:t>
            </a:fld>
            <a:endParaRPr lang="de-DE" sz="1050" dirty="0">
              <a:solidFill>
                <a:srgbClr val="FFFFFF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90" name="Textplatzhalter 2">
            <a:extLst>
              <a:ext uri="{FF2B5EF4-FFF2-40B4-BE49-F238E27FC236}">
                <a16:creationId xmlns:a16="http://schemas.microsoft.com/office/drawing/2014/main" id="{769896D8-9CCB-4851-9712-AC7F54FC4FD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947863" y="2309813"/>
            <a:ext cx="1244600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6DD7EA55-7850-4FCC-BC74-A7AA826A1E8A}" type="datetime'La''''c''k ''of'''' ''''''''bu''s''ines''s ''''mo''d''e''l'''">
              <a:rPr lang="de-DE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Lack of business model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827A3C1A-2F3D-432D-8226-FDDDEDA1168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027488" y="2490788"/>
            <a:ext cx="269875" cy="160338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7E6F7D16-445E-430F-B0B8-F480E328EF6E}" type="datetime'''1''''''''''''4''''''''%'''''''''''''''''''''''''''''''''">
              <a:rPr lang="de-DE" altLang="en-US" sz="1050" smtClean="0">
                <a:solidFill>
                  <a:srgbClr val="FFFFFF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14%</a:t>
            </a:fld>
            <a:endParaRPr lang="de-DE" sz="1050" dirty="0">
              <a:solidFill>
                <a:srgbClr val="FFFFFF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92" name="Textplatzhalter 2">
            <a:extLst>
              <a:ext uri="{FF2B5EF4-FFF2-40B4-BE49-F238E27FC236}">
                <a16:creationId xmlns:a16="http://schemas.microsoft.com/office/drawing/2014/main" id="{C704A805-A4A9-49CE-94AE-15820A0346D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357438" y="2490788"/>
            <a:ext cx="835025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D3C921D2-DCD0-45E3-BC8F-1602AC27BE01}" type="datetime'P''''o''''o''''r'''''''' ''m''''''''''a''''rk''et''in''''g'">
              <a:rPr lang="de-DE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Poor marketing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93" name="Textplatzhalter 2">
            <a:extLst>
              <a:ext uri="{FF2B5EF4-FFF2-40B4-BE49-F238E27FC236}">
                <a16:creationId xmlns:a16="http://schemas.microsoft.com/office/drawing/2014/main" id="{4C0AB81E-328B-40D5-869C-7747A5FF29C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027488" y="2671763"/>
            <a:ext cx="269875" cy="160338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52E69E22-CEA0-4784-9324-D108E305EAF5}" type="datetime'''''''''1''''''''''4''''''''''%'''''">
              <a:rPr lang="de-DE" altLang="en-US" sz="1050" smtClean="0">
                <a:solidFill>
                  <a:srgbClr val="FFFFFF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14%</a:t>
            </a:fld>
            <a:endParaRPr lang="de-DE" sz="1050" dirty="0">
              <a:solidFill>
                <a:srgbClr val="FFFFFF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94" name="Textplatzhalter 2">
            <a:extLst>
              <a:ext uri="{FF2B5EF4-FFF2-40B4-BE49-F238E27FC236}">
                <a16:creationId xmlns:a16="http://schemas.microsoft.com/office/drawing/2014/main" id="{B039272F-AAD9-44AC-AE0F-CFE88969859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178050" y="2671763"/>
            <a:ext cx="1014413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8725F366-6BE8-4086-9DBC-5469CCC1F140}" type="datetime'I''''''''''''''gn''''''''o''''red'''' c''''''us''''t''omer''s'">
              <a:rPr lang="de-DE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Ignored customers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95" name="Textplatzhalter 2">
            <a:extLst>
              <a:ext uri="{FF2B5EF4-FFF2-40B4-BE49-F238E27FC236}">
                <a16:creationId xmlns:a16="http://schemas.microsoft.com/office/drawing/2014/main" id="{58CE684B-01D0-42BC-9B5B-357F40D7A1F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63988" y="2852738"/>
            <a:ext cx="269875" cy="160338"/>
          </a:xfrm>
          <a:prstGeom prst="rect">
            <a:avLst/>
          </a:prstGeom>
          <a:solidFill>
            <a:schemeClr val="hlink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93F06763-A8DC-4F3D-99A6-05088BF323E2}" type="datetime'1''''''''''''''''''3''''''''''''''''''''''''''''''%'''">
              <a:rPr lang="de-DE" altLang="en-US" sz="1050" smtClean="0">
                <a:solidFill>
                  <a:srgbClr val="FFFFFF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13%</a:t>
            </a:fld>
            <a:endParaRPr lang="de-DE" sz="1050" dirty="0">
              <a:solidFill>
                <a:srgbClr val="FFFFFF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96" name="Textplatzhalter 2">
            <a:extLst>
              <a:ext uri="{FF2B5EF4-FFF2-40B4-BE49-F238E27FC236}">
                <a16:creationId xmlns:a16="http://schemas.microsoft.com/office/drawing/2014/main" id="{5C1A0C1D-2C19-44F6-B53F-48207887F05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716088" y="2852738"/>
            <a:ext cx="1476375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D72EB3A8-E04A-419B-92A4-D80D72C49E0E}" type="datetime'P''o''''o''''r'' ''produc''t la''u''''n''c''''h ''timing'">
              <a:rPr lang="de-DE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Poor product launch timing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97" name="Textplatzhalter 2">
            <a:extLst>
              <a:ext uri="{FF2B5EF4-FFF2-40B4-BE49-F238E27FC236}">
                <a16:creationId xmlns:a16="http://schemas.microsoft.com/office/drawing/2014/main" id="{29AC0372-68B0-44D0-B75F-72406D03579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789613" y="1225550"/>
            <a:ext cx="269875" cy="160338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F40C0BEE-6DEC-4191-9D51-67D7AFDCCEB6}" type="datetime'''''''''''''''''''4''''''''''''''''2''%'''''">
              <a:rPr lang="de-DE" altLang="en-US" sz="1050" smtClean="0">
                <a:solidFill>
                  <a:srgbClr val="FFFFFF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42%</a:t>
            </a:fld>
            <a:endParaRPr lang="de-DE" sz="1050" dirty="0">
              <a:solidFill>
                <a:srgbClr val="FFFFFF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706DD62C-B0C1-49CE-A3F6-245B3BBCB06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619375" y="3033713"/>
            <a:ext cx="573088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7504B408-AD51-4803-9382-04A9E8FCDD49}" type="datetime'''L''os''''''t'''' ''''f''''o''''''''c''us'''''''''''''' '''''">
              <a:rPr lang="de-DE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Lost focus 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99" name="Textplatzhalter 2">
            <a:extLst>
              <a:ext uri="{FF2B5EF4-FFF2-40B4-BE49-F238E27FC236}">
                <a16:creationId xmlns:a16="http://schemas.microsoft.com/office/drawing/2014/main" id="{64BD97DF-D2A7-4E2D-98E6-508180E2D48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963988" y="3214688"/>
            <a:ext cx="269875" cy="160338"/>
          </a:xfrm>
          <a:prstGeom prst="rect">
            <a:avLst/>
          </a:prstGeom>
          <a:solidFill>
            <a:srgbClr val="B6CA00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3C0E83D7-8587-44CE-B33D-B88E8C1A8D52}" type="datetime'''''''''''''''''''''''''''13''''''''''''''''''''''''%'''''''''">
              <a:rPr lang="de-DE" altLang="en-US" sz="1050" smtClean="0">
                <a:solidFill>
                  <a:schemeClr val="tx1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13%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100" name="Textplatzhalter 2">
            <a:extLst>
              <a:ext uri="{FF2B5EF4-FFF2-40B4-BE49-F238E27FC236}">
                <a16:creationId xmlns:a16="http://schemas.microsoft.com/office/drawing/2014/main" id="{B607BA07-17E4-4C76-927E-90BE3234174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851025" y="3214688"/>
            <a:ext cx="1341438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4DC890FB-964D-4A50-A83F-785467EC353B}" type="datetime'''''Tea''m / ''I''n''v''es''''to''r'' t''ension''''s'''''''''">
              <a:rPr lang="de-DE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Team / Investor tensions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101" name="Textplatzhalter 2">
            <a:extLst>
              <a:ext uri="{FF2B5EF4-FFF2-40B4-BE49-F238E27FC236}">
                <a16:creationId xmlns:a16="http://schemas.microsoft.com/office/drawing/2014/main" id="{CAEB0A81-5679-4BAE-8C7F-542C4DAB6BA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775075" y="3395663"/>
            <a:ext cx="269875" cy="160338"/>
          </a:xfrm>
          <a:prstGeom prst="rect">
            <a:avLst/>
          </a:prstGeom>
          <a:solidFill>
            <a:schemeClr val="hlink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F2E2B52E-A8DE-402B-A0CB-4B82F30D6AD3}" type="datetime'''''''1''''''''''''''''''''''''''''''''''''''''''0''''%'">
              <a:rPr lang="de-DE" altLang="en-US" sz="1050" smtClean="0">
                <a:solidFill>
                  <a:srgbClr val="FFFFFF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10%</a:t>
            </a:fld>
            <a:endParaRPr lang="de-DE" sz="1050" dirty="0">
              <a:solidFill>
                <a:srgbClr val="FFFFFF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102" name="Textplatzhalter 2">
            <a:extLst>
              <a:ext uri="{FF2B5EF4-FFF2-40B4-BE49-F238E27FC236}">
                <a16:creationId xmlns:a16="http://schemas.microsoft.com/office/drawing/2014/main" id="{3D1A5789-5759-4CA6-B2C6-15F98C86F72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682875" y="3395663"/>
            <a:ext cx="509588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F7714DD6-A2CD-4011-8D62-B12F9C34C2E4}" type="datetime'''''''''''''''''''''Ba''''''''d'''''' ''P''i''''vo''t'''''''''">
              <a:rPr lang="de-DE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Bad Pivot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103" name="Textplatzhalter 2">
            <a:extLst>
              <a:ext uri="{FF2B5EF4-FFF2-40B4-BE49-F238E27FC236}">
                <a16:creationId xmlns:a16="http://schemas.microsoft.com/office/drawing/2014/main" id="{F4C6A740-7161-4920-8B34-FB3EE7CA2FB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746500" y="3576638"/>
            <a:ext cx="201613" cy="160338"/>
          </a:xfrm>
          <a:prstGeom prst="rect">
            <a:avLst/>
          </a:prstGeom>
          <a:solidFill>
            <a:srgbClr val="B6CA00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B19FAB70-A65C-4F38-92DD-0926E488B705}" type="datetime'9''''''%'''''''''''''''''''''''''''''''''''''''''''''''''">
              <a:rPr lang="de-DE" altLang="en-US" sz="1050" smtClean="0">
                <a:solidFill>
                  <a:schemeClr val="tx1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9%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104" name="Textplatzhalter 2">
            <a:extLst>
              <a:ext uri="{FF2B5EF4-FFF2-40B4-BE49-F238E27FC236}">
                <a16:creationId xmlns:a16="http://schemas.microsoft.com/office/drawing/2014/main" id="{2DA22C29-208C-4F38-9181-26FFD3947E7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376488" y="3576638"/>
            <a:ext cx="815975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025173CF-C3F4-46F8-B9B5-0CFCF6AD9D49}" type="datetime'''L''ac''''k'''''''''' ''o''f'' ''''''pas''''s''''i''''on'''''">
              <a:rPr lang="de-DE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Lack of passion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105" name="Textplatzhalter 2">
            <a:extLst>
              <a:ext uri="{FF2B5EF4-FFF2-40B4-BE49-F238E27FC236}">
                <a16:creationId xmlns:a16="http://schemas.microsoft.com/office/drawing/2014/main" id="{DF0A0884-0F24-476F-B4FD-1A9C2F2CA6A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746500" y="3757613"/>
            <a:ext cx="201613" cy="160338"/>
          </a:xfrm>
          <a:prstGeom prst="rect">
            <a:avLst/>
          </a:prstGeom>
          <a:solidFill>
            <a:srgbClr val="808080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DDC96732-BB65-431A-AC67-615CF966D60B}" type="datetime'''''''''''9''''''''''''''''''''''''''''''%'''''''''''''''''''">
              <a:rPr lang="de-DE" altLang="en-US" sz="1050" smtClean="0">
                <a:solidFill>
                  <a:srgbClr val="FFFFFF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9%</a:t>
            </a:fld>
            <a:endParaRPr lang="de-DE" sz="1050" dirty="0">
              <a:solidFill>
                <a:srgbClr val="FFFFFF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106" name="Textplatzhalter 2">
            <a:extLst>
              <a:ext uri="{FF2B5EF4-FFF2-40B4-BE49-F238E27FC236}">
                <a16:creationId xmlns:a16="http://schemas.microsoft.com/office/drawing/2014/main" id="{90DAA18D-B595-4412-B376-1F83C747EA1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520950" y="3757613"/>
            <a:ext cx="671513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C7AA327B-B94F-4CAA-BA49-507FA31D9E69}" type="datetime'B''''''''''a''''''d ''''l''''''o''c''''''''a''''tion'''''''''">
              <a:rPr lang="de-DE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Bad location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107" name="Textplatzhalter 2">
            <a:extLst>
              <a:ext uri="{FF2B5EF4-FFF2-40B4-BE49-F238E27FC236}">
                <a16:creationId xmlns:a16="http://schemas.microsoft.com/office/drawing/2014/main" id="{981E07B8-50EA-42F2-9E26-5860401A6980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684588" y="3937000"/>
            <a:ext cx="201613" cy="160338"/>
          </a:xfrm>
          <a:prstGeom prst="rect">
            <a:avLst/>
          </a:prstGeom>
          <a:solidFill>
            <a:srgbClr val="808080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31A757C1-8052-4AF0-BCBC-24127032849C}" type="datetime'''8''''''''''''''''''''''''''''''%'''''''''''''''''">
              <a:rPr lang="de-DE" altLang="en-US" sz="1050" smtClean="0">
                <a:solidFill>
                  <a:srgbClr val="FFFFFF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8%</a:t>
            </a:fld>
            <a:endParaRPr lang="de-DE" sz="1050" dirty="0">
              <a:solidFill>
                <a:srgbClr val="FFFFFF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108" name="Textplatzhalter 2">
            <a:extLst>
              <a:ext uri="{FF2B5EF4-FFF2-40B4-BE49-F238E27FC236}">
                <a16:creationId xmlns:a16="http://schemas.microsoft.com/office/drawing/2014/main" id="{12947BA2-F860-4B95-B8B9-F8CF15F3FC5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289175" y="3937000"/>
            <a:ext cx="903288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2C73D20F-52A9-42E1-9346-046E7B85EC99}" type="datetime'L''ac''k ''of f''i''n''''''''an''''''''c''in''''g'''''">
              <a:rPr lang="de-DE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Lack of financing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109" name="Textplatzhalter 2">
            <a:extLst>
              <a:ext uri="{FF2B5EF4-FFF2-40B4-BE49-F238E27FC236}">
                <a16:creationId xmlns:a16="http://schemas.microsoft.com/office/drawing/2014/main" id="{083F86ED-46C5-4A3E-B1FF-AE6817ED1D8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684588" y="4117975"/>
            <a:ext cx="201613" cy="160338"/>
          </a:xfrm>
          <a:prstGeom prst="rect">
            <a:avLst/>
          </a:prstGeom>
          <a:solidFill>
            <a:srgbClr val="808080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344EB2DB-7A0D-49BE-9A46-AB7981A28045}" type="datetime'''8%'''''''''''''''''''''''''''''''''''''''''''''''''''''">
              <a:rPr lang="de-DE" altLang="en-US" sz="1050" smtClean="0">
                <a:solidFill>
                  <a:srgbClr val="FFFFFF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8%</a:t>
            </a:fld>
            <a:endParaRPr lang="de-DE" sz="1050" dirty="0">
              <a:solidFill>
                <a:srgbClr val="FFFFFF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110" name="Textplatzhalter 2">
            <a:extLst>
              <a:ext uri="{FF2B5EF4-FFF2-40B4-BE49-F238E27FC236}">
                <a16:creationId xmlns:a16="http://schemas.microsoft.com/office/drawing/2014/main" id="{D229A435-CD55-413E-BBE9-47E6345CC8E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559050" y="4117975"/>
            <a:ext cx="633413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4C6B271F-D475-4637-A181-6D6BB67D8E6F}" type="datetime'''''Leg''''''''''''''''al'''''' is''''s''ue''s'''''">
              <a:rPr lang="de-DE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Legal issues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111" name="Textplatzhalter 2">
            <a:extLst>
              <a:ext uri="{FF2B5EF4-FFF2-40B4-BE49-F238E27FC236}">
                <a16:creationId xmlns:a16="http://schemas.microsoft.com/office/drawing/2014/main" id="{17231C98-9768-456F-9638-ACC3EBEFBB7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3684588" y="4298950"/>
            <a:ext cx="201613" cy="160338"/>
          </a:xfrm>
          <a:prstGeom prst="rect">
            <a:avLst/>
          </a:prstGeom>
          <a:solidFill>
            <a:srgbClr val="808080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4E806103-2EDB-4357-A7A7-52A6B0D54B0F}" type="datetime'''''''''''''8''''''''''''%'''''''''''">
              <a:rPr lang="de-DE" altLang="en-US" sz="1050" smtClean="0">
                <a:solidFill>
                  <a:srgbClr val="FFFFFF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8%</a:t>
            </a:fld>
            <a:endParaRPr lang="de-DE" sz="1050" dirty="0">
              <a:solidFill>
                <a:srgbClr val="FFFFFF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112" name="Textplatzhalter 2">
            <a:extLst>
              <a:ext uri="{FF2B5EF4-FFF2-40B4-BE49-F238E27FC236}">
                <a16:creationId xmlns:a16="http://schemas.microsoft.com/office/drawing/2014/main" id="{C0BEE91B-8DC3-4B83-BFE7-A1012B6EB87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860550" y="4298950"/>
            <a:ext cx="1331913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B65D2CC1-2030-4980-ABF2-3B29A8449430}" type="datetime'La''''''c''k'''' of'''' net''''wor''k a''''''''d''vis''er''s'">
              <a:rPr lang="de-DE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Lack of network advisers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113" name="Textplatzhalter 2">
            <a:extLst>
              <a:ext uri="{FF2B5EF4-FFF2-40B4-BE49-F238E27FC236}">
                <a16:creationId xmlns:a16="http://schemas.microsoft.com/office/drawing/2014/main" id="{682C7F7B-E4A2-4902-B743-3A01F7A89A22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3684588" y="4479925"/>
            <a:ext cx="201613" cy="160338"/>
          </a:xfrm>
          <a:prstGeom prst="rect">
            <a:avLst/>
          </a:prstGeom>
          <a:solidFill>
            <a:srgbClr val="B6CA00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4DE6C4C8-4172-45DD-90B4-751D5E8FE4AF}" type="datetime'''''8''''''''''''''''''''''''''''''''''''''''''%'''''''''">
              <a:rPr lang="de-DE" altLang="en-US" sz="1050" smtClean="0">
                <a:solidFill>
                  <a:schemeClr val="tx1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8%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114" name="Textplatzhalter 2">
            <a:extLst>
              <a:ext uri="{FF2B5EF4-FFF2-40B4-BE49-F238E27FC236}">
                <a16:creationId xmlns:a16="http://schemas.microsoft.com/office/drawing/2014/main" id="{C0F6CA04-AF9D-4F7C-8D34-2CE5CA1BBAB4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2749550" y="4479925"/>
            <a:ext cx="442913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9EB1F4F0-5779-4DC1-B5D0-B1F1BE96A630}" type="datetime'''''''''''''B''u''''''''''r''''''''''nou''''''''''''t'">
              <a:rPr lang="de-DE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Burnout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115" name="Textplatzhalter 2">
            <a:extLst>
              <a:ext uri="{FF2B5EF4-FFF2-40B4-BE49-F238E27FC236}">
                <a16:creationId xmlns:a16="http://schemas.microsoft.com/office/drawing/2014/main" id="{36EE2F1D-E6FE-4629-9F58-5039F635CA08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3621088" y="4660900"/>
            <a:ext cx="201613" cy="160338"/>
          </a:xfrm>
          <a:prstGeom prst="rect">
            <a:avLst/>
          </a:prstGeom>
          <a:solidFill>
            <a:schemeClr val="hlink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1C45E62D-ADB1-4C23-B9B6-66519B56FE50}" type="datetime'''''''''''''''''7''''''%'''''''''''''''''''''''">
              <a:rPr lang="de-DE" altLang="en-US" sz="1050" smtClean="0">
                <a:solidFill>
                  <a:srgbClr val="FFFFFF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7%</a:t>
            </a:fld>
            <a:endParaRPr lang="de-DE" sz="1050" dirty="0">
              <a:solidFill>
                <a:srgbClr val="FFFFFF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116" name="Textplatzhalter 2">
            <a:extLst>
              <a:ext uri="{FF2B5EF4-FFF2-40B4-BE49-F238E27FC236}">
                <a16:creationId xmlns:a16="http://schemas.microsoft.com/office/drawing/2014/main" id="{DC31B64A-DE4B-440F-AAB6-75187D063FF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2374900" y="4660900"/>
            <a:ext cx="817563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12046C7B-C539-44FB-8FC4-2227DC9E492C}" type="datetime'Fai''''''l''u''''''''''re'' t''o'' ''''p''i''''v''''o''t'">
              <a:rPr lang="de-DE" altLang="en-US" sz="1050" smtClean="0">
                <a:solidFill>
                  <a:schemeClr val="tx1"/>
                </a:solidFill>
                <a:latin typeface="Titillium Web" panose="00000500000000000000" pitchFamily="2" charset="0"/>
                <a:cs typeface="+mn-cs"/>
              </a:rPr>
              <a:pPr/>
              <a:t>Failure to pivot</a:t>
            </a:fld>
            <a:endParaRPr lang="de-DE" sz="1050" dirty="0">
              <a:solidFill>
                <a:schemeClr val="tx1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117" name="Textplatzhalter 2">
            <a:extLst>
              <a:ext uri="{FF2B5EF4-FFF2-40B4-BE49-F238E27FC236}">
                <a16:creationId xmlns:a16="http://schemas.microsoft.com/office/drawing/2014/main" id="{06AD61EB-E0A6-4D0D-86C7-0042B4A0DAF2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3963988" y="3033713"/>
            <a:ext cx="269875" cy="160338"/>
          </a:xfrm>
          <a:prstGeom prst="rect">
            <a:avLst/>
          </a:prstGeom>
          <a:solidFill>
            <a:schemeClr val="hlink"/>
          </a:solidFill>
        </p:spPr>
        <p:txBody>
          <a:bodyPr vert="horz" wrap="none" lIns="19046" tIns="0" rIns="19046" bIns="0" numCol="1" spcCol="0" rtlCol="0" anchor="ctr" anchorCtr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17">
              <a:spcBef>
                <a:spcPct val="0"/>
              </a:spcBef>
              <a:spcAft>
                <a:spcPct val="0"/>
              </a:spcAft>
              <a:buClr>
                <a:srgbClr val="0A73B4"/>
              </a:buClr>
              <a:buNone/>
            </a:pPr>
            <a:fld id="{81165177-9277-455A-BE85-AABB355B0282}" type="datetime'''''''1''''''''''''3''%'''''''''''''''''''''''''''''''''''">
              <a:rPr lang="de-DE" altLang="en-US" sz="1050" smtClean="0">
                <a:solidFill>
                  <a:srgbClr val="FFFFFF"/>
                </a:solidFill>
                <a:effectLst/>
                <a:latin typeface="Titillium Web" panose="00000500000000000000" pitchFamily="2" charset="0"/>
                <a:cs typeface="+mn-cs"/>
              </a:rPr>
              <a:pPr/>
              <a:t>13%</a:t>
            </a:fld>
            <a:endParaRPr lang="de-DE" sz="1050" dirty="0">
              <a:solidFill>
                <a:srgbClr val="FFFFFF"/>
              </a:solidFill>
              <a:latin typeface="Titillium Web" panose="00000500000000000000" pitchFamily="2" charset="0"/>
              <a:cs typeface="+mn-cs"/>
              <a:sym typeface="+mn-lt"/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057DD0E-C3FA-439E-89BB-4E6BD9737326}"/>
              </a:ext>
            </a:extLst>
          </p:cNvPr>
          <p:cNvSpPr/>
          <p:nvPr/>
        </p:nvSpPr>
        <p:spPr>
          <a:xfrm>
            <a:off x="2014535" y="1222375"/>
            <a:ext cx="6452884" cy="168275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159">
              <a:buClrTx/>
            </a:pPr>
            <a:endParaRPr lang="en-GB" sz="1575" kern="1200">
              <a:solidFill>
                <a:srgbClr val="FFFFFF"/>
              </a:solidFill>
              <a:latin typeface="Titillium Web" panose="00000500000000000000" pitchFamily="2" charset="0"/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7C0149-DA2A-4A29-8BCA-9B07B9AB15D8}"/>
              </a:ext>
            </a:extLst>
          </p:cNvPr>
          <p:cNvSpPr/>
          <p:nvPr/>
        </p:nvSpPr>
        <p:spPr>
          <a:xfrm>
            <a:off x="1927639" y="2276475"/>
            <a:ext cx="6539780" cy="204788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159">
              <a:buClrTx/>
            </a:pPr>
            <a:endParaRPr lang="en-GB" sz="1575" kern="1200">
              <a:solidFill>
                <a:srgbClr val="FFFFFF"/>
              </a:solidFill>
              <a:latin typeface="Titillium Web" panose="00000500000000000000" pitchFamily="2" charset="0"/>
            </a:endParaRPr>
          </a:p>
        </p:txBody>
      </p:sp>
      <p:pic>
        <p:nvPicPr>
          <p:cNvPr id="131" name="Grafik 130">
            <a:extLst>
              <a:ext uri="{FF2B5EF4-FFF2-40B4-BE49-F238E27FC236}">
                <a16:creationId xmlns:a16="http://schemas.microsoft.com/office/drawing/2014/main" id="{08C15A78-34CC-40A1-B3EC-7E2505C3786F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10012056" y="1222375"/>
            <a:ext cx="5563938" cy="3134352"/>
          </a:xfrm>
          <a:prstGeom prst="rect">
            <a:avLst/>
          </a:prstGeom>
        </p:spPr>
      </p:pic>
      <p:sp>
        <p:nvSpPr>
          <p:cNvPr id="151" name="Freeform 15">
            <a:extLst>
              <a:ext uri="{FF2B5EF4-FFF2-40B4-BE49-F238E27FC236}">
                <a16:creationId xmlns:a16="http://schemas.microsoft.com/office/drawing/2014/main" id="{902EF183-3A49-4F6C-8873-062EA052B979}"/>
              </a:ext>
            </a:extLst>
          </p:cNvPr>
          <p:cNvSpPr/>
          <p:nvPr/>
        </p:nvSpPr>
        <p:spPr>
          <a:xfrm rot="10591478">
            <a:off x="6083856" y="2165250"/>
            <a:ext cx="1244421" cy="1419920"/>
          </a:xfrm>
          <a:custGeom>
            <a:avLst/>
            <a:gdLst/>
            <a:ahLst/>
            <a:cxnLst/>
            <a:rect l="l" t="t" r="r" b="b"/>
            <a:pathLst>
              <a:path w="1879152" h="1879152">
                <a:moveTo>
                  <a:pt x="0" y="0"/>
                </a:moveTo>
                <a:lnTo>
                  <a:pt x="1879153" y="0"/>
                </a:lnTo>
                <a:lnTo>
                  <a:pt x="1879153" y="1879152"/>
                </a:lnTo>
                <a:lnTo>
                  <a:pt x="0" y="1879152"/>
                </a:lnTo>
                <a:lnTo>
                  <a:pt x="0" y="0"/>
                </a:lnTo>
                <a:close/>
              </a:path>
            </a:pathLst>
          </a:custGeom>
          <a:blipFill>
            <a:blip r:embed="rId49">
              <a:extLst>
                <a:ext uri="{96DAC541-7B7A-43D3-8B79-37D633B846F1}">
                  <asvg:svgBlip xmlns:asvg="http://schemas.microsoft.com/office/drawing/2016/SVG/main" r:embed="rId5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>
              <a:latin typeface="Titillium Web" panose="00000500000000000000" pitchFamily="2" charset="0"/>
            </a:endParaRPr>
          </a:p>
        </p:txBody>
      </p:sp>
      <p:sp>
        <p:nvSpPr>
          <p:cNvPr id="3" name="Freeform 7">
            <a:extLst>
              <a:ext uri="{FF2B5EF4-FFF2-40B4-BE49-F238E27FC236}">
                <a16:creationId xmlns:a16="http://schemas.microsoft.com/office/drawing/2014/main" id="{152A9D02-FCB0-9433-3136-F6BEFF6FCA3D}"/>
              </a:ext>
            </a:extLst>
          </p:cNvPr>
          <p:cNvSpPr/>
          <p:nvPr/>
        </p:nvSpPr>
        <p:spPr>
          <a:xfrm>
            <a:off x="6110909" y="460258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51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9390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23;p32">
            <a:extLst>
              <a:ext uri="{FF2B5EF4-FFF2-40B4-BE49-F238E27FC236}">
                <a16:creationId xmlns:a16="http://schemas.microsoft.com/office/drawing/2014/main" id="{B855D884-7FE5-438D-816C-C8863676789B}"/>
              </a:ext>
            </a:extLst>
          </p:cNvPr>
          <p:cNvSpPr txBox="1">
            <a:spLocks/>
          </p:cNvSpPr>
          <p:nvPr/>
        </p:nvSpPr>
        <p:spPr>
          <a:xfrm>
            <a:off x="0" y="-1"/>
            <a:ext cx="9143999" cy="1171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indent="0" algn="ctr">
              <a:buFont typeface="Titillium Web"/>
              <a:buNone/>
            </a:pPr>
            <a:r>
              <a:rPr lang="en-GB" sz="3200" b="1" dirty="0">
                <a:solidFill>
                  <a:schemeClr val="tx1"/>
                </a:solidFill>
                <a:latin typeface="Titillium Web" panose="00000500000000000000" pitchFamily="2" charset="0"/>
              </a:rPr>
              <a:t>Business model</a:t>
            </a:r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DE2D58D2-A6E6-42B0-81B1-3C5A4C6C1C85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059AA218-A8A0-4FC7-B921-FD0D4BBBDC5D}"/>
              </a:ext>
            </a:extLst>
          </p:cNvPr>
          <p:cNvSpPr txBox="1">
            <a:spLocks/>
          </p:cNvSpPr>
          <p:nvPr/>
        </p:nvSpPr>
        <p:spPr>
          <a:xfrm>
            <a:off x="395288" y="163748"/>
            <a:ext cx="7057032" cy="463786"/>
          </a:xfrm>
          <a:prstGeom prst="rect">
            <a:avLst/>
          </a:prstGeom>
        </p:spPr>
        <p:txBody>
          <a:bodyPr vert="horz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GB" dirty="0">
              <a:latin typeface="Titillium Web" panose="00000500000000000000" pitchFamily="2" charset="0"/>
            </a:endParaRPr>
          </a:p>
        </p:txBody>
      </p:sp>
      <p:sp>
        <p:nvSpPr>
          <p:cNvPr id="6" name="Content Placeholder">
            <a:extLst>
              <a:ext uri="{FF2B5EF4-FFF2-40B4-BE49-F238E27FC236}">
                <a16:creationId xmlns:a16="http://schemas.microsoft.com/office/drawing/2014/main" id="{CF95884A-2920-463E-A28B-52EE75136908}"/>
              </a:ext>
            </a:extLst>
          </p:cNvPr>
          <p:cNvSpPr txBox="1">
            <a:spLocks/>
          </p:cNvSpPr>
          <p:nvPr/>
        </p:nvSpPr>
        <p:spPr bwMode="gray">
          <a:xfrm>
            <a:off x="727968" y="1012054"/>
            <a:ext cx="8416031" cy="2784991"/>
          </a:xfrm>
          <a:prstGeom prst="rect">
            <a:avLst/>
          </a:prstGeom>
          <a:solidFill>
            <a:schemeClr val="accent2">
              <a:lumMod val="20000"/>
              <a:lumOff val="80000"/>
              <a:alpha val="35000"/>
            </a:schemeClr>
          </a:solidFill>
        </p:spPr>
        <p:txBody>
          <a:bodyPr lIns="323925" anchor="ctr" anchorCtr="0"/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63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3025" indent="-1809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rgbClr val="4C4C4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617">
              <a:spcBef>
                <a:spcPts val="0"/>
              </a:spcBef>
              <a:spcAft>
                <a:spcPts val="450"/>
              </a:spcAft>
              <a:buClr>
                <a:srgbClr val="0A73B4"/>
              </a:buClr>
              <a:buNone/>
            </a:pPr>
            <a:r>
              <a:rPr lang="de-DE" sz="2399" dirty="0">
                <a:solidFill>
                  <a:schemeClr val="tx1"/>
                </a:solidFill>
                <a:latin typeface="Titillium Web" panose="00000500000000000000" pitchFamily="2" charset="0"/>
              </a:rPr>
              <a:t>A </a:t>
            </a:r>
            <a:r>
              <a:rPr lang="de-DE" sz="2399" dirty="0" err="1">
                <a:solidFill>
                  <a:schemeClr val="tx1"/>
                </a:solidFill>
                <a:latin typeface="Titillium Web" panose="00000500000000000000" pitchFamily="2" charset="0"/>
              </a:rPr>
              <a:t>business</a:t>
            </a:r>
            <a:r>
              <a:rPr lang="de-DE" sz="2399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de-DE" sz="2399" dirty="0" err="1">
                <a:solidFill>
                  <a:schemeClr val="tx1"/>
                </a:solidFill>
                <a:latin typeface="Titillium Web" panose="00000500000000000000" pitchFamily="2" charset="0"/>
              </a:rPr>
              <a:t>model</a:t>
            </a:r>
            <a:r>
              <a:rPr lang="de-DE" sz="2399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de-DE" sz="2399" dirty="0" err="1">
                <a:solidFill>
                  <a:schemeClr val="tx1"/>
                </a:solidFill>
                <a:latin typeface="Titillium Web" panose="00000500000000000000" pitchFamily="2" charset="0"/>
              </a:rPr>
              <a:t>describes</a:t>
            </a:r>
            <a:r>
              <a:rPr lang="de-DE" sz="2399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</a:p>
          <a:p>
            <a:pPr marL="0" indent="0" defTabSz="685617">
              <a:spcBef>
                <a:spcPts val="0"/>
              </a:spcBef>
              <a:spcAft>
                <a:spcPts val="450"/>
              </a:spcAft>
              <a:buClr>
                <a:srgbClr val="0A73B4"/>
              </a:buClr>
              <a:buNone/>
            </a:pPr>
            <a:r>
              <a:rPr lang="de-DE" sz="2399" dirty="0" err="1">
                <a:solidFill>
                  <a:schemeClr val="tx1"/>
                </a:solidFill>
                <a:latin typeface="Titillium Web" panose="00000500000000000000" pitchFamily="2" charset="0"/>
              </a:rPr>
              <a:t>the</a:t>
            </a:r>
            <a:r>
              <a:rPr lang="de-DE" sz="2399" dirty="0">
                <a:solidFill>
                  <a:schemeClr val="tx1"/>
                </a:solidFill>
                <a:latin typeface="Titillium Web" panose="00000500000000000000" pitchFamily="2" charset="0"/>
              </a:rPr>
              <a:t> rationale </a:t>
            </a:r>
            <a:r>
              <a:rPr lang="de-DE" sz="2399" dirty="0" err="1">
                <a:solidFill>
                  <a:schemeClr val="tx1"/>
                </a:solidFill>
                <a:latin typeface="Titillium Web" panose="00000500000000000000" pitchFamily="2" charset="0"/>
              </a:rPr>
              <a:t>of</a:t>
            </a:r>
            <a:r>
              <a:rPr lang="de-DE" sz="2399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de-DE" sz="2399" dirty="0" err="1">
                <a:solidFill>
                  <a:schemeClr val="tx1"/>
                </a:solidFill>
                <a:latin typeface="Titillium Web" panose="00000500000000000000" pitchFamily="2" charset="0"/>
              </a:rPr>
              <a:t>how</a:t>
            </a:r>
            <a:r>
              <a:rPr lang="de-DE" sz="2399" dirty="0">
                <a:solidFill>
                  <a:schemeClr val="tx1"/>
                </a:solidFill>
                <a:latin typeface="Titillium Web" panose="00000500000000000000" pitchFamily="2" charset="0"/>
              </a:rPr>
              <a:t> an </a:t>
            </a:r>
            <a:r>
              <a:rPr lang="de-DE" sz="2399" dirty="0" err="1">
                <a:solidFill>
                  <a:schemeClr val="tx1"/>
                </a:solidFill>
                <a:latin typeface="Titillium Web" panose="00000500000000000000" pitchFamily="2" charset="0"/>
              </a:rPr>
              <a:t>organisation</a:t>
            </a:r>
            <a:r>
              <a:rPr lang="de-DE" sz="2399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de-DE" sz="2399" b="1" dirty="0" err="1">
                <a:solidFill>
                  <a:schemeClr val="tx1"/>
                </a:solidFill>
                <a:latin typeface="Titillium Web" panose="00000500000000000000" pitchFamily="2" charset="0"/>
              </a:rPr>
              <a:t>creates</a:t>
            </a:r>
            <a:r>
              <a:rPr lang="de-DE" sz="2399" b="1" dirty="0">
                <a:solidFill>
                  <a:schemeClr val="tx1"/>
                </a:solidFill>
                <a:latin typeface="Titillium Web" panose="00000500000000000000" pitchFamily="2" charset="0"/>
              </a:rPr>
              <a:t>, </a:t>
            </a:r>
            <a:r>
              <a:rPr lang="de-DE" sz="2399" b="1" dirty="0" err="1">
                <a:solidFill>
                  <a:schemeClr val="tx1"/>
                </a:solidFill>
                <a:latin typeface="Titillium Web" panose="00000500000000000000" pitchFamily="2" charset="0"/>
              </a:rPr>
              <a:t>delivers</a:t>
            </a:r>
            <a:r>
              <a:rPr lang="de-DE" sz="2399" b="1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de-DE" sz="2399" b="1" dirty="0" err="1">
                <a:solidFill>
                  <a:schemeClr val="tx1"/>
                </a:solidFill>
                <a:latin typeface="Titillium Web" panose="00000500000000000000" pitchFamily="2" charset="0"/>
              </a:rPr>
              <a:t>and</a:t>
            </a:r>
            <a:r>
              <a:rPr lang="de-DE" sz="2399" b="1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de-DE" sz="2399" b="1" dirty="0" err="1">
                <a:solidFill>
                  <a:schemeClr val="tx1"/>
                </a:solidFill>
                <a:latin typeface="Titillium Web" panose="00000500000000000000" pitchFamily="2" charset="0"/>
              </a:rPr>
              <a:t>captures</a:t>
            </a:r>
            <a:r>
              <a:rPr lang="de-DE" sz="2399" b="1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de-DE" sz="2399" b="1" dirty="0" err="1">
                <a:solidFill>
                  <a:schemeClr val="tx1"/>
                </a:solidFill>
                <a:latin typeface="Titillium Web" panose="00000500000000000000" pitchFamily="2" charset="0"/>
              </a:rPr>
              <a:t>value</a:t>
            </a:r>
            <a:endParaRPr lang="de-DE" sz="2399" b="1" dirty="0">
              <a:solidFill>
                <a:schemeClr val="tx1"/>
              </a:solidFill>
              <a:latin typeface="Titillium Web" panose="00000500000000000000" pitchFamily="2" charset="0"/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6C7B9D4B-843C-4B17-939B-B1C6572FBA96}"/>
              </a:ext>
            </a:extLst>
          </p:cNvPr>
          <p:cNvGrpSpPr/>
          <p:nvPr/>
        </p:nvGrpSpPr>
        <p:grpSpPr bwMode="gray">
          <a:xfrm>
            <a:off x="954000" y="1171926"/>
            <a:ext cx="689126" cy="532587"/>
            <a:chOff x="537029" y="1572196"/>
            <a:chExt cx="1010860" cy="847602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8" name="Freihandform 7">
              <a:extLst>
                <a:ext uri="{FF2B5EF4-FFF2-40B4-BE49-F238E27FC236}">
                  <a16:creationId xmlns:a16="http://schemas.microsoft.com/office/drawing/2014/main" id="{63CAED19-943F-4BEF-A701-658F3722162F}"/>
                </a:ext>
              </a:extLst>
            </p:cNvPr>
            <p:cNvSpPr/>
            <p:nvPr/>
          </p:nvSpPr>
          <p:spPr bwMode="gray">
            <a:xfrm>
              <a:off x="537029" y="1572196"/>
              <a:ext cx="466798" cy="847602"/>
            </a:xfrm>
            <a:custGeom>
              <a:avLst/>
              <a:gdLst/>
              <a:ahLst/>
              <a:cxnLst/>
              <a:rect l="l" t="t" r="r" b="b"/>
              <a:pathLst>
                <a:path w="309539" h="580653">
                  <a:moveTo>
                    <a:pt x="0" y="0"/>
                  </a:moveTo>
                  <a:lnTo>
                    <a:pt x="309539" y="0"/>
                  </a:lnTo>
                  <a:lnTo>
                    <a:pt x="309539" y="238380"/>
                  </a:lnTo>
                  <a:cubicBezTo>
                    <a:pt x="309539" y="326143"/>
                    <a:pt x="291275" y="395522"/>
                    <a:pt x="254747" y="446519"/>
                  </a:cubicBezTo>
                  <a:cubicBezTo>
                    <a:pt x="218219" y="497516"/>
                    <a:pt x="155837" y="542227"/>
                    <a:pt x="67601" y="580653"/>
                  </a:cubicBezTo>
                  <a:lnTo>
                    <a:pt x="0" y="453991"/>
                  </a:lnTo>
                  <a:cubicBezTo>
                    <a:pt x="55029" y="428374"/>
                    <a:pt x="92862" y="402875"/>
                    <a:pt x="113498" y="377495"/>
                  </a:cubicBezTo>
                  <a:cubicBezTo>
                    <a:pt x="134134" y="352115"/>
                    <a:pt x="145638" y="322110"/>
                    <a:pt x="148010" y="287480"/>
                  </a:cubicBezTo>
                  <a:lnTo>
                    <a:pt x="0" y="287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 defTabSz="816159">
                <a:buClrTx/>
              </a:pPr>
              <a:endParaRPr lang="en-US" sz="1575" kern="1200" dirty="0">
                <a:solidFill>
                  <a:srgbClr val="4B4B4B"/>
                </a:solidFill>
                <a:latin typeface="Titillium Web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9" name="Freihandform 9">
              <a:extLst>
                <a:ext uri="{FF2B5EF4-FFF2-40B4-BE49-F238E27FC236}">
                  <a16:creationId xmlns:a16="http://schemas.microsoft.com/office/drawing/2014/main" id="{76044FD7-F2DA-451C-A95A-A3848BCC8CEC}"/>
                </a:ext>
              </a:extLst>
            </p:cNvPr>
            <p:cNvSpPr/>
            <p:nvPr/>
          </p:nvSpPr>
          <p:spPr bwMode="gray">
            <a:xfrm>
              <a:off x="1081091" y="1572196"/>
              <a:ext cx="466798" cy="847602"/>
            </a:xfrm>
            <a:custGeom>
              <a:avLst/>
              <a:gdLst/>
              <a:ahLst/>
              <a:cxnLst/>
              <a:rect l="l" t="t" r="r" b="b"/>
              <a:pathLst>
                <a:path w="309539" h="580653">
                  <a:moveTo>
                    <a:pt x="0" y="0"/>
                  </a:moveTo>
                  <a:lnTo>
                    <a:pt x="309539" y="0"/>
                  </a:lnTo>
                  <a:lnTo>
                    <a:pt x="309539" y="238380"/>
                  </a:lnTo>
                  <a:cubicBezTo>
                    <a:pt x="309539" y="326143"/>
                    <a:pt x="291275" y="395522"/>
                    <a:pt x="254747" y="446519"/>
                  </a:cubicBezTo>
                  <a:cubicBezTo>
                    <a:pt x="218219" y="497516"/>
                    <a:pt x="155837" y="542227"/>
                    <a:pt x="67600" y="580653"/>
                  </a:cubicBezTo>
                  <a:lnTo>
                    <a:pt x="0" y="453991"/>
                  </a:lnTo>
                  <a:cubicBezTo>
                    <a:pt x="55029" y="428374"/>
                    <a:pt x="92861" y="402875"/>
                    <a:pt x="113497" y="377495"/>
                  </a:cubicBezTo>
                  <a:cubicBezTo>
                    <a:pt x="134133" y="352115"/>
                    <a:pt x="145637" y="322110"/>
                    <a:pt x="148009" y="287480"/>
                  </a:cubicBezTo>
                  <a:lnTo>
                    <a:pt x="0" y="287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 defTabSz="816159">
                <a:buClrTx/>
              </a:pPr>
              <a:endParaRPr lang="en-US" sz="1575" kern="1200" dirty="0">
                <a:solidFill>
                  <a:srgbClr val="4B4B4B"/>
                </a:solidFill>
                <a:latin typeface="Titillium Web" panose="000005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3" name="Freeform 7">
            <a:extLst>
              <a:ext uri="{FF2B5EF4-FFF2-40B4-BE49-F238E27FC236}">
                <a16:creationId xmlns:a16="http://schemas.microsoft.com/office/drawing/2014/main" id="{7E2F8E2F-29A7-8CF3-0152-BF0662BCB94A}"/>
              </a:ext>
            </a:extLst>
          </p:cNvPr>
          <p:cNvSpPr/>
          <p:nvPr/>
        </p:nvSpPr>
        <p:spPr>
          <a:xfrm>
            <a:off x="6110909" y="460258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55850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23;p32">
            <a:extLst>
              <a:ext uri="{FF2B5EF4-FFF2-40B4-BE49-F238E27FC236}">
                <a16:creationId xmlns:a16="http://schemas.microsoft.com/office/drawing/2014/main" id="{B855D884-7FE5-438D-816C-C8863676789B}"/>
              </a:ext>
            </a:extLst>
          </p:cNvPr>
          <p:cNvSpPr txBox="1">
            <a:spLocks/>
          </p:cNvSpPr>
          <p:nvPr/>
        </p:nvSpPr>
        <p:spPr>
          <a:xfrm>
            <a:off x="0" y="-1"/>
            <a:ext cx="9143999" cy="15092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indent="0" algn="ctr">
              <a:buFont typeface="Titillium Web"/>
              <a:buNone/>
            </a:pPr>
            <a:r>
              <a:rPr lang="en-US" sz="2400" b="1" dirty="0">
                <a:solidFill>
                  <a:schemeClr val="tx1"/>
                </a:solidFill>
                <a:latin typeface="Titillium Web" panose="00000500000000000000" pitchFamily="2" charset="0"/>
              </a:rPr>
              <a:t>Until you find a suitable and sustainable business model, </a:t>
            </a:r>
            <a:br>
              <a:rPr lang="en-US" sz="2400" b="1" dirty="0">
                <a:solidFill>
                  <a:schemeClr val="tx1"/>
                </a:solidFill>
                <a:latin typeface="Titillium Web" panose="00000500000000000000" pitchFamily="2" charset="0"/>
              </a:rPr>
            </a:br>
            <a:r>
              <a:rPr lang="en-US" sz="2400" b="1" dirty="0">
                <a:solidFill>
                  <a:schemeClr val="tx1"/>
                </a:solidFill>
                <a:latin typeface="Titillium Web" panose="00000500000000000000" pitchFamily="2" charset="0"/>
              </a:rPr>
              <a:t>financing becomes a crucial part of start-up creation</a:t>
            </a:r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DE2D58D2-A6E6-42B0-81B1-3C5A4C6C1C85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pl-PL" sz="700">
              <a:solidFill>
                <a:schemeClr val="tx1"/>
              </a:solidFill>
              <a:latin typeface="Titillium Web" panose="00000500000000000000" pitchFamily="2" charset="0"/>
            </a:endParaRP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C0C20A19-B3D2-43F1-AEA0-8B9175BA5882}"/>
              </a:ext>
            </a:extLst>
          </p:cNvPr>
          <p:cNvSpPr txBox="1">
            <a:spLocks/>
          </p:cNvSpPr>
          <p:nvPr/>
        </p:nvSpPr>
        <p:spPr>
          <a:xfrm>
            <a:off x="346134" y="1294923"/>
            <a:ext cx="8332249" cy="243000"/>
          </a:xfrm>
          <a:prstGeom prst="rect">
            <a:avLst/>
          </a:prstGeom>
        </p:spPr>
        <p:txBody>
          <a:bodyPr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ts val="2738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000" b="1" i="0" u="none" strike="noStrike" cap="none" baseline="0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532912" marR="0" lvl="1" indent="-215433" algn="l" rtl="0">
              <a:lnSpc>
                <a:spcPts val="2738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23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2pPr>
            <a:lvl3pPr marL="748345" marR="0" lvl="2" indent="-215433" algn="l" rtl="0">
              <a:lnSpc>
                <a:spcPts val="2738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23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3pPr>
            <a:lvl4pPr marL="963778" marR="0" lvl="3" indent="-215433" algn="l" rtl="0">
              <a:lnSpc>
                <a:spcPts val="2738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23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4pPr>
            <a:lvl5pPr marL="1179210" marR="0" lvl="4" indent="-215433" algn="l" rtl="0">
              <a:lnSpc>
                <a:spcPts val="2738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23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sz="1600" dirty="0">
                <a:solidFill>
                  <a:schemeClr val="tx1"/>
                </a:solidFill>
                <a:latin typeface="Titillium Web" panose="00000500000000000000" pitchFamily="2" charset="0"/>
              </a:rPr>
              <a:t>Business model and financing</a:t>
            </a:r>
          </a:p>
        </p:txBody>
      </p:sp>
      <p:sp>
        <p:nvSpPr>
          <p:cNvPr id="6" name="Line 51">
            <a:extLst>
              <a:ext uri="{FF2B5EF4-FFF2-40B4-BE49-F238E27FC236}">
                <a16:creationId xmlns:a16="http://schemas.microsoft.com/office/drawing/2014/main" id="{A74FB8C2-2AC9-4F0D-A542-B26814BBDFBA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1634640" y="2219357"/>
            <a:ext cx="2522010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</p:spPr>
        <p:txBody>
          <a:bodyPr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575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7" name="Text Box 52">
            <a:extLst>
              <a:ext uri="{FF2B5EF4-FFF2-40B4-BE49-F238E27FC236}">
                <a16:creationId xmlns:a16="http://schemas.microsoft.com/office/drawing/2014/main" id="{AEB90EA1-23E0-4F39-AF0D-8B36C2501C9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555506" y="2291799"/>
            <a:ext cx="1828717" cy="641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6011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Arial" charset="0"/>
                <a:sym typeface="Arial"/>
              </a:rPr>
              <a:t>Which product / service?</a:t>
            </a:r>
          </a:p>
          <a:p>
            <a:pPr marL="0" marR="0" lvl="0" indent="0" algn="l" defTabSz="6011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Arial" charset="0"/>
                <a:sym typeface="Arial"/>
              </a:rPr>
              <a:t>What is the value?</a:t>
            </a:r>
          </a:p>
          <a:p>
            <a:pPr marL="0" marR="0" lvl="0" indent="0" algn="l" defTabSz="6011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Arial" charset="0"/>
                <a:sym typeface="Arial"/>
              </a:rPr>
              <a:t>How is it delivered?</a:t>
            </a:r>
          </a:p>
        </p:txBody>
      </p:sp>
      <p:sp>
        <p:nvSpPr>
          <p:cNvPr id="8" name="Text Box 118">
            <a:extLst>
              <a:ext uri="{FF2B5EF4-FFF2-40B4-BE49-F238E27FC236}">
                <a16:creationId xmlns:a16="http://schemas.microsoft.com/office/drawing/2014/main" id="{85E542C4-7A1A-4E84-BBB2-A6EBE6DFC5F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548364" y="1900175"/>
            <a:ext cx="1962887" cy="334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6011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7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Arial" charset="0"/>
                <a:sym typeface="Arial"/>
              </a:rPr>
              <a:t>Product</a:t>
            </a:r>
          </a:p>
        </p:txBody>
      </p:sp>
      <p:sp>
        <p:nvSpPr>
          <p:cNvPr id="9" name="Line 50">
            <a:extLst>
              <a:ext uri="{FF2B5EF4-FFF2-40B4-BE49-F238E27FC236}">
                <a16:creationId xmlns:a16="http://schemas.microsoft.com/office/drawing/2014/main" id="{8E1C6EB7-2A5F-4996-A80A-5B3AA88EF023}"/>
              </a:ext>
            </a:extLst>
          </p:cNvPr>
          <p:cNvSpPr>
            <a:spLocks noChangeShapeType="1"/>
          </p:cNvSpPr>
          <p:nvPr/>
        </p:nvSpPr>
        <p:spPr bwMode="gray">
          <a:xfrm>
            <a:off x="6007135" y="2204566"/>
            <a:ext cx="1866128" cy="9353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</p:spPr>
        <p:txBody>
          <a:bodyPr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575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10" name="Text Box 53">
            <a:extLst>
              <a:ext uri="{FF2B5EF4-FFF2-40B4-BE49-F238E27FC236}">
                <a16:creationId xmlns:a16="http://schemas.microsoft.com/office/drawing/2014/main" id="{47B27904-CE3A-4590-8548-8982D97B436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387705" y="2287700"/>
            <a:ext cx="1588950" cy="447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r" defTabSz="6011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Arial" charset="0"/>
                <a:sym typeface="Arial"/>
              </a:rPr>
              <a:t>Which market?</a:t>
            </a:r>
          </a:p>
          <a:p>
            <a:pPr marL="0" marR="0" lvl="0" indent="0" algn="r" defTabSz="6011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Arial" charset="0"/>
                <a:sym typeface="Arial"/>
              </a:rPr>
              <a:t>Which market segment?</a:t>
            </a:r>
          </a:p>
        </p:txBody>
      </p:sp>
      <p:sp>
        <p:nvSpPr>
          <p:cNvPr id="11" name="Text Box 91">
            <a:extLst>
              <a:ext uri="{FF2B5EF4-FFF2-40B4-BE49-F238E27FC236}">
                <a16:creationId xmlns:a16="http://schemas.microsoft.com/office/drawing/2014/main" id="{521699F9-0EF6-4F49-9412-EC0712FC0C1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006794" y="1876037"/>
            <a:ext cx="1899116" cy="334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r" defTabSz="6011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7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Arial" charset="0"/>
                <a:sym typeface="Arial"/>
              </a:rPr>
              <a:t>Market</a:t>
            </a:r>
          </a:p>
        </p:txBody>
      </p:sp>
      <p:sp>
        <p:nvSpPr>
          <p:cNvPr id="13" name="Line 50">
            <a:extLst>
              <a:ext uri="{FF2B5EF4-FFF2-40B4-BE49-F238E27FC236}">
                <a16:creationId xmlns:a16="http://schemas.microsoft.com/office/drawing/2014/main" id="{2CE97558-8EE9-4916-9300-1B79868BD367}"/>
              </a:ext>
            </a:extLst>
          </p:cNvPr>
          <p:cNvSpPr>
            <a:spLocks noChangeShapeType="1"/>
          </p:cNvSpPr>
          <p:nvPr/>
        </p:nvSpPr>
        <p:spPr bwMode="gray">
          <a:xfrm>
            <a:off x="6012579" y="3385371"/>
            <a:ext cx="1866128" cy="9353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</p:spPr>
        <p:txBody>
          <a:bodyPr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575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15" name="Text Box 91">
            <a:extLst>
              <a:ext uri="{FF2B5EF4-FFF2-40B4-BE49-F238E27FC236}">
                <a16:creationId xmlns:a16="http://schemas.microsoft.com/office/drawing/2014/main" id="{369AAC6C-9808-4AE0-B9BC-A135010BF22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012238" y="3056843"/>
            <a:ext cx="1899116" cy="334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r" defTabSz="6011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7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Arial" charset="0"/>
                <a:sym typeface="Arial"/>
              </a:rPr>
              <a:t>Customer</a:t>
            </a:r>
          </a:p>
        </p:txBody>
      </p:sp>
      <p:sp>
        <p:nvSpPr>
          <p:cNvPr id="16" name="Text Box 53">
            <a:extLst>
              <a:ext uri="{FF2B5EF4-FFF2-40B4-BE49-F238E27FC236}">
                <a16:creationId xmlns:a16="http://schemas.microsoft.com/office/drawing/2014/main" id="{274635A5-7435-4C60-9E40-29E1285E52D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159158" y="3457623"/>
            <a:ext cx="1812058" cy="803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r" defTabSz="6011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Arial" charset="0"/>
                <a:sym typeface="Arial"/>
              </a:rPr>
              <a:t>Which customer group?</a:t>
            </a:r>
          </a:p>
          <a:p>
            <a:pPr marL="0" marR="0" lvl="0" indent="0" algn="r" defTabSz="6011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Arial" charset="0"/>
                <a:sym typeface="Arial"/>
              </a:rPr>
              <a:t>With which frequency do customers purchase?</a:t>
            </a:r>
          </a:p>
          <a:p>
            <a:pPr marL="0" marR="0" lvl="0" indent="0" algn="r" defTabSz="6011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Arial" charset="0"/>
                <a:sym typeface="Arial"/>
              </a:rPr>
              <a:t>What do customers value?</a:t>
            </a:r>
          </a:p>
        </p:txBody>
      </p:sp>
      <p:sp>
        <p:nvSpPr>
          <p:cNvPr id="17" name="Text Box 52">
            <a:extLst>
              <a:ext uri="{FF2B5EF4-FFF2-40B4-BE49-F238E27FC236}">
                <a16:creationId xmlns:a16="http://schemas.microsoft.com/office/drawing/2014/main" id="{32F094B7-7B4F-4A40-9BF3-D807C362813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560950" y="3461721"/>
            <a:ext cx="1962887" cy="641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6011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Arial" charset="0"/>
                <a:sym typeface="Arial"/>
              </a:rPr>
              <a:t>How much turn over?</a:t>
            </a:r>
          </a:p>
          <a:p>
            <a:pPr marL="0" marR="0" lvl="0" indent="0" algn="l" defTabSz="6011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Arial" charset="0"/>
                <a:sym typeface="Arial"/>
              </a:rPr>
              <a:t>How much profit?</a:t>
            </a:r>
          </a:p>
          <a:p>
            <a:pPr marL="0" marR="0" lvl="0" indent="0" algn="l" defTabSz="6011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Arial" charset="0"/>
                <a:sym typeface="Arial"/>
              </a:rPr>
              <a:t>How is it financed?</a:t>
            </a:r>
          </a:p>
        </p:txBody>
      </p:sp>
      <p:sp>
        <p:nvSpPr>
          <p:cNvPr id="18" name="Text Box 118">
            <a:extLst>
              <a:ext uri="{FF2B5EF4-FFF2-40B4-BE49-F238E27FC236}">
                <a16:creationId xmlns:a16="http://schemas.microsoft.com/office/drawing/2014/main" id="{E0EF4485-C88D-4A03-BC33-1FA92090CD3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553807" y="3058807"/>
            <a:ext cx="1962887" cy="334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6011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7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Arial" charset="0"/>
                <a:sym typeface="Arial"/>
              </a:rPr>
              <a:t>Capital</a:t>
            </a:r>
          </a:p>
        </p:txBody>
      </p:sp>
      <p:cxnSp>
        <p:nvCxnSpPr>
          <p:cNvPr id="19" name="Gerade Verbindung 40">
            <a:extLst>
              <a:ext uri="{FF2B5EF4-FFF2-40B4-BE49-F238E27FC236}">
                <a16:creationId xmlns:a16="http://schemas.microsoft.com/office/drawing/2014/main" id="{FFD59AB2-27C1-48C7-823B-6824528235C5}"/>
              </a:ext>
            </a:extLst>
          </p:cNvPr>
          <p:cNvCxnSpPr/>
          <p:nvPr/>
        </p:nvCxnSpPr>
        <p:spPr bwMode="auto">
          <a:xfrm>
            <a:off x="1634641" y="3385022"/>
            <a:ext cx="1520751" cy="0"/>
          </a:xfrm>
          <a:prstGeom prst="line">
            <a:avLst/>
          </a:prstGeom>
          <a:solidFill>
            <a:srgbClr val="DDDDDD"/>
          </a:solidFill>
          <a:ln w="9525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extBox 16">
            <a:extLst>
              <a:ext uri="{FF2B5EF4-FFF2-40B4-BE49-F238E27FC236}">
                <a16:creationId xmlns:a16="http://schemas.microsoft.com/office/drawing/2014/main" id="{51DA4272-B524-4C8F-9737-F25736D2E1D1}"/>
              </a:ext>
            </a:extLst>
          </p:cNvPr>
          <p:cNvSpPr txBox="1"/>
          <p:nvPr/>
        </p:nvSpPr>
        <p:spPr>
          <a:xfrm rot="19482631">
            <a:off x="3496469" y="1996914"/>
            <a:ext cx="984565" cy="3347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75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Erzeugen</a:t>
            </a: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21" name="TextBox 745">
            <a:extLst>
              <a:ext uri="{FF2B5EF4-FFF2-40B4-BE49-F238E27FC236}">
                <a16:creationId xmlns:a16="http://schemas.microsoft.com/office/drawing/2014/main" id="{ECD7D8FB-74EC-473D-B8AB-16435B609E2B}"/>
              </a:ext>
            </a:extLst>
          </p:cNvPr>
          <p:cNvSpPr txBox="1"/>
          <p:nvPr/>
        </p:nvSpPr>
        <p:spPr>
          <a:xfrm rot="2434509">
            <a:off x="5044540" y="1985618"/>
            <a:ext cx="862737" cy="3347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75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Erobern</a:t>
            </a: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22" name="TextBox 746">
            <a:extLst>
              <a:ext uri="{FF2B5EF4-FFF2-40B4-BE49-F238E27FC236}">
                <a16:creationId xmlns:a16="http://schemas.microsoft.com/office/drawing/2014/main" id="{2A03CE1A-D87B-4332-9780-CF4A12C2DA7E}"/>
              </a:ext>
            </a:extLst>
          </p:cNvPr>
          <p:cNvSpPr txBox="1"/>
          <p:nvPr/>
        </p:nvSpPr>
        <p:spPr>
          <a:xfrm rot="19482631">
            <a:off x="4872515" y="3505536"/>
            <a:ext cx="777777" cy="3347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75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Liefern</a:t>
            </a: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grpSp>
        <p:nvGrpSpPr>
          <p:cNvPr id="23" name="Gruppieren 30">
            <a:extLst>
              <a:ext uri="{FF2B5EF4-FFF2-40B4-BE49-F238E27FC236}">
                <a16:creationId xmlns:a16="http://schemas.microsoft.com/office/drawing/2014/main" id="{90BBAF95-4EDE-4E70-93F7-FD3DA9ED6B36}"/>
              </a:ext>
            </a:extLst>
          </p:cNvPr>
          <p:cNvGrpSpPr/>
          <p:nvPr/>
        </p:nvGrpSpPr>
        <p:grpSpPr>
          <a:xfrm>
            <a:off x="2875961" y="1141890"/>
            <a:ext cx="3526981" cy="3542506"/>
            <a:chOff x="2597150" y="1671638"/>
            <a:chExt cx="3967163" cy="3984625"/>
          </a:xfrm>
          <a:effectLst>
            <a:outerShdw blurRad="152400" dir="18900000" sy="23000" kx="-1200000" algn="bl" rotWithShape="0">
              <a:prstClr val="black">
                <a:alpha val="20000"/>
              </a:prstClr>
            </a:outerShdw>
          </a:effectLst>
          <a:scene3d>
            <a:camera prst="perspectiveRelaxedModerately" fov="5400000">
              <a:rot lat="19679828" lon="917669" rev="21486989"/>
            </a:camera>
            <a:lightRig rig="threePt" dir="t">
              <a:rot lat="0" lon="0" rev="3600000"/>
            </a:lightRig>
          </a:scene3d>
        </p:grpSpPr>
        <p:sp>
          <p:nvSpPr>
            <p:cNvPr id="24" name="Freeform 45">
              <a:extLst>
                <a:ext uri="{FF2B5EF4-FFF2-40B4-BE49-F238E27FC236}">
                  <a16:creationId xmlns:a16="http://schemas.microsoft.com/office/drawing/2014/main" id="{3F7A88E6-2252-4A6A-BC98-7503916B691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7025" y="1671638"/>
              <a:ext cx="2139950" cy="1762125"/>
            </a:xfrm>
            <a:custGeom>
              <a:avLst/>
              <a:gdLst>
                <a:gd name="connsiteX0" fmla="*/ 361 w 361"/>
                <a:gd name="connsiteY0" fmla="*/ 96 h 296"/>
                <a:gd name="connsiteX1" fmla="*/ 282 w 361"/>
                <a:gd name="connsiteY1" fmla="*/ 0 h 296"/>
                <a:gd name="connsiteX2" fmla="*/ 282 w 361"/>
                <a:gd name="connsiteY2" fmla="*/ 25 h 296"/>
                <a:gd name="connsiteX3" fmla="*/ 282 w 361"/>
                <a:gd name="connsiteY3" fmla="*/ 43 h 296"/>
                <a:gd name="connsiteX4" fmla="*/ 0 w 361"/>
                <a:gd name="connsiteY4" fmla="*/ 290 h 296"/>
                <a:gd name="connsiteX5" fmla="*/ 50 w 361"/>
                <a:gd name="connsiteY5" fmla="*/ 248 h 296"/>
                <a:gd name="connsiteX6" fmla="*/ 107 w 361"/>
                <a:gd name="connsiteY6" fmla="*/ 296 h 296"/>
                <a:gd name="connsiteX7" fmla="*/ 128 w 361"/>
                <a:gd name="connsiteY7" fmla="*/ 242 h 296"/>
                <a:gd name="connsiteX8" fmla="*/ 282 w 361"/>
                <a:gd name="connsiteY8" fmla="*/ 150 h 296"/>
                <a:gd name="connsiteX9" fmla="*/ 282 w 361"/>
                <a:gd name="connsiteY9" fmla="*/ 191 h 296"/>
                <a:gd name="connsiteX10" fmla="*/ 361 w 361"/>
                <a:gd name="connsiteY10" fmla="*/ 96 h 296"/>
                <a:gd name="connsiteX0" fmla="*/ 361 w 361"/>
                <a:gd name="connsiteY0" fmla="*/ 96 h 296"/>
                <a:gd name="connsiteX1" fmla="*/ 282 w 361"/>
                <a:gd name="connsiteY1" fmla="*/ 0 h 296"/>
                <a:gd name="connsiteX2" fmla="*/ 282 w 361"/>
                <a:gd name="connsiteY2" fmla="*/ 43 h 296"/>
                <a:gd name="connsiteX3" fmla="*/ 0 w 361"/>
                <a:gd name="connsiteY3" fmla="*/ 290 h 296"/>
                <a:gd name="connsiteX4" fmla="*/ 50 w 361"/>
                <a:gd name="connsiteY4" fmla="*/ 248 h 296"/>
                <a:gd name="connsiteX5" fmla="*/ 107 w 361"/>
                <a:gd name="connsiteY5" fmla="*/ 296 h 296"/>
                <a:gd name="connsiteX6" fmla="*/ 128 w 361"/>
                <a:gd name="connsiteY6" fmla="*/ 242 h 296"/>
                <a:gd name="connsiteX7" fmla="*/ 282 w 361"/>
                <a:gd name="connsiteY7" fmla="*/ 150 h 296"/>
                <a:gd name="connsiteX8" fmla="*/ 282 w 361"/>
                <a:gd name="connsiteY8" fmla="*/ 191 h 296"/>
                <a:gd name="connsiteX9" fmla="*/ 361 w 361"/>
                <a:gd name="connsiteY9" fmla="*/ 96 h 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" h="296">
                  <a:moveTo>
                    <a:pt x="361" y="96"/>
                  </a:moveTo>
                  <a:cubicBezTo>
                    <a:pt x="335" y="64"/>
                    <a:pt x="308" y="32"/>
                    <a:pt x="282" y="0"/>
                  </a:cubicBezTo>
                  <a:lnTo>
                    <a:pt x="282" y="43"/>
                  </a:lnTo>
                  <a:cubicBezTo>
                    <a:pt x="139" y="46"/>
                    <a:pt x="21" y="152"/>
                    <a:pt x="0" y="290"/>
                  </a:cubicBezTo>
                  <a:cubicBezTo>
                    <a:pt x="17" y="276"/>
                    <a:pt x="33" y="262"/>
                    <a:pt x="50" y="248"/>
                  </a:cubicBezTo>
                  <a:lnTo>
                    <a:pt x="107" y="296"/>
                  </a:lnTo>
                  <a:cubicBezTo>
                    <a:pt x="111" y="278"/>
                    <a:pt x="118" y="259"/>
                    <a:pt x="128" y="242"/>
                  </a:cubicBezTo>
                  <a:cubicBezTo>
                    <a:pt x="161" y="185"/>
                    <a:pt x="220" y="152"/>
                    <a:pt x="282" y="150"/>
                  </a:cubicBezTo>
                  <a:lnTo>
                    <a:pt x="282" y="191"/>
                  </a:lnTo>
                  <a:cubicBezTo>
                    <a:pt x="308" y="159"/>
                    <a:pt x="335" y="128"/>
                    <a:pt x="361" y="9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13500000" scaled="1"/>
              <a:tileRect/>
            </a:gradFill>
            <a:ln w="19050">
              <a:solidFill>
                <a:srgbClr val="FFFFFF"/>
              </a:solidFill>
              <a:round/>
              <a:headEnd/>
              <a:tailEnd/>
            </a:ln>
            <a:effectLst/>
            <a:sp3d extrusionH="127000"/>
          </p:spPr>
          <p:txBody>
            <a:bodyPr/>
            <a:lstStyle/>
            <a:p>
              <a:pPr marL="0" marR="0" lvl="0" indent="0" algn="l" defTabSz="8161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de-DE" sz="1575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  <p:sp>
          <p:nvSpPr>
            <p:cNvPr id="25" name="Freeform 46">
              <a:extLst>
                <a:ext uri="{FF2B5EF4-FFF2-40B4-BE49-F238E27FC236}">
                  <a16:creationId xmlns:a16="http://schemas.microsoft.com/office/drawing/2014/main" id="{BB07AA55-8BAD-4FE5-B742-780223933BD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4488" y="3914775"/>
              <a:ext cx="2139950" cy="1741488"/>
            </a:xfrm>
            <a:custGeom>
              <a:avLst/>
              <a:gdLst>
                <a:gd name="connsiteX0" fmla="*/ 361 w 361"/>
                <a:gd name="connsiteY0" fmla="*/ 8 h 293"/>
                <a:gd name="connsiteX1" fmla="*/ 312 w 361"/>
                <a:gd name="connsiteY1" fmla="*/ 48 h 293"/>
                <a:gd name="connsiteX2" fmla="*/ 253 w 361"/>
                <a:gd name="connsiteY2" fmla="*/ 0 h 293"/>
                <a:gd name="connsiteX3" fmla="*/ 233 w 361"/>
                <a:gd name="connsiteY3" fmla="*/ 51 h 293"/>
                <a:gd name="connsiteX4" fmla="*/ 79 w 361"/>
                <a:gd name="connsiteY4" fmla="*/ 144 h 293"/>
                <a:gd name="connsiteX5" fmla="*/ 79 w 361"/>
                <a:gd name="connsiteY5" fmla="*/ 102 h 293"/>
                <a:gd name="connsiteX6" fmla="*/ 0 w 361"/>
                <a:gd name="connsiteY6" fmla="*/ 198 h 293"/>
                <a:gd name="connsiteX7" fmla="*/ 79 w 361"/>
                <a:gd name="connsiteY7" fmla="*/ 293 h 293"/>
                <a:gd name="connsiteX8" fmla="*/ 79 w 361"/>
                <a:gd name="connsiteY8" fmla="*/ 251 h 293"/>
                <a:gd name="connsiteX9" fmla="*/ 361 w 361"/>
                <a:gd name="connsiteY9" fmla="*/ 8 h 293"/>
                <a:gd name="connsiteX0" fmla="*/ 361 w 361"/>
                <a:gd name="connsiteY0" fmla="*/ 8 h 293"/>
                <a:gd name="connsiteX1" fmla="*/ 312 w 361"/>
                <a:gd name="connsiteY1" fmla="*/ 48 h 293"/>
                <a:gd name="connsiteX2" fmla="*/ 253 w 361"/>
                <a:gd name="connsiteY2" fmla="*/ 0 h 293"/>
                <a:gd name="connsiteX3" fmla="*/ 233 w 361"/>
                <a:gd name="connsiteY3" fmla="*/ 51 h 293"/>
                <a:gd name="connsiteX4" fmla="*/ 79 w 361"/>
                <a:gd name="connsiteY4" fmla="*/ 144 h 293"/>
                <a:gd name="connsiteX5" fmla="*/ 79 w 361"/>
                <a:gd name="connsiteY5" fmla="*/ 102 h 293"/>
                <a:gd name="connsiteX6" fmla="*/ 0 w 361"/>
                <a:gd name="connsiteY6" fmla="*/ 198 h 293"/>
                <a:gd name="connsiteX7" fmla="*/ 79 w 361"/>
                <a:gd name="connsiteY7" fmla="*/ 293 h 293"/>
                <a:gd name="connsiteX8" fmla="*/ 79 w 361"/>
                <a:gd name="connsiteY8" fmla="*/ 251 h 293"/>
                <a:gd name="connsiteX9" fmla="*/ 361 w 361"/>
                <a:gd name="connsiteY9" fmla="*/ 8 h 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" h="293">
                  <a:moveTo>
                    <a:pt x="361" y="8"/>
                  </a:moveTo>
                  <a:lnTo>
                    <a:pt x="312" y="48"/>
                  </a:lnTo>
                  <a:cubicBezTo>
                    <a:pt x="292" y="32"/>
                    <a:pt x="273" y="16"/>
                    <a:pt x="253" y="0"/>
                  </a:cubicBezTo>
                  <a:cubicBezTo>
                    <a:pt x="249" y="18"/>
                    <a:pt x="243" y="35"/>
                    <a:pt x="233" y="51"/>
                  </a:cubicBezTo>
                  <a:cubicBezTo>
                    <a:pt x="200" y="109"/>
                    <a:pt x="141" y="142"/>
                    <a:pt x="79" y="144"/>
                  </a:cubicBezTo>
                  <a:lnTo>
                    <a:pt x="79" y="102"/>
                  </a:lnTo>
                  <a:cubicBezTo>
                    <a:pt x="53" y="134"/>
                    <a:pt x="26" y="166"/>
                    <a:pt x="0" y="198"/>
                  </a:cubicBezTo>
                  <a:cubicBezTo>
                    <a:pt x="26" y="230"/>
                    <a:pt x="53" y="261"/>
                    <a:pt x="79" y="293"/>
                  </a:cubicBezTo>
                  <a:lnTo>
                    <a:pt x="79" y="251"/>
                  </a:lnTo>
                  <a:cubicBezTo>
                    <a:pt x="221" y="248"/>
                    <a:pt x="338" y="144"/>
                    <a:pt x="361" y="8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19050">
              <a:solidFill>
                <a:srgbClr val="FFFFFF"/>
              </a:solidFill>
              <a:round/>
              <a:headEnd/>
              <a:tailEnd/>
            </a:ln>
            <a:sp3d extrusionH="127000"/>
          </p:spPr>
          <p:txBody>
            <a:bodyPr/>
            <a:lstStyle/>
            <a:p>
              <a:pPr marL="0" marR="0" lvl="0" indent="0" algn="l" defTabSz="8161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de-DE" sz="1575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  <p:sp>
          <p:nvSpPr>
            <p:cNvPr id="26" name="Freeform 47">
              <a:extLst>
                <a:ext uri="{FF2B5EF4-FFF2-40B4-BE49-F238E27FC236}">
                  <a16:creationId xmlns:a16="http://schemas.microsoft.com/office/drawing/2014/main" id="{C2ACF1D0-7B83-4CE8-9C65-24FF2A846492}"/>
                </a:ext>
              </a:extLst>
            </p:cNvPr>
            <p:cNvSpPr>
              <a:spLocks/>
            </p:cNvSpPr>
            <p:nvPr/>
          </p:nvSpPr>
          <p:spPr bwMode="gray">
            <a:xfrm>
              <a:off x="4830763" y="1954213"/>
              <a:ext cx="1733550" cy="2139950"/>
            </a:xfrm>
            <a:custGeom>
              <a:avLst/>
              <a:gdLst/>
              <a:ahLst/>
              <a:cxnLst>
                <a:cxn ang="0">
                  <a:pos x="251" y="281"/>
                </a:cxn>
                <a:cxn ang="0">
                  <a:pos x="8" y="0"/>
                </a:cxn>
                <a:cxn ang="0">
                  <a:pos x="48" y="49"/>
                </a:cxn>
                <a:cxn ang="0">
                  <a:pos x="0" y="107"/>
                </a:cxn>
                <a:cxn ang="0">
                  <a:pos x="51" y="127"/>
                </a:cxn>
                <a:cxn ang="0">
                  <a:pos x="144" y="281"/>
                </a:cxn>
                <a:cxn ang="0">
                  <a:pos x="102" y="281"/>
                </a:cxn>
                <a:cxn ang="0">
                  <a:pos x="198" y="360"/>
                </a:cxn>
                <a:cxn ang="0">
                  <a:pos x="293" y="281"/>
                </a:cxn>
                <a:cxn ang="0">
                  <a:pos x="251" y="281"/>
                </a:cxn>
              </a:cxnLst>
              <a:rect l="0" t="0" r="r" b="b"/>
              <a:pathLst>
                <a:path w="293" h="360">
                  <a:moveTo>
                    <a:pt x="251" y="281"/>
                  </a:moveTo>
                  <a:cubicBezTo>
                    <a:pt x="247" y="140"/>
                    <a:pt x="143" y="23"/>
                    <a:pt x="8" y="0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17" y="111"/>
                    <a:pt x="35" y="118"/>
                    <a:pt x="51" y="127"/>
                  </a:cubicBezTo>
                  <a:cubicBezTo>
                    <a:pt x="108" y="160"/>
                    <a:pt x="141" y="219"/>
                    <a:pt x="144" y="281"/>
                  </a:cubicBezTo>
                  <a:cubicBezTo>
                    <a:pt x="102" y="281"/>
                    <a:pt x="102" y="281"/>
                    <a:pt x="102" y="281"/>
                  </a:cubicBezTo>
                  <a:cubicBezTo>
                    <a:pt x="198" y="360"/>
                    <a:pt x="198" y="360"/>
                    <a:pt x="198" y="360"/>
                  </a:cubicBezTo>
                  <a:cubicBezTo>
                    <a:pt x="293" y="281"/>
                    <a:pt x="293" y="281"/>
                    <a:pt x="293" y="281"/>
                  </a:cubicBezTo>
                  <a:lnTo>
                    <a:pt x="251" y="28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50000"/>
                  </a:schemeClr>
                </a:gs>
                <a:gs pos="50000">
                  <a:schemeClr val="accent1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19050">
              <a:solidFill>
                <a:srgbClr val="FFFFFF"/>
              </a:solidFill>
              <a:round/>
              <a:headEnd/>
              <a:tailEnd/>
            </a:ln>
            <a:sp3d extrusionH="127000"/>
          </p:spPr>
          <p:txBody>
            <a:bodyPr/>
            <a:lstStyle/>
            <a:p>
              <a:pPr marL="0" marR="0" lvl="0" indent="0" algn="l" defTabSz="8161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de-DE" sz="1575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  <p:sp>
          <p:nvSpPr>
            <p:cNvPr id="27" name="Freeform 48">
              <a:extLst>
                <a:ext uri="{FF2B5EF4-FFF2-40B4-BE49-F238E27FC236}">
                  <a16:creationId xmlns:a16="http://schemas.microsoft.com/office/drawing/2014/main" id="{14A3925D-7470-45C5-9B59-7D9F22A037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597150" y="3233738"/>
              <a:ext cx="1746250" cy="2152650"/>
            </a:xfrm>
            <a:custGeom>
              <a:avLst/>
              <a:gdLst/>
              <a:ahLst/>
              <a:cxnLst>
                <a:cxn ang="0">
                  <a:pos x="295" y="254"/>
                </a:cxn>
                <a:cxn ang="0">
                  <a:pos x="242" y="233"/>
                </a:cxn>
                <a:cxn ang="0">
                  <a:pos x="149" y="79"/>
                </a:cxn>
                <a:cxn ang="0">
                  <a:pos x="191" y="79"/>
                </a:cxn>
                <a:cxn ang="0">
                  <a:pos x="96" y="0"/>
                </a:cxn>
                <a:cxn ang="0">
                  <a:pos x="0" y="79"/>
                </a:cxn>
                <a:cxn ang="0">
                  <a:pos x="42" y="79"/>
                </a:cxn>
                <a:cxn ang="0">
                  <a:pos x="283" y="361"/>
                </a:cxn>
                <a:cxn ang="0">
                  <a:pos x="245" y="315"/>
                </a:cxn>
                <a:cxn ang="0">
                  <a:pos x="295" y="254"/>
                </a:cxn>
              </a:cxnLst>
              <a:rect l="0" t="0" r="r" b="b"/>
              <a:pathLst>
                <a:path w="295" h="361">
                  <a:moveTo>
                    <a:pt x="295" y="254"/>
                  </a:moveTo>
                  <a:cubicBezTo>
                    <a:pt x="277" y="250"/>
                    <a:pt x="259" y="243"/>
                    <a:pt x="242" y="233"/>
                  </a:cubicBezTo>
                  <a:cubicBezTo>
                    <a:pt x="185" y="200"/>
                    <a:pt x="152" y="141"/>
                    <a:pt x="149" y="79"/>
                  </a:cubicBezTo>
                  <a:cubicBezTo>
                    <a:pt x="191" y="79"/>
                    <a:pt x="191" y="79"/>
                    <a:pt x="191" y="79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6" y="220"/>
                    <a:pt x="148" y="336"/>
                    <a:pt x="283" y="361"/>
                  </a:cubicBezTo>
                  <a:cubicBezTo>
                    <a:pt x="245" y="315"/>
                    <a:pt x="245" y="315"/>
                    <a:pt x="245" y="315"/>
                  </a:cubicBezTo>
                  <a:lnTo>
                    <a:pt x="295" y="25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20000"/>
                    <a:lumOff val="80000"/>
                  </a:schemeClr>
                </a:gs>
              </a:gsLst>
              <a:lin ang="18900000" scaled="1"/>
              <a:tileRect/>
            </a:gradFill>
            <a:ln w="19050">
              <a:solidFill>
                <a:srgbClr val="FFFFFF"/>
              </a:solidFill>
              <a:round/>
              <a:headEnd/>
              <a:tailEnd/>
            </a:ln>
            <a:effectLst/>
            <a:sp3d extrusionH="127000"/>
          </p:spPr>
          <p:txBody>
            <a:bodyPr/>
            <a:lstStyle/>
            <a:p>
              <a:pPr marL="0" marR="0" lvl="0" indent="0" algn="l" defTabSz="8161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de-DE" sz="1575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</p:grpSp>
      <p:grpSp>
        <p:nvGrpSpPr>
          <p:cNvPr id="28" name="Gruppieren 69">
            <a:extLst>
              <a:ext uri="{FF2B5EF4-FFF2-40B4-BE49-F238E27FC236}">
                <a16:creationId xmlns:a16="http://schemas.microsoft.com/office/drawing/2014/main" id="{6F1A0D37-0688-48E2-88A8-29E84F4059BD}"/>
              </a:ext>
            </a:extLst>
          </p:cNvPr>
          <p:cNvGrpSpPr/>
          <p:nvPr/>
        </p:nvGrpSpPr>
        <p:grpSpPr>
          <a:xfrm>
            <a:off x="4107779" y="2476771"/>
            <a:ext cx="1151759" cy="1032227"/>
            <a:chOff x="2694424" y="1857096"/>
            <a:chExt cx="1536034" cy="1376621"/>
          </a:xfrm>
        </p:grpSpPr>
        <p:grpSp>
          <p:nvGrpSpPr>
            <p:cNvPr id="29" name="Gruppieren 136">
              <a:extLst>
                <a:ext uri="{FF2B5EF4-FFF2-40B4-BE49-F238E27FC236}">
                  <a16:creationId xmlns:a16="http://schemas.microsoft.com/office/drawing/2014/main" id="{A1B623A7-6731-4D79-B6CC-60F927046A65}"/>
                </a:ext>
              </a:extLst>
            </p:cNvPr>
            <p:cNvGrpSpPr/>
            <p:nvPr/>
          </p:nvGrpSpPr>
          <p:grpSpPr>
            <a:xfrm>
              <a:off x="3099431" y="2124234"/>
              <a:ext cx="763879" cy="798171"/>
              <a:chOff x="3094669" y="2121700"/>
              <a:chExt cx="800488" cy="836424"/>
            </a:xfrm>
          </p:grpSpPr>
          <p:grpSp>
            <p:nvGrpSpPr>
              <p:cNvPr id="88" name="Gruppieren 112">
                <a:extLst>
                  <a:ext uri="{FF2B5EF4-FFF2-40B4-BE49-F238E27FC236}">
                    <a16:creationId xmlns:a16="http://schemas.microsoft.com/office/drawing/2014/main" id="{2C2CE43E-6CA5-4770-BC0C-B0BEBD74E8B2}"/>
                  </a:ext>
                </a:extLst>
              </p:cNvPr>
              <p:cNvGrpSpPr/>
              <p:nvPr/>
            </p:nvGrpSpPr>
            <p:grpSpPr>
              <a:xfrm>
                <a:off x="3113717" y="2398358"/>
                <a:ext cx="781440" cy="559766"/>
                <a:chOff x="5688013" y="58738"/>
                <a:chExt cx="3111500" cy="2228851"/>
              </a:xfrm>
            </p:grpSpPr>
            <p:sp>
              <p:nvSpPr>
                <p:cNvPr id="105" name="Freeform 6">
                  <a:extLst>
                    <a:ext uri="{FF2B5EF4-FFF2-40B4-BE49-F238E27FC236}">
                      <a16:creationId xmlns:a16="http://schemas.microsoft.com/office/drawing/2014/main" id="{E5D85534-C976-4ED3-8B3E-BAB2EC48FD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88013" y="58738"/>
                  <a:ext cx="3111500" cy="1865313"/>
                </a:xfrm>
                <a:custGeom>
                  <a:avLst/>
                  <a:gdLst/>
                  <a:ahLst/>
                  <a:cxnLst>
                    <a:cxn ang="0">
                      <a:pos x="134" y="393"/>
                    </a:cxn>
                    <a:cxn ang="0">
                      <a:pos x="173" y="80"/>
                    </a:cxn>
                    <a:cxn ang="0">
                      <a:pos x="696" y="104"/>
                    </a:cxn>
                    <a:cxn ang="0">
                      <a:pos x="657" y="417"/>
                    </a:cxn>
                    <a:cxn ang="0">
                      <a:pos x="134" y="393"/>
                    </a:cxn>
                  </a:cxnLst>
                  <a:rect l="0" t="0" r="r" b="b"/>
                  <a:pathLst>
                    <a:path w="830" h="497">
                      <a:moveTo>
                        <a:pt x="134" y="393"/>
                      </a:moveTo>
                      <a:cubicBezTo>
                        <a:pt x="0" y="300"/>
                        <a:pt x="18" y="160"/>
                        <a:pt x="173" y="80"/>
                      </a:cubicBezTo>
                      <a:cubicBezTo>
                        <a:pt x="328" y="0"/>
                        <a:pt x="563" y="11"/>
                        <a:pt x="696" y="104"/>
                      </a:cubicBezTo>
                      <a:cubicBezTo>
                        <a:pt x="830" y="197"/>
                        <a:pt x="812" y="337"/>
                        <a:pt x="657" y="417"/>
                      </a:cubicBezTo>
                      <a:cubicBezTo>
                        <a:pt x="502" y="497"/>
                        <a:pt x="268" y="486"/>
                        <a:pt x="134" y="39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0810E"/>
                    </a:gs>
                    <a:gs pos="100000">
                      <a:srgbClr val="FFC000"/>
                    </a:gs>
                  </a:gsLst>
                  <a:lin ang="0" scaled="1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1615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GB" sz="1575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endParaRPr>
                </a:p>
              </p:txBody>
            </p:sp>
            <p:grpSp>
              <p:nvGrpSpPr>
                <p:cNvPr id="106" name="Gruppieren 62">
                  <a:extLst>
                    <a:ext uri="{FF2B5EF4-FFF2-40B4-BE49-F238E27FC236}">
                      <a16:creationId xmlns:a16="http://schemas.microsoft.com/office/drawing/2014/main" id="{FBDA5102-3245-4EB3-9D4C-E2FDC974F020}"/>
                    </a:ext>
                  </a:extLst>
                </p:cNvPr>
                <p:cNvGrpSpPr/>
                <p:nvPr/>
              </p:nvGrpSpPr>
              <p:grpSpPr>
                <a:xfrm>
                  <a:off x="5849938" y="157163"/>
                  <a:ext cx="2789238" cy="2130426"/>
                  <a:chOff x="5849938" y="157163"/>
                  <a:chExt cx="2789238" cy="2130426"/>
                </a:xfrm>
              </p:grpSpPr>
              <p:sp>
                <p:nvSpPr>
                  <p:cNvPr id="107" name="Freeform 7">
                    <a:extLst>
                      <a:ext uri="{FF2B5EF4-FFF2-40B4-BE49-F238E27FC236}">
                        <a16:creationId xmlns:a16="http://schemas.microsoft.com/office/drawing/2014/main" id="{F82EAA14-2F59-456D-B7D7-1CE37F392A0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56288" y="157163"/>
                    <a:ext cx="2774950" cy="1662113"/>
                  </a:xfrm>
                  <a:custGeom>
                    <a:avLst/>
                    <a:gdLst/>
                    <a:ahLst/>
                    <a:cxnLst>
                      <a:cxn ang="0">
                        <a:pos x="154" y="72"/>
                      </a:cxn>
                      <a:cxn ang="0">
                        <a:pos x="621" y="92"/>
                      </a:cxn>
                      <a:cxn ang="0">
                        <a:pos x="586" y="372"/>
                      </a:cxn>
                      <a:cxn ang="0">
                        <a:pos x="119" y="351"/>
                      </a:cxn>
                      <a:cxn ang="0">
                        <a:pos x="154" y="72"/>
                      </a:cxn>
                    </a:cxnLst>
                    <a:rect l="0" t="0" r="r" b="b"/>
                    <a:pathLst>
                      <a:path w="740" h="443">
                        <a:moveTo>
                          <a:pt x="154" y="72"/>
                        </a:moveTo>
                        <a:cubicBezTo>
                          <a:pt x="293" y="0"/>
                          <a:pt x="501" y="10"/>
                          <a:pt x="621" y="92"/>
                        </a:cubicBezTo>
                        <a:cubicBezTo>
                          <a:pt x="740" y="175"/>
                          <a:pt x="724" y="300"/>
                          <a:pt x="586" y="372"/>
                        </a:cubicBezTo>
                        <a:cubicBezTo>
                          <a:pt x="447" y="443"/>
                          <a:pt x="239" y="433"/>
                          <a:pt x="119" y="351"/>
                        </a:cubicBezTo>
                        <a:cubicBezTo>
                          <a:pt x="0" y="268"/>
                          <a:pt x="16" y="143"/>
                          <a:pt x="154" y="72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135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108" name="Freeform 8">
                    <a:extLst>
                      <a:ext uri="{FF2B5EF4-FFF2-40B4-BE49-F238E27FC236}">
                        <a16:creationId xmlns:a16="http://schemas.microsoft.com/office/drawing/2014/main" id="{3CA27DF8-1C06-4212-B3D0-06055FE55DF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908676" y="187326"/>
                    <a:ext cx="2670175" cy="1601788"/>
                  </a:xfrm>
                  <a:custGeom>
                    <a:avLst/>
                    <a:gdLst/>
                    <a:ahLst/>
                    <a:cxnLst>
                      <a:cxn ang="0">
                        <a:pos x="148" y="69"/>
                      </a:cxn>
                      <a:cxn ang="0">
                        <a:pos x="597" y="89"/>
                      </a:cxn>
                      <a:cxn ang="0">
                        <a:pos x="564" y="358"/>
                      </a:cxn>
                      <a:cxn ang="0">
                        <a:pos x="115" y="338"/>
                      </a:cxn>
                      <a:cxn ang="0">
                        <a:pos x="148" y="69"/>
                      </a:cxn>
                    </a:cxnLst>
                    <a:rect l="0" t="0" r="r" b="b"/>
                    <a:pathLst>
                      <a:path w="712" h="427">
                        <a:moveTo>
                          <a:pt x="148" y="69"/>
                        </a:moveTo>
                        <a:cubicBezTo>
                          <a:pt x="282" y="0"/>
                          <a:pt x="483" y="9"/>
                          <a:pt x="597" y="89"/>
                        </a:cubicBezTo>
                        <a:cubicBezTo>
                          <a:pt x="712" y="169"/>
                          <a:pt x="697" y="289"/>
                          <a:pt x="564" y="358"/>
                        </a:cubicBezTo>
                        <a:cubicBezTo>
                          <a:pt x="431" y="427"/>
                          <a:pt x="229" y="418"/>
                          <a:pt x="115" y="338"/>
                        </a:cubicBezTo>
                        <a:cubicBezTo>
                          <a:pt x="0" y="258"/>
                          <a:pt x="15" y="138"/>
                          <a:pt x="148" y="69"/>
                        </a:cubicBezTo>
                        <a:close/>
                      </a:path>
                    </a:pathLst>
                  </a:custGeom>
                  <a:solidFill>
                    <a:srgbClr val="FDD284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109" name="Freeform 9">
                    <a:extLst>
                      <a:ext uri="{FF2B5EF4-FFF2-40B4-BE49-F238E27FC236}">
                        <a16:creationId xmlns:a16="http://schemas.microsoft.com/office/drawing/2014/main" id="{58146ACD-F64F-490D-A6F8-0BD4FC80478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648451" y="588963"/>
                    <a:ext cx="1187450" cy="801688"/>
                  </a:xfrm>
                  <a:custGeom>
                    <a:avLst/>
                    <a:gdLst/>
                    <a:ahLst/>
                    <a:cxnLst>
                      <a:cxn ang="0">
                        <a:pos x="268" y="211"/>
                      </a:cxn>
                      <a:cxn ang="0">
                        <a:pos x="238" y="190"/>
                      </a:cxn>
                      <a:cxn ang="0">
                        <a:pos x="157" y="214"/>
                      </a:cxn>
                      <a:cxn ang="0">
                        <a:pos x="124" y="177"/>
                      </a:cxn>
                      <a:cxn ang="0">
                        <a:pos x="205" y="153"/>
                      </a:cxn>
                      <a:cxn ang="0">
                        <a:pos x="223" y="125"/>
                      </a:cxn>
                      <a:cxn ang="0">
                        <a:pos x="160" y="129"/>
                      </a:cxn>
                      <a:cxn ang="0">
                        <a:pos x="29" y="123"/>
                      </a:cxn>
                      <a:cxn ang="0">
                        <a:pos x="35" y="46"/>
                      </a:cxn>
                      <a:cxn ang="0">
                        <a:pos x="5" y="25"/>
                      </a:cxn>
                      <a:cxn ang="0">
                        <a:pos x="48" y="3"/>
                      </a:cxn>
                      <a:cxn ang="0">
                        <a:pos x="76" y="23"/>
                      </a:cxn>
                      <a:cxn ang="0">
                        <a:pos x="143" y="0"/>
                      </a:cxn>
                      <a:cxn ang="0">
                        <a:pos x="174" y="37"/>
                      </a:cxn>
                      <a:cxn ang="0">
                        <a:pos x="106" y="58"/>
                      </a:cxn>
                      <a:cxn ang="0">
                        <a:pos x="91" y="83"/>
                      </a:cxn>
                      <a:cxn ang="0">
                        <a:pos x="160" y="77"/>
                      </a:cxn>
                      <a:cxn ang="0">
                        <a:pos x="286" y="86"/>
                      </a:cxn>
                      <a:cxn ang="0">
                        <a:pos x="278" y="165"/>
                      </a:cxn>
                      <a:cxn ang="0">
                        <a:pos x="311" y="188"/>
                      </a:cxn>
                      <a:cxn ang="0">
                        <a:pos x="268" y="211"/>
                      </a:cxn>
                    </a:cxnLst>
                    <a:rect l="0" t="0" r="r" b="b"/>
                    <a:pathLst>
                      <a:path w="317" h="214">
                        <a:moveTo>
                          <a:pt x="268" y="211"/>
                        </a:moveTo>
                        <a:cubicBezTo>
                          <a:pt x="238" y="190"/>
                          <a:pt x="238" y="190"/>
                          <a:pt x="238" y="190"/>
                        </a:cubicBezTo>
                        <a:cubicBezTo>
                          <a:pt x="210" y="202"/>
                          <a:pt x="178" y="211"/>
                          <a:pt x="157" y="214"/>
                        </a:cubicBezTo>
                        <a:cubicBezTo>
                          <a:pt x="124" y="177"/>
                          <a:pt x="124" y="177"/>
                          <a:pt x="124" y="177"/>
                        </a:cubicBezTo>
                        <a:cubicBezTo>
                          <a:pt x="149" y="173"/>
                          <a:pt x="179" y="166"/>
                          <a:pt x="205" y="153"/>
                        </a:cubicBezTo>
                        <a:cubicBezTo>
                          <a:pt x="224" y="143"/>
                          <a:pt x="233" y="132"/>
                          <a:pt x="223" y="125"/>
                        </a:cubicBezTo>
                        <a:cubicBezTo>
                          <a:pt x="213" y="118"/>
                          <a:pt x="196" y="120"/>
                          <a:pt x="160" y="129"/>
                        </a:cubicBezTo>
                        <a:cubicBezTo>
                          <a:pt x="108" y="142"/>
                          <a:pt x="62" y="146"/>
                          <a:pt x="29" y="123"/>
                        </a:cubicBezTo>
                        <a:cubicBezTo>
                          <a:pt x="0" y="102"/>
                          <a:pt x="0" y="74"/>
                          <a:pt x="35" y="46"/>
                        </a:cubicBezTo>
                        <a:cubicBezTo>
                          <a:pt x="5" y="25"/>
                          <a:pt x="5" y="25"/>
                          <a:pt x="5" y="25"/>
                        </a:cubicBezTo>
                        <a:cubicBezTo>
                          <a:pt x="48" y="3"/>
                          <a:pt x="48" y="3"/>
                          <a:pt x="48" y="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102" y="10"/>
                          <a:pt x="125" y="4"/>
                          <a:pt x="143" y="0"/>
                        </a:cubicBezTo>
                        <a:cubicBezTo>
                          <a:pt x="174" y="37"/>
                          <a:pt x="174" y="37"/>
                          <a:pt x="174" y="37"/>
                        </a:cubicBezTo>
                        <a:cubicBezTo>
                          <a:pt x="161" y="39"/>
                          <a:pt x="135" y="44"/>
                          <a:pt x="106" y="58"/>
                        </a:cubicBezTo>
                        <a:cubicBezTo>
                          <a:pt x="84" y="70"/>
                          <a:pt x="84" y="78"/>
                          <a:pt x="91" y="83"/>
                        </a:cubicBezTo>
                        <a:cubicBezTo>
                          <a:pt x="99" y="89"/>
                          <a:pt x="118" y="86"/>
                          <a:pt x="160" y="77"/>
                        </a:cubicBezTo>
                        <a:cubicBezTo>
                          <a:pt x="221" y="61"/>
                          <a:pt x="257" y="65"/>
                          <a:pt x="286" y="86"/>
                        </a:cubicBezTo>
                        <a:cubicBezTo>
                          <a:pt x="317" y="107"/>
                          <a:pt x="316" y="137"/>
                          <a:pt x="278" y="165"/>
                        </a:cubicBezTo>
                        <a:cubicBezTo>
                          <a:pt x="311" y="188"/>
                          <a:pt x="311" y="188"/>
                          <a:pt x="311" y="188"/>
                        </a:cubicBezTo>
                        <a:lnTo>
                          <a:pt x="268" y="211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189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110" name="Freeform 10">
                    <a:extLst>
                      <a:ext uri="{FF2B5EF4-FFF2-40B4-BE49-F238E27FC236}">
                        <a16:creationId xmlns:a16="http://schemas.microsoft.com/office/drawing/2014/main" id="{DBA53095-32A7-4213-A535-F6F0854DC1D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49938" y="1057276"/>
                    <a:ext cx="2789238" cy="1230313"/>
                  </a:xfrm>
                  <a:custGeom>
                    <a:avLst/>
                    <a:gdLst/>
                    <a:ahLst/>
                    <a:cxnLst>
                      <a:cxn ang="0">
                        <a:pos x="741" y="56"/>
                      </a:cxn>
                      <a:cxn ang="0">
                        <a:pos x="741" y="0"/>
                      </a:cxn>
                      <a:cxn ang="0">
                        <a:pos x="733" y="28"/>
                      </a:cxn>
                      <a:cxn ang="0">
                        <a:pos x="614" y="145"/>
                      </a:cxn>
                      <a:cxn ang="0">
                        <a:pos x="91" y="121"/>
                      </a:cxn>
                      <a:cxn ang="0">
                        <a:pos x="11" y="28"/>
                      </a:cxn>
                      <a:cxn ang="0">
                        <a:pos x="3" y="0"/>
                      </a:cxn>
                      <a:cxn ang="0">
                        <a:pos x="3" y="56"/>
                      </a:cxn>
                      <a:cxn ang="0">
                        <a:pos x="3" y="103"/>
                      </a:cxn>
                      <a:cxn ang="0">
                        <a:pos x="91" y="224"/>
                      </a:cxn>
                      <a:cxn ang="0">
                        <a:pos x="614" y="248"/>
                      </a:cxn>
                      <a:cxn ang="0">
                        <a:pos x="741" y="103"/>
                      </a:cxn>
                      <a:cxn ang="0">
                        <a:pos x="741" y="56"/>
                      </a:cxn>
                    </a:cxnLst>
                    <a:rect l="0" t="0" r="r" b="b"/>
                    <a:pathLst>
                      <a:path w="744" h="328">
                        <a:moveTo>
                          <a:pt x="741" y="56"/>
                        </a:moveTo>
                        <a:cubicBezTo>
                          <a:pt x="741" y="0"/>
                          <a:pt x="741" y="0"/>
                          <a:pt x="741" y="0"/>
                        </a:cubicBezTo>
                        <a:cubicBezTo>
                          <a:pt x="739" y="9"/>
                          <a:pt x="737" y="18"/>
                          <a:pt x="733" y="28"/>
                        </a:cubicBezTo>
                        <a:cubicBezTo>
                          <a:pt x="716" y="72"/>
                          <a:pt x="676" y="113"/>
                          <a:pt x="614" y="145"/>
                        </a:cubicBezTo>
                        <a:cubicBezTo>
                          <a:pt x="459" y="225"/>
                          <a:pt x="225" y="214"/>
                          <a:pt x="91" y="121"/>
                        </a:cubicBezTo>
                        <a:cubicBezTo>
                          <a:pt x="51" y="93"/>
                          <a:pt x="24" y="61"/>
                          <a:pt x="11" y="28"/>
                        </a:cubicBezTo>
                        <a:cubicBezTo>
                          <a:pt x="7" y="19"/>
                          <a:pt x="5" y="9"/>
                          <a:pt x="3" y="0"/>
                        </a:cubicBezTo>
                        <a:cubicBezTo>
                          <a:pt x="3" y="56"/>
                          <a:pt x="3" y="56"/>
                          <a:pt x="3" y="56"/>
                        </a:cubicBezTo>
                        <a:cubicBezTo>
                          <a:pt x="0" y="72"/>
                          <a:pt x="0" y="87"/>
                          <a:pt x="3" y="103"/>
                        </a:cubicBezTo>
                        <a:cubicBezTo>
                          <a:pt x="11" y="146"/>
                          <a:pt x="40" y="189"/>
                          <a:pt x="91" y="224"/>
                        </a:cubicBezTo>
                        <a:cubicBezTo>
                          <a:pt x="225" y="317"/>
                          <a:pt x="459" y="328"/>
                          <a:pt x="614" y="248"/>
                        </a:cubicBezTo>
                        <a:cubicBezTo>
                          <a:pt x="689" y="209"/>
                          <a:pt x="731" y="157"/>
                          <a:pt x="741" y="103"/>
                        </a:cubicBezTo>
                        <a:cubicBezTo>
                          <a:pt x="744" y="87"/>
                          <a:pt x="744" y="71"/>
                          <a:pt x="741" y="56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CC6600"/>
                      </a:gs>
                    </a:gsLst>
                    <a:lin ang="162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111" name="Freeform 11">
                    <a:extLst>
                      <a:ext uri="{FF2B5EF4-FFF2-40B4-BE49-F238E27FC236}">
                        <a16:creationId xmlns:a16="http://schemas.microsoft.com/office/drawing/2014/main" id="{68BDC819-C7BE-472F-A1AC-3B60C2768D6A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913438" y="1236663"/>
                    <a:ext cx="2665413" cy="893763"/>
                  </a:xfrm>
                  <a:custGeom>
                    <a:avLst/>
                    <a:gdLst/>
                    <a:ahLst/>
                    <a:cxnLst>
                      <a:cxn ang="0">
                        <a:pos x="569" y="197"/>
                      </a:cxn>
                      <a:cxn ang="0">
                        <a:pos x="541" y="130"/>
                      </a:cxn>
                      <a:cxn ang="0">
                        <a:pos x="486" y="224"/>
                      </a:cxn>
                      <a:cxn ang="0">
                        <a:pos x="517" y="138"/>
                      </a:cxn>
                      <a:cxn ang="0">
                        <a:pos x="486" y="224"/>
                      </a:cxn>
                      <a:cxn ang="0">
                        <a:pos x="592" y="187"/>
                      </a:cxn>
                      <a:cxn ang="0">
                        <a:pos x="618" y="173"/>
                      </a:cxn>
                      <a:cxn ang="0">
                        <a:pos x="597" y="106"/>
                      </a:cxn>
                      <a:cxn ang="0">
                        <a:pos x="367" y="238"/>
                      </a:cxn>
                      <a:cxn ang="0">
                        <a:pos x="402" y="158"/>
                      </a:cxn>
                      <a:cxn ang="0">
                        <a:pos x="367" y="238"/>
                      </a:cxn>
                      <a:cxn ang="0">
                        <a:pos x="461" y="229"/>
                      </a:cxn>
                      <a:cxn ang="0">
                        <a:pos x="428" y="155"/>
                      </a:cxn>
                      <a:cxn ang="0">
                        <a:pos x="690" y="33"/>
                      </a:cxn>
                      <a:cxn ang="0">
                        <a:pos x="711" y="78"/>
                      </a:cxn>
                      <a:cxn ang="0">
                        <a:pos x="690" y="33"/>
                      </a:cxn>
                      <a:cxn ang="0">
                        <a:pos x="668" y="135"/>
                      </a:cxn>
                      <a:cxn ang="0">
                        <a:pos x="645" y="76"/>
                      </a:cxn>
                      <a:cxn ang="0">
                        <a:pos x="310" y="236"/>
                      </a:cxn>
                      <a:cxn ang="0">
                        <a:pos x="345" y="160"/>
                      </a:cxn>
                      <a:cxn ang="0">
                        <a:pos x="310" y="236"/>
                      </a:cxn>
                      <a:cxn ang="0">
                        <a:pos x="170" y="209"/>
                      </a:cxn>
                      <a:cxn ang="0">
                        <a:pos x="142" y="120"/>
                      </a:cxn>
                      <a:cxn ang="0">
                        <a:pos x="0" y="81"/>
                      </a:cxn>
                      <a:cxn ang="0">
                        <a:pos x="21" y="35"/>
                      </a:cxn>
                      <a:cxn ang="0">
                        <a:pos x="0" y="81"/>
                      </a:cxn>
                      <a:cxn ang="0">
                        <a:pos x="67" y="156"/>
                      </a:cxn>
                      <a:cxn ang="0">
                        <a:pos x="43" y="58"/>
                      </a:cxn>
                      <a:cxn ang="0">
                        <a:pos x="251" y="229"/>
                      </a:cxn>
                      <a:cxn ang="0">
                        <a:pos x="284" y="156"/>
                      </a:cxn>
                      <a:cxn ang="0">
                        <a:pos x="251" y="229"/>
                      </a:cxn>
                      <a:cxn ang="0">
                        <a:pos x="120" y="188"/>
                      </a:cxn>
                      <a:cxn ang="0">
                        <a:pos x="94" y="95"/>
                      </a:cxn>
                      <a:cxn ang="0">
                        <a:pos x="195" y="216"/>
                      </a:cxn>
                      <a:cxn ang="0">
                        <a:pos x="225" y="146"/>
                      </a:cxn>
                      <a:cxn ang="0">
                        <a:pos x="195" y="216"/>
                      </a:cxn>
                    </a:cxnLst>
                    <a:rect l="0" t="0" r="r" b="b"/>
                    <a:pathLst>
                      <a:path w="711" h="238">
                        <a:moveTo>
                          <a:pt x="541" y="208"/>
                        </a:moveTo>
                        <a:cubicBezTo>
                          <a:pt x="551" y="205"/>
                          <a:pt x="560" y="201"/>
                          <a:pt x="569" y="197"/>
                        </a:cubicBezTo>
                        <a:cubicBezTo>
                          <a:pt x="569" y="119"/>
                          <a:pt x="569" y="119"/>
                          <a:pt x="569" y="119"/>
                        </a:cubicBezTo>
                        <a:cubicBezTo>
                          <a:pt x="560" y="123"/>
                          <a:pt x="551" y="126"/>
                          <a:pt x="541" y="130"/>
                        </a:cubicBezTo>
                        <a:lnTo>
                          <a:pt x="541" y="208"/>
                        </a:lnTo>
                        <a:close/>
                        <a:moveTo>
                          <a:pt x="486" y="224"/>
                        </a:moveTo>
                        <a:cubicBezTo>
                          <a:pt x="497" y="221"/>
                          <a:pt x="507" y="219"/>
                          <a:pt x="517" y="216"/>
                        </a:cubicBezTo>
                        <a:cubicBezTo>
                          <a:pt x="517" y="138"/>
                          <a:pt x="517" y="138"/>
                          <a:pt x="517" y="138"/>
                        </a:cubicBezTo>
                        <a:cubicBezTo>
                          <a:pt x="507" y="140"/>
                          <a:pt x="497" y="143"/>
                          <a:pt x="486" y="145"/>
                        </a:cubicBezTo>
                        <a:lnTo>
                          <a:pt x="486" y="224"/>
                        </a:lnTo>
                        <a:close/>
                        <a:moveTo>
                          <a:pt x="592" y="109"/>
                        </a:moveTo>
                        <a:cubicBezTo>
                          <a:pt x="592" y="187"/>
                          <a:pt x="592" y="187"/>
                          <a:pt x="592" y="187"/>
                        </a:cubicBezTo>
                        <a:cubicBezTo>
                          <a:pt x="594" y="186"/>
                          <a:pt x="595" y="185"/>
                          <a:pt x="597" y="184"/>
                        </a:cubicBezTo>
                        <a:cubicBezTo>
                          <a:pt x="604" y="180"/>
                          <a:pt x="611" y="177"/>
                          <a:pt x="618" y="173"/>
                        </a:cubicBezTo>
                        <a:cubicBezTo>
                          <a:pt x="618" y="94"/>
                          <a:pt x="618" y="94"/>
                          <a:pt x="618" y="94"/>
                        </a:cubicBezTo>
                        <a:cubicBezTo>
                          <a:pt x="611" y="98"/>
                          <a:pt x="604" y="102"/>
                          <a:pt x="597" y="106"/>
                        </a:cubicBezTo>
                        <a:cubicBezTo>
                          <a:pt x="595" y="107"/>
                          <a:pt x="594" y="108"/>
                          <a:pt x="592" y="109"/>
                        </a:cubicBezTo>
                        <a:close/>
                        <a:moveTo>
                          <a:pt x="367" y="238"/>
                        </a:moveTo>
                        <a:cubicBezTo>
                          <a:pt x="378" y="238"/>
                          <a:pt x="390" y="237"/>
                          <a:pt x="402" y="236"/>
                        </a:cubicBezTo>
                        <a:cubicBezTo>
                          <a:pt x="402" y="158"/>
                          <a:pt x="402" y="158"/>
                          <a:pt x="402" y="158"/>
                        </a:cubicBezTo>
                        <a:cubicBezTo>
                          <a:pt x="390" y="159"/>
                          <a:pt x="378" y="159"/>
                          <a:pt x="367" y="160"/>
                        </a:cubicBezTo>
                        <a:lnTo>
                          <a:pt x="367" y="238"/>
                        </a:lnTo>
                        <a:close/>
                        <a:moveTo>
                          <a:pt x="428" y="234"/>
                        </a:moveTo>
                        <a:cubicBezTo>
                          <a:pt x="439" y="232"/>
                          <a:pt x="450" y="231"/>
                          <a:pt x="461" y="229"/>
                        </a:cubicBezTo>
                        <a:cubicBezTo>
                          <a:pt x="461" y="151"/>
                          <a:pt x="461" y="151"/>
                          <a:pt x="461" y="151"/>
                        </a:cubicBezTo>
                        <a:cubicBezTo>
                          <a:pt x="450" y="153"/>
                          <a:pt x="439" y="154"/>
                          <a:pt x="428" y="155"/>
                        </a:cubicBezTo>
                        <a:lnTo>
                          <a:pt x="428" y="234"/>
                        </a:lnTo>
                        <a:close/>
                        <a:moveTo>
                          <a:pt x="690" y="33"/>
                        </a:moveTo>
                        <a:cubicBezTo>
                          <a:pt x="690" y="111"/>
                          <a:pt x="690" y="111"/>
                          <a:pt x="690" y="111"/>
                        </a:cubicBezTo>
                        <a:cubicBezTo>
                          <a:pt x="699" y="101"/>
                          <a:pt x="706" y="89"/>
                          <a:pt x="711" y="78"/>
                        </a:cubicBezTo>
                        <a:cubicBezTo>
                          <a:pt x="711" y="0"/>
                          <a:pt x="711" y="0"/>
                          <a:pt x="711" y="0"/>
                        </a:cubicBezTo>
                        <a:cubicBezTo>
                          <a:pt x="706" y="11"/>
                          <a:pt x="699" y="22"/>
                          <a:pt x="690" y="33"/>
                        </a:cubicBezTo>
                        <a:close/>
                        <a:moveTo>
                          <a:pt x="645" y="155"/>
                        </a:moveTo>
                        <a:cubicBezTo>
                          <a:pt x="653" y="148"/>
                          <a:pt x="661" y="142"/>
                          <a:pt x="668" y="135"/>
                        </a:cubicBezTo>
                        <a:cubicBezTo>
                          <a:pt x="668" y="57"/>
                          <a:pt x="668" y="57"/>
                          <a:pt x="668" y="57"/>
                        </a:cubicBezTo>
                        <a:cubicBezTo>
                          <a:pt x="661" y="63"/>
                          <a:pt x="653" y="70"/>
                          <a:pt x="645" y="76"/>
                        </a:cubicBezTo>
                        <a:lnTo>
                          <a:pt x="645" y="155"/>
                        </a:lnTo>
                        <a:close/>
                        <a:moveTo>
                          <a:pt x="310" y="236"/>
                        </a:moveTo>
                        <a:cubicBezTo>
                          <a:pt x="321" y="237"/>
                          <a:pt x="333" y="238"/>
                          <a:pt x="345" y="238"/>
                        </a:cubicBezTo>
                        <a:cubicBezTo>
                          <a:pt x="345" y="160"/>
                          <a:pt x="345" y="160"/>
                          <a:pt x="345" y="160"/>
                        </a:cubicBezTo>
                        <a:cubicBezTo>
                          <a:pt x="333" y="159"/>
                          <a:pt x="321" y="159"/>
                          <a:pt x="310" y="158"/>
                        </a:cubicBezTo>
                        <a:lnTo>
                          <a:pt x="310" y="236"/>
                        </a:lnTo>
                        <a:close/>
                        <a:moveTo>
                          <a:pt x="142" y="198"/>
                        </a:moveTo>
                        <a:cubicBezTo>
                          <a:pt x="151" y="202"/>
                          <a:pt x="161" y="205"/>
                          <a:pt x="170" y="209"/>
                        </a:cubicBezTo>
                        <a:cubicBezTo>
                          <a:pt x="170" y="130"/>
                          <a:pt x="170" y="130"/>
                          <a:pt x="170" y="130"/>
                        </a:cubicBezTo>
                        <a:cubicBezTo>
                          <a:pt x="161" y="127"/>
                          <a:pt x="151" y="123"/>
                          <a:pt x="142" y="120"/>
                        </a:cubicBezTo>
                        <a:lnTo>
                          <a:pt x="142" y="198"/>
                        </a:lnTo>
                        <a:close/>
                        <a:moveTo>
                          <a:pt x="0" y="81"/>
                        </a:moveTo>
                        <a:cubicBezTo>
                          <a:pt x="6" y="92"/>
                          <a:pt x="13" y="103"/>
                          <a:pt x="21" y="113"/>
                        </a:cubicBezTo>
                        <a:cubicBezTo>
                          <a:pt x="21" y="35"/>
                          <a:pt x="21" y="35"/>
                          <a:pt x="21" y="35"/>
                        </a:cubicBezTo>
                        <a:cubicBezTo>
                          <a:pt x="13" y="25"/>
                          <a:pt x="6" y="14"/>
                          <a:pt x="0" y="3"/>
                        </a:cubicBezTo>
                        <a:lnTo>
                          <a:pt x="0" y="81"/>
                        </a:lnTo>
                        <a:close/>
                        <a:moveTo>
                          <a:pt x="43" y="136"/>
                        </a:moveTo>
                        <a:cubicBezTo>
                          <a:pt x="50" y="143"/>
                          <a:pt x="58" y="149"/>
                          <a:pt x="67" y="156"/>
                        </a:cubicBezTo>
                        <a:cubicBezTo>
                          <a:pt x="67" y="77"/>
                          <a:pt x="67" y="77"/>
                          <a:pt x="67" y="77"/>
                        </a:cubicBezTo>
                        <a:cubicBezTo>
                          <a:pt x="58" y="71"/>
                          <a:pt x="50" y="65"/>
                          <a:pt x="43" y="58"/>
                        </a:cubicBezTo>
                        <a:lnTo>
                          <a:pt x="43" y="136"/>
                        </a:lnTo>
                        <a:close/>
                        <a:moveTo>
                          <a:pt x="251" y="229"/>
                        </a:moveTo>
                        <a:cubicBezTo>
                          <a:pt x="262" y="231"/>
                          <a:pt x="273" y="233"/>
                          <a:pt x="284" y="234"/>
                        </a:cubicBezTo>
                        <a:cubicBezTo>
                          <a:pt x="284" y="156"/>
                          <a:pt x="284" y="156"/>
                          <a:pt x="284" y="156"/>
                        </a:cubicBezTo>
                        <a:cubicBezTo>
                          <a:pt x="273" y="154"/>
                          <a:pt x="262" y="153"/>
                          <a:pt x="251" y="151"/>
                        </a:cubicBezTo>
                        <a:lnTo>
                          <a:pt x="251" y="229"/>
                        </a:lnTo>
                        <a:close/>
                        <a:moveTo>
                          <a:pt x="94" y="174"/>
                        </a:moveTo>
                        <a:cubicBezTo>
                          <a:pt x="102" y="179"/>
                          <a:pt x="111" y="183"/>
                          <a:pt x="120" y="188"/>
                        </a:cubicBezTo>
                        <a:cubicBezTo>
                          <a:pt x="120" y="109"/>
                          <a:pt x="120" y="109"/>
                          <a:pt x="120" y="109"/>
                        </a:cubicBezTo>
                        <a:cubicBezTo>
                          <a:pt x="111" y="105"/>
                          <a:pt x="102" y="100"/>
                          <a:pt x="94" y="95"/>
                        </a:cubicBezTo>
                        <a:lnTo>
                          <a:pt x="94" y="174"/>
                        </a:lnTo>
                        <a:close/>
                        <a:moveTo>
                          <a:pt x="195" y="216"/>
                        </a:moveTo>
                        <a:cubicBezTo>
                          <a:pt x="205" y="219"/>
                          <a:pt x="215" y="222"/>
                          <a:pt x="225" y="224"/>
                        </a:cubicBezTo>
                        <a:cubicBezTo>
                          <a:pt x="225" y="146"/>
                          <a:pt x="225" y="146"/>
                          <a:pt x="225" y="146"/>
                        </a:cubicBezTo>
                        <a:cubicBezTo>
                          <a:pt x="215" y="143"/>
                          <a:pt x="205" y="141"/>
                          <a:pt x="195" y="138"/>
                        </a:cubicBezTo>
                        <a:lnTo>
                          <a:pt x="195" y="216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54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</p:grpSp>
          </p:grpSp>
          <p:grpSp>
            <p:nvGrpSpPr>
              <p:cNvPr id="89" name="Gruppieren 120">
                <a:extLst>
                  <a:ext uri="{FF2B5EF4-FFF2-40B4-BE49-F238E27FC236}">
                    <a16:creationId xmlns:a16="http://schemas.microsoft.com/office/drawing/2014/main" id="{4BBF47D3-DCD6-4353-822A-A7089CCA76AF}"/>
                  </a:ext>
                </a:extLst>
              </p:cNvPr>
              <p:cNvGrpSpPr/>
              <p:nvPr/>
            </p:nvGrpSpPr>
            <p:grpSpPr>
              <a:xfrm>
                <a:off x="3094669" y="2256414"/>
                <a:ext cx="781440" cy="559766"/>
                <a:chOff x="5688013" y="58738"/>
                <a:chExt cx="3111500" cy="2228851"/>
              </a:xfrm>
            </p:grpSpPr>
            <p:sp>
              <p:nvSpPr>
                <p:cNvPr id="98" name="Freeform 6">
                  <a:extLst>
                    <a:ext uri="{FF2B5EF4-FFF2-40B4-BE49-F238E27FC236}">
                      <a16:creationId xmlns:a16="http://schemas.microsoft.com/office/drawing/2014/main" id="{CEAB9393-2C73-496A-872A-891ACA138B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88013" y="58738"/>
                  <a:ext cx="3111500" cy="1865313"/>
                </a:xfrm>
                <a:custGeom>
                  <a:avLst/>
                  <a:gdLst/>
                  <a:ahLst/>
                  <a:cxnLst>
                    <a:cxn ang="0">
                      <a:pos x="134" y="393"/>
                    </a:cxn>
                    <a:cxn ang="0">
                      <a:pos x="173" y="80"/>
                    </a:cxn>
                    <a:cxn ang="0">
                      <a:pos x="696" y="104"/>
                    </a:cxn>
                    <a:cxn ang="0">
                      <a:pos x="657" y="417"/>
                    </a:cxn>
                    <a:cxn ang="0">
                      <a:pos x="134" y="393"/>
                    </a:cxn>
                  </a:cxnLst>
                  <a:rect l="0" t="0" r="r" b="b"/>
                  <a:pathLst>
                    <a:path w="830" h="497">
                      <a:moveTo>
                        <a:pt x="134" y="393"/>
                      </a:moveTo>
                      <a:cubicBezTo>
                        <a:pt x="0" y="300"/>
                        <a:pt x="18" y="160"/>
                        <a:pt x="173" y="80"/>
                      </a:cubicBezTo>
                      <a:cubicBezTo>
                        <a:pt x="328" y="0"/>
                        <a:pt x="563" y="11"/>
                        <a:pt x="696" y="104"/>
                      </a:cubicBezTo>
                      <a:cubicBezTo>
                        <a:pt x="830" y="197"/>
                        <a:pt x="812" y="337"/>
                        <a:pt x="657" y="417"/>
                      </a:cubicBezTo>
                      <a:cubicBezTo>
                        <a:pt x="502" y="497"/>
                        <a:pt x="268" y="486"/>
                        <a:pt x="134" y="39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0810E"/>
                    </a:gs>
                    <a:gs pos="100000">
                      <a:srgbClr val="FFC000"/>
                    </a:gs>
                  </a:gsLst>
                  <a:lin ang="0" scaled="1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1615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GB" sz="1575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endParaRPr>
                </a:p>
              </p:txBody>
            </p:sp>
            <p:grpSp>
              <p:nvGrpSpPr>
                <p:cNvPr id="99" name="Gruppieren 62">
                  <a:extLst>
                    <a:ext uri="{FF2B5EF4-FFF2-40B4-BE49-F238E27FC236}">
                      <a16:creationId xmlns:a16="http://schemas.microsoft.com/office/drawing/2014/main" id="{3F7D4D09-E38B-4D4B-ACD8-B5FDF394FFAB}"/>
                    </a:ext>
                  </a:extLst>
                </p:cNvPr>
                <p:cNvGrpSpPr/>
                <p:nvPr/>
              </p:nvGrpSpPr>
              <p:grpSpPr>
                <a:xfrm>
                  <a:off x="5849938" y="157163"/>
                  <a:ext cx="2789238" cy="2130426"/>
                  <a:chOff x="5849938" y="157163"/>
                  <a:chExt cx="2789238" cy="2130426"/>
                </a:xfrm>
              </p:grpSpPr>
              <p:sp>
                <p:nvSpPr>
                  <p:cNvPr id="100" name="Freeform 7">
                    <a:extLst>
                      <a:ext uri="{FF2B5EF4-FFF2-40B4-BE49-F238E27FC236}">
                        <a16:creationId xmlns:a16="http://schemas.microsoft.com/office/drawing/2014/main" id="{AD7077FA-0B46-4F9E-A4F5-35353087DDC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56288" y="157163"/>
                    <a:ext cx="2774950" cy="1662113"/>
                  </a:xfrm>
                  <a:custGeom>
                    <a:avLst/>
                    <a:gdLst/>
                    <a:ahLst/>
                    <a:cxnLst>
                      <a:cxn ang="0">
                        <a:pos x="154" y="72"/>
                      </a:cxn>
                      <a:cxn ang="0">
                        <a:pos x="621" y="92"/>
                      </a:cxn>
                      <a:cxn ang="0">
                        <a:pos x="586" y="372"/>
                      </a:cxn>
                      <a:cxn ang="0">
                        <a:pos x="119" y="351"/>
                      </a:cxn>
                      <a:cxn ang="0">
                        <a:pos x="154" y="72"/>
                      </a:cxn>
                    </a:cxnLst>
                    <a:rect l="0" t="0" r="r" b="b"/>
                    <a:pathLst>
                      <a:path w="740" h="443">
                        <a:moveTo>
                          <a:pt x="154" y="72"/>
                        </a:moveTo>
                        <a:cubicBezTo>
                          <a:pt x="293" y="0"/>
                          <a:pt x="501" y="10"/>
                          <a:pt x="621" y="92"/>
                        </a:cubicBezTo>
                        <a:cubicBezTo>
                          <a:pt x="740" y="175"/>
                          <a:pt x="724" y="300"/>
                          <a:pt x="586" y="372"/>
                        </a:cubicBezTo>
                        <a:cubicBezTo>
                          <a:pt x="447" y="443"/>
                          <a:pt x="239" y="433"/>
                          <a:pt x="119" y="351"/>
                        </a:cubicBezTo>
                        <a:cubicBezTo>
                          <a:pt x="0" y="268"/>
                          <a:pt x="16" y="143"/>
                          <a:pt x="154" y="72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135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101" name="Freeform 8">
                    <a:extLst>
                      <a:ext uri="{FF2B5EF4-FFF2-40B4-BE49-F238E27FC236}">
                        <a16:creationId xmlns:a16="http://schemas.microsoft.com/office/drawing/2014/main" id="{474192A3-A591-43A5-9E97-85FE55072B9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908676" y="187326"/>
                    <a:ext cx="2670175" cy="1601788"/>
                  </a:xfrm>
                  <a:custGeom>
                    <a:avLst/>
                    <a:gdLst/>
                    <a:ahLst/>
                    <a:cxnLst>
                      <a:cxn ang="0">
                        <a:pos x="148" y="69"/>
                      </a:cxn>
                      <a:cxn ang="0">
                        <a:pos x="597" y="89"/>
                      </a:cxn>
                      <a:cxn ang="0">
                        <a:pos x="564" y="358"/>
                      </a:cxn>
                      <a:cxn ang="0">
                        <a:pos x="115" y="338"/>
                      </a:cxn>
                      <a:cxn ang="0">
                        <a:pos x="148" y="69"/>
                      </a:cxn>
                    </a:cxnLst>
                    <a:rect l="0" t="0" r="r" b="b"/>
                    <a:pathLst>
                      <a:path w="712" h="427">
                        <a:moveTo>
                          <a:pt x="148" y="69"/>
                        </a:moveTo>
                        <a:cubicBezTo>
                          <a:pt x="282" y="0"/>
                          <a:pt x="483" y="9"/>
                          <a:pt x="597" y="89"/>
                        </a:cubicBezTo>
                        <a:cubicBezTo>
                          <a:pt x="712" y="169"/>
                          <a:pt x="697" y="289"/>
                          <a:pt x="564" y="358"/>
                        </a:cubicBezTo>
                        <a:cubicBezTo>
                          <a:pt x="431" y="427"/>
                          <a:pt x="229" y="418"/>
                          <a:pt x="115" y="338"/>
                        </a:cubicBezTo>
                        <a:cubicBezTo>
                          <a:pt x="0" y="258"/>
                          <a:pt x="15" y="138"/>
                          <a:pt x="148" y="69"/>
                        </a:cubicBezTo>
                        <a:close/>
                      </a:path>
                    </a:pathLst>
                  </a:custGeom>
                  <a:solidFill>
                    <a:srgbClr val="FDD284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102" name="Freeform 9">
                    <a:extLst>
                      <a:ext uri="{FF2B5EF4-FFF2-40B4-BE49-F238E27FC236}">
                        <a16:creationId xmlns:a16="http://schemas.microsoft.com/office/drawing/2014/main" id="{56FB26E9-BB54-4FC6-9631-83EAF114738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648451" y="588963"/>
                    <a:ext cx="1187450" cy="801688"/>
                  </a:xfrm>
                  <a:custGeom>
                    <a:avLst/>
                    <a:gdLst/>
                    <a:ahLst/>
                    <a:cxnLst>
                      <a:cxn ang="0">
                        <a:pos x="268" y="211"/>
                      </a:cxn>
                      <a:cxn ang="0">
                        <a:pos x="238" y="190"/>
                      </a:cxn>
                      <a:cxn ang="0">
                        <a:pos x="157" y="214"/>
                      </a:cxn>
                      <a:cxn ang="0">
                        <a:pos x="124" y="177"/>
                      </a:cxn>
                      <a:cxn ang="0">
                        <a:pos x="205" y="153"/>
                      </a:cxn>
                      <a:cxn ang="0">
                        <a:pos x="223" y="125"/>
                      </a:cxn>
                      <a:cxn ang="0">
                        <a:pos x="160" y="129"/>
                      </a:cxn>
                      <a:cxn ang="0">
                        <a:pos x="29" y="123"/>
                      </a:cxn>
                      <a:cxn ang="0">
                        <a:pos x="35" y="46"/>
                      </a:cxn>
                      <a:cxn ang="0">
                        <a:pos x="5" y="25"/>
                      </a:cxn>
                      <a:cxn ang="0">
                        <a:pos x="48" y="3"/>
                      </a:cxn>
                      <a:cxn ang="0">
                        <a:pos x="76" y="23"/>
                      </a:cxn>
                      <a:cxn ang="0">
                        <a:pos x="143" y="0"/>
                      </a:cxn>
                      <a:cxn ang="0">
                        <a:pos x="174" y="37"/>
                      </a:cxn>
                      <a:cxn ang="0">
                        <a:pos x="106" y="58"/>
                      </a:cxn>
                      <a:cxn ang="0">
                        <a:pos x="91" y="83"/>
                      </a:cxn>
                      <a:cxn ang="0">
                        <a:pos x="160" y="77"/>
                      </a:cxn>
                      <a:cxn ang="0">
                        <a:pos x="286" y="86"/>
                      </a:cxn>
                      <a:cxn ang="0">
                        <a:pos x="278" y="165"/>
                      </a:cxn>
                      <a:cxn ang="0">
                        <a:pos x="311" y="188"/>
                      </a:cxn>
                      <a:cxn ang="0">
                        <a:pos x="268" y="211"/>
                      </a:cxn>
                    </a:cxnLst>
                    <a:rect l="0" t="0" r="r" b="b"/>
                    <a:pathLst>
                      <a:path w="317" h="214">
                        <a:moveTo>
                          <a:pt x="268" y="211"/>
                        </a:moveTo>
                        <a:cubicBezTo>
                          <a:pt x="238" y="190"/>
                          <a:pt x="238" y="190"/>
                          <a:pt x="238" y="190"/>
                        </a:cubicBezTo>
                        <a:cubicBezTo>
                          <a:pt x="210" y="202"/>
                          <a:pt x="178" y="211"/>
                          <a:pt x="157" y="214"/>
                        </a:cubicBezTo>
                        <a:cubicBezTo>
                          <a:pt x="124" y="177"/>
                          <a:pt x="124" y="177"/>
                          <a:pt x="124" y="177"/>
                        </a:cubicBezTo>
                        <a:cubicBezTo>
                          <a:pt x="149" y="173"/>
                          <a:pt x="179" y="166"/>
                          <a:pt x="205" y="153"/>
                        </a:cubicBezTo>
                        <a:cubicBezTo>
                          <a:pt x="224" y="143"/>
                          <a:pt x="233" y="132"/>
                          <a:pt x="223" y="125"/>
                        </a:cubicBezTo>
                        <a:cubicBezTo>
                          <a:pt x="213" y="118"/>
                          <a:pt x="196" y="120"/>
                          <a:pt x="160" y="129"/>
                        </a:cubicBezTo>
                        <a:cubicBezTo>
                          <a:pt x="108" y="142"/>
                          <a:pt x="62" y="146"/>
                          <a:pt x="29" y="123"/>
                        </a:cubicBezTo>
                        <a:cubicBezTo>
                          <a:pt x="0" y="102"/>
                          <a:pt x="0" y="74"/>
                          <a:pt x="35" y="46"/>
                        </a:cubicBezTo>
                        <a:cubicBezTo>
                          <a:pt x="5" y="25"/>
                          <a:pt x="5" y="25"/>
                          <a:pt x="5" y="25"/>
                        </a:cubicBezTo>
                        <a:cubicBezTo>
                          <a:pt x="48" y="3"/>
                          <a:pt x="48" y="3"/>
                          <a:pt x="48" y="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102" y="10"/>
                          <a:pt x="125" y="4"/>
                          <a:pt x="143" y="0"/>
                        </a:cubicBezTo>
                        <a:cubicBezTo>
                          <a:pt x="174" y="37"/>
                          <a:pt x="174" y="37"/>
                          <a:pt x="174" y="37"/>
                        </a:cubicBezTo>
                        <a:cubicBezTo>
                          <a:pt x="161" y="39"/>
                          <a:pt x="135" y="44"/>
                          <a:pt x="106" y="58"/>
                        </a:cubicBezTo>
                        <a:cubicBezTo>
                          <a:pt x="84" y="70"/>
                          <a:pt x="84" y="78"/>
                          <a:pt x="91" y="83"/>
                        </a:cubicBezTo>
                        <a:cubicBezTo>
                          <a:pt x="99" y="89"/>
                          <a:pt x="118" y="86"/>
                          <a:pt x="160" y="77"/>
                        </a:cubicBezTo>
                        <a:cubicBezTo>
                          <a:pt x="221" y="61"/>
                          <a:pt x="257" y="65"/>
                          <a:pt x="286" y="86"/>
                        </a:cubicBezTo>
                        <a:cubicBezTo>
                          <a:pt x="317" y="107"/>
                          <a:pt x="316" y="137"/>
                          <a:pt x="278" y="165"/>
                        </a:cubicBezTo>
                        <a:cubicBezTo>
                          <a:pt x="311" y="188"/>
                          <a:pt x="311" y="188"/>
                          <a:pt x="311" y="188"/>
                        </a:cubicBezTo>
                        <a:lnTo>
                          <a:pt x="268" y="211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189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103" name="Freeform 10">
                    <a:extLst>
                      <a:ext uri="{FF2B5EF4-FFF2-40B4-BE49-F238E27FC236}">
                        <a16:creationId xmlns:a16="http://schemas.microsoft.com/office/drawing/2014/main" id="{63941594-D251-431B-84E8-382AF635082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49938" y="1057276"/>
                    <a:ext cx="2789238" cy="1230313"/>
                  </a:xfrm>
                  <a:custGeom>
                    <a:avLst/>
                    <a:gdLst/>
                    <a:ahLst/>
                    <a:cxnLst>
                      <a:cxn ang="0">
                        <a:pos x="741" y="56"/>
                      </a:cxn>
                      <a:cxn ang="0">
                        <a:pos x="741" y="0"/>
                      </a:cxn>
                      <a:cxn ang="0">
                        <a:pos x="733" y="28"/>
                      </a:cxn>
                      <a:cxn ang="0">
                        <a:pos x="614" y="145"/>
                      </a:cxn>
                      <a:cxn ang="0">
                        <a:pos x="91" y="121"/>
                      </a:cxn>
                      <a:cxn ang="0">
                        <a:pos x="11" y="28"/>
                      </a:cxn>
                      <a:cxn ang="0">
                        <a:pos x="3" y="0"/>
                      </a:cxn>
                      <a:cxn ang="0">
                        <a:pos x="3" y="56"/>
                      </a:cxn>
                      <a:cxn ang="0">
                        <a:pos x="3" y="103"/>
                      </a:cxn>
                      <a:cxn ang="0">
                        <a:pos x="91" y="224"/>
                      </a:cxn>
                      <a:cxn ang="0">
                        <a:pos x="614" y="248"/>
                      </a:cxn>
                      <a:cxn ang="0">
                        <a:pos x="741" y="103"/>
                      </a:cxn>
                      <a:cxn ang="0">
                        <a:pos x="741" y="56"/>
                      </a:cxn>
                    </a:cxnLst>
                    <a:rect l="0" t="0" r="r" b="b"/>
                    <a:pathLst>
                      <a:path w="744" h="328">
                        <a:moveTo>
                          <a:pt x="741" y="56"/>
                        </a:moveTo>
                        <a:cubicBezTo>
                          <a:pt x="741" y="0"/>
                          <a:pt x="741" y="0"/>
                          <a:pt x="741" y="0"/>
                        </a:cubicBezTo>
                        <a:cubicBezTo>
                          <a:pt x="739" y="9"/>
                          <a:pt x="737" y="18"/>
                          <a:pt x="733" y="28"/>
                        </a:cubicBezTo>
                        <a:cubicBezTo>
                          <a:pt x="716" y="72"/>
                          <a:pt x="676" y="113"/>
                          <a:pt x="614" y="145"/>
                        </a:cubicBezTo>
                        <a:cubicBezTo>
                          <a:pt x="459" y="225"/>
                          <a:pt x="225" y="214"/>
                          <a:pt x="91" y="121"/>
                        </a:cubicBezTo>
                        <a:cubicBezTo>
                          <a:pt x="51" y="93"/>
                          <a:pt x="24" y="61"/>
                          <a:pt x="11" y="28"/>
                        </a:cubicBezTo>
                        <a:cubicBezTo>
                          <a:pt x="7" y="19"/>
                          <a:pt x="5" y="9"/>
                          <a:pt x="3" y="0"/>
                        </a:cubicBezTo>
                        <a:cubicBezTo>
                          <a:pt x="3" y="56"/>
                          <a:pt x="3" y="56"/>
                          <a:pt x="3" y="56"/>
                        </a:cubicBezTo>
                        <a:cubicBezTo>
                          <a:pt x="0" y="72"/>
                          <a:pt x="0" y="87"/>
                          <a:pt x="3" y="103"/>
                        </a:cubicBezTo>
                        <a:cubicBezTo>
                          <a:pt x="11" y="146"/>
                          <a:pt x="40" y="189"/>
                          <a:pt x="91" y="224"/>
                        </a:cubicBezTo>
                        <a:cubicBezTo>
                          <a:pt x="225" y="317"/>
                          <a:pt x="459" y="328"/>
                          <a:pt x="614" y="248"/>
                        </a:cubicBezTo>
                        <a:cubicBezTo>
                          <a:pt x="689" y="209"/>
                          <a:pt x="731" y="157"/>
                          <a:pt x="741" y="103"/>
                        </a:cubicBezTo>
                        <a:cubicBezTo>
                          <a:pt x="744" y="87"/>
                          <a:pt x="744" y="71"/>
                          <a:pt x="741" y="56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CC6600"/>
                      </a:gs>
                    </a:gsLst>
                    <a:lin ang="162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104" name="Freeform 11">
                    <a:extLst>
                      <a:ext uri="{FF2B5EF4-FFF2-40B4-BE49-F238E27FC236}">
                        <a16:creationId xmlns:a16="http://schemas.microsoft.com/office/drawing/2014/main" id="{36E6353E-73D2-4A66-91DE-4A3DA73D1B9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913438" y="1236663"/>
                    <a:ext cx="2665413" cy="893763"/>
                  </a:xfrm>
                  <a:custGeom>
                    <a:avLst/>
                    <a:gdLst/>
                    <a:ahLst/>
                    <a:cxnLst>
                      <a:cxn ang="0">
                        <a:pos x="569" y="197"/>
                      </a:cxn>
                      <a:cxn ang="0">
                        <a:pos x="541" y="130"/>
                      </a:cxn>
                      <a:cxn ang="0">
                        <a:pos x="486" y="224"/>
                      </a:cxn>
                      <a:cxn ang="0">
                        <a:pos x="517" y="138"/>
                      </a:cxn>
                      <a:cxn ang="0">
                        <a:pos x="486" y="224"/>
                      </a:cxn>
                      <a:cxn ang="0">
                        <a:pos x="592" y="187"/>
                      </a:cxn>
                      <a:cxn ang="0">
                        <a:pos x="618" y="173"/>
                      </a:cxn>
                      <a:cxn ang="0">
                        <a:pos x="597" y="106"/>
                      </a:cxn>
                      <a:cxn ang="0">
                        <a:pos x="367" y="238"/>
                      </a:cxn>
                      <a:cxn ang="0">
                        <a:pos x="402" y="158"/>
                      </a:cxn>
                      <a:cxn ang="0">
                        <a:pos x="367" y="238"/>
                      </a:cxn>
                      <a:cxn ang="0">
                        <a:pos x="461" y="229"/>
                      </a:cxn>
                      <a:cxn ang="0">
                        <a:pos x="428" y="155"/>
                      </a:cxn>
                      <a:cxn ang="0">
                        <a:pos x="690" y="33"/>
                      </a:cxn>
                      <a:cxn ang="0">
                        <a:pos x="711" y="78"/>
                      </a:cxn>
                      <a:cxn ang="0">
                        <a:pos x="690" y="33"/>
                      </a:cxn>
                      <a:cxn ang="0">
                        <a:pos x="668" y="135"/>
                      </a:cxn>
                      <a:cxn ang="0">
                        <a:pos x="645" y="76"/>
                      </a:cxn>
                      <a:cxn ang="0">
                        <a:pos x="310" y="236"/>
                      </a:cxn>
                      <a:cxn ang="0">
                        <a:pos x="345" y="160"/>
                      </a:cxn>
                      <a:cxn ang="0">
                        <a:pos x="310" y="236"/>
                      </a:cxn>
                      <a:cxn ang="0">
                        <a:pos x="170" y="209"/>
                      </a:cxn>
                      <a:cxn ang="0">
                        <a:pos x="142" y="120"/>
                      </a:cxn>
                      <a:cxn ang="0">
                        <a:pos x="0" y="81"/>
                      </a:cxn>
                      <a:cxn ang="0">
                        <a:pos x="21" y="35"/>
                      </a:cxn>
                      <a:cxn ang="0">
                        <a:pos x="0" y="81"/>
                      </a:cxn>
                      <a:cxn ang="0">
                        <a:pos x="67" y="156"/>
                      </a:cxn>
                      <a:cxn ang="0">
                        <a:pos x="43" y="58"/>
                      </a:cxn>
                      <a:cxn ang="0">
                        <a:pos x="251" y="229"/>
                      </a:cxn>
                      <a:cxn ang="0">
                        <a:pos x="284" y="156"/>
                      </a:cxn>
                      <a:cxn ang="0">
                        <a:pos x="251" y="229"/>
                      </a:cxn>
                      <a:cxn ang="0">
                        <a:pos x="120" y="188"/>
                      </a:cxn>
                      <a:cxn ang="0">
                        <a:pos x="94" y="95"/>
                      </a:cxn>
                      <a:cxn ang="0">
                        <a:pos x="195" y="216"/>
                      </a:cxn>
                      <a:cxn ang="0">
                        <a:pos x="225" y="146"/>
                      </a:cxn>
                      <a:cxn ang="0">
                        <a:pos x="195" y="216"/>
                      </a:cxn>
                    </a:cxnLst>
                    <a:rect l="0" t="0" r="r" b="b"/>
                    <a:pathLst>
                      <a:path w="711" h="238">
                        <a:moveTo>
                          <a:pt x="541" y="208"/>
                        </a:moveTo>
                        <a:cubicBezTo>
                          <a:pt x="551" y="205"/>
                          <a:pt x="560" y="201"/>
                          <a:pt x="569" y="197"/>
                        </a:cubicBezTo>
                        <a:cubicBezTo>
                          <a:pt x="569" y="119"/>
                          <a:pt x="569" y="119"/>
                          <a:pt x="569" y="119"/>
                        </a:cubicBezTo>
                        <a:cubicBezTo>
                          <a:pt x="560" y="123"/>
                          <a:pt x="551" y="126"/>
                          <a:pt x="541" y="130"/>
                        </a:cubicBezTo>
                        <a:lnTo>
                          <a:pt x="541" y="208"/>
                        </a:lnTo>
                        <a:close/>
                        <a:moveTo>
                          <a:pt x="486" y="224"/>
                        </a:moveTo>
                        <a:cubicBezTo>
                          <a:pt x="497" y="221"/>
                          <a:pt x="507" y="219"/>
                          <a:pt x="517" y="216"/>
                        </a:cubicBezTo>
                        <a:cubicBezTo>
                          <a:pt x="517" y="138"/>
                          <a:pt x="517" y="138"/>
                          <a:pt x="517" y="138"/>
                        </a:cubicBezTo>
                        <a:cubicBezTo>
                          <a:pt x="507" y="140"/>
                          <a:pt x="497" y="143"/>
                          <a:pt x="486" y="145"/>
                        </a:cubicBezTo>
                        <a:lnTo>
                          <a:pt x="486" y="224"/>
                        </a:lnTo>
                        <a:close/>
                        <a:moveTo>
                          <a:pt x="592" y="109"/>
                        </a:moveTo>
                        <a:cubicBezTo>
                          <a:pt x="592" y="187"/>
                          <a:pt x="592" y="187"/>
                          <a:pt x="592" y="187"/>
                        </a:cubicBezTo>
                        <a:cubicBezTo>
                          <a:pt x="594" y="186"/>
                          <a:pt x="595" y="185"/>
                          <a:pt x="597" y="184"/>
                        </a:cubicBezTo>
                        <a:cubicBezTo>
                          <a:pt x="604" y="180"/>
                          <a:pt x="611" y="177"/>
                          <a:pt x="618" y="173"/>
                        </a:cubicBezTo>
                        <a:cubicBezTo>
                          <a:pt x="618" y="94"/>
                          <a:pt x="618" y="94"/>
                          <a:pt x="618" y="94"/>
                        </a:cubicBezTo>
                        <a:cubicBezTo>
                          <a:pt x="611" y="98"/>
                          <a:pt x="604" y="102"/>
                          <a:pt x="597" y="106"/>
                        </a:cubicBezTo>
                        <a:cubicBezTo>
                          <a:pt x="595" y="107"/>
                          <a:pt x="594" y="108"/>
                          <a:pt x="592" y="109"/>
                        </a:cubicBezTo>
                        <a:close/>
                        <a:moveTo>
                          <a:pt x="367" y="238"/>
                        </a:moveTo>
                        <a:cubicBezTo>
                          <a:pt x="378" y="238"/>
                          <a:pt x="390" y="237"/>
                          <a:pt x="402" y="236"/>
                        </a:cubicBezTo>
                        <a:cubicBezTo>
                          <a:pt x="402" y="158"/>
                          <a:pt x="402" y="158"/>
                          <a:pt x="402" y="158"/>
                        </a:cubicBezTo>
                        <a:cubicBezTo>
                          <a:pt x="390" y="159"/>
                          <a:pt x="378" y="159"/>
                          <a:pt x="367" y="160"/>
                        </a:cubicBezTo>
                        <a:lnTo>
                          <a:pt x="367" y="238"/>
                        </a:lnTo>
                        <a:close/>
                        <a:moveTo>
                          <a:pt x="428" y="234"/>
                        </a:moveTo>
                        <a:cubicBezTo>
                          <a:pt x="439" y="232"/>
                          <a:pt x="450" y="231"/>
                          <a:pt x="461" y="229"/>
                        </a:cubicBezTo>
                        <a:cubicBezTo>
                          <a:pt x="461" y="151"/>
                          <a:pt x="461" y="151"/>
                          <a:pt x="461" y="151"/>
                        </a:cubicBezTo>
                        <a:cubicBezTo>
                          <a:pt x="450" y="153"/>
                          <a:pt x="439" y="154"/>
                          <a:pt x="428" y="155"/>
                        </a:cubicBezTo>
                        <a:lnTo>
                          <a:pt x="428" y="234"/>
                        </a:lnTo>
                        <a:close/>
                        <a:moveTo>
                          <a:pt x="690" y="33"/>
                        </a:moveTo>
                        <a:cubicBezTo>
                          <a:pt x="690" y="111"/>
                          <a:pt x="690" y="111"/>
                          <a:pt x="690" y="111"/>
                        </a:cubicBezTo>
                        <a:cubicBezTo>
                          <a:pt x="699" y="101"/>
                          <a:pt x="706" y="89"/>
                          <a:pt x="711" y="78"/>
                        </a:cubicBezTo>
                        <a:cubicBezTo>
                          <a:pt x="711" y="0"/>
                          <a:pt x="711" y="0"/>
                          <a:pt x="711" y="0"/>
                        </a:cubicBezTo>
                        <a:cubicBezTo>
                          <a:pt x="706" y="11"/>
                          <a:pt x="699" y="22"/>
                          <a:pt x="690" y="33"/>
                        </a:cubicBezTo>
                        <a:close/>
                        <a:moveTo>
                          <a:pt x="645" y="155"/>
                        </a:moveTo>
                        <a:cubicBezTo>
                          <a:pt x="653" y="148"/>
                          <a:pt x="661" y="142"/>
                          <a:pt x="668" y="135"/>
                        </a:cubicBezTo>
                        <a:cubicBezTo>
                          <a:pt x="668" y="57"/>
                          <a:pt x="668" y="57"/>
                          <a:pt x="668" y="57"/>
                        </a:cubicBezTo>
                        <a:cubicBezTo>
                          <a:pt x="661" y="63"/>
                          <a:pt x="653" y="70"/>
                          <a:pt x="645" y="76"/>
                        </a:cubicBezTo>
                        <a:lnTo>
                          <a:pt x="645" y="155"/>
                        </a:lnTo>
                        <a:close/>
                        <a:moveTo>
                          <a:pt x="310" y="236"/>
                        </a:moveTo>
                        <a:cubicBezTo>
                          <a:pt x="321" y="237"/>
                          <a:pt x="333" y="238"/>
                          <a:pt x="345" y="238"/>
                        </a:cubicBezTo>
                        <a:cubicBezTo>
                          <a:pt x="345" y="160"/>
                          <a:pt x="345" y="160"/>
                          <a:pt x="345" y="160"/>
                        </a:cubicBezTo>
                        <a:cubicBezTo>
                          <a:pt x="333" y="159"/>
                          <a:pt x="321" y="159"/>
                          <a:pt x="310" y="158"/>
                        </a:cubicBezTo>
                        <a:lnTo>
                          <a:pt x="310" y="236"/>
                        </a:lnTo>
                        <a:close/>
                        <a:moveTo>
                          <a:pt x="142" y="198"/>
                        </a:moveTo>
                        <a:cubicBezTo>
                          <a:pt x="151" y="202"/>
                          <a:pt x="161" y="205"/>
                          <a:pt x="170" y="209"/>
                        </a:cubicBezTo>
                        <a:cubicBezTo>
                          <a:pt x="170" y="130"/>
                          <a:pt x="170" y="130"/>
                          <a:pt x="170" y="130"/>
                        </a:cubicBezTo>
                        <a:cubicBezTo>
                          <a:pt x="161" y="127"/>
                          <a:pt x="151" y="123"/>
                          <a:pt x="142" y="120"/>
                        </a:cubicBezTo>
                        <a:lnTo>
                          <a:pt x="142" y="198"/>
                        </a:lnTo>
                        <a:close/>
                        <a:moveTo>
                          <a:pt x="0" y="81"/>
                        </a:moveTo>
                        <a:cubicBezTo>
                          <a:pt x="6" y="92"/>
                          <a:pt x="13" y="103"/>
                          <a:pt x="21" y="113"/>
                        </a:cubicBezTo>
                        <a:cubicBezTo>
                          <a:pt x="21" y="35"/>
                          <a:pt x="21" y="35"/>
                          <a:pt x="21" y="35"/>
                        </a:cubicBezTo>
                        <a:cubicBezTo>
                          <a:pt x="13" y="25"/>
                          <a:pt x="6" y="14"/>
                          <a:pt x="0" y="3"/>
                        </a:cubicBezTo>
                        <a:lnTo>
                          <a:pt x="0" y="81"/>
                        </a:lnTo>
                        <a:close/>
                        <a:moveTo>
                          <a:pt x="43" y="136"/>
                        </a:moveTo>
                        <a:cubicBezTo>
                          <a:pt x="50" y="143"/>
                          <a:pt x="58" y="149"/>
                          <a:pt x="67" y="156"/>
                        </a:cubicBezTo>
                        <a:cubicBezTo>
                          <a:pt x="67" y="77"/>
                          <a:pt x="67" y="77"/>
                          <a:pt x="67" y="77"/>
                        </a:cubicBezTo>
                        <a:cubicBezTo>
                          <a:pt x="58" y="71"/>
                          <a:pt x="50" y="65"/>
                          <a:pt x="43" y="58"/>
                        </a:cubicBezTo>
                        <a:lnTo>
                          <a:pt x="43" y="136"/>
                        </a:lnTo>
                        <a:close/>
                        <a:moveTo>
                          <a:pt x="251" y="229"/>
                        </a:moveTo>
                        <a:cubicBezTo>
                          <a:pt x="262" y="231"/>
                          <a:pt x="273" y="233"/>
                          <a:pt x="284" y="234"/>
                        </a:cubicBezTo>
                        <a:cubicBezTo>
                          <a:pt x="284" y="156"/>
                          <a:pt x="284" y="156"/>
                          <a:pt x="284" y="156"/>
                        </a:cubicBezTo>
                        <a:cubicBezTo>
                          <a:pt x="273" y="154"/>
                          <a:pt x="262" y="153"/>
                          <a:pt x="251" y="151"/>
                        </a:cubicBezTo>
                        <a:lnTo>
                          <a:pt x="251" y="229"/>
                        </a:lnTo>
                        <a:close/>
                        <a:moveTo>
                          <a:pt x="94" y="174"/>
                        </a:moveTo>
                        <a:cubicBezTo>
                          <a:pt x="102" y="179"/>
                          <a:pt x="111" y="183"/>
                          <a:pt x="120" y="188"/>
                        </a:cubicBezTo>
                        <a:cubicBezTo>
                          <a:pt x="120" y="109"/>
                          <a:pt x="120" y="109"/>
                          <a:pt x="120" y="109"/>
                        </a:cubicBezTo>
                        <a:cubicBezTo>
                          <a:pt x="111" y="105"/>
                          <a:pt x="102" y="100"/>
                          <a:pt x="94" y="95"/>
                        </a:cubicBezTo>
                        <a:lnTo>
                          <a:pt x="94" y="174"/>
                        </a:lnTo>
                        <a:close/>
                        <a:moveTo>
                          <a:pt x="195" y="216"/>
                        </a:moveTo>
                        <a:cubicBezTo>
                          <a:pt x="205" y="219"/>
                          <a:pt x="215" y="222"/>
                          <a:pt x="225" y="224"/>
                        </a:cubicBezTo>
                        <a:cubicBezTo>
                          <a:pt x="225" y="146"/>
                          <a:pt x="225" y="146"/>
                          <a:pt x="225" y="146"/>
                        </a:cubicBezTo>
                        <a:cubicBezTo>
                          <a:pt x="215" y="143"/>
                          <a:pt x="205" y="141"/>
                          <a:pt x="195" y="138"/>
                        </a:cubicBezTo>
                        <a:lnTo>
                          <a:pt x="195" y="216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54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</p:grpSp>
          </p:grpSp>
          <p:grpSp>
            <p:nvGrpSpPr>
              <p:cNvPr id="90" name="Gruppieren 128">
                <a:extLst>
                  <a:ext uri="{FF2B5EF4-FFF2-40B4-BE49-F238E27FC236}">
                    <a16:creationId xmlns:a16="http://schemas.microsoft.com/office/drawing/2014/main" id="{85761C8D-C5AD-4173-8F20-AE503F9BD10C}"/>
                  </a:ext>
                </a:extLst>
              </p:cNvPr>
              <p:cNvGrpSpPr/>
              <p:nvPr/>
            </p:nvGrpSpPr>
            <p:grpSpPr>
              <a:xfrm>
                <a:off x="3108955" y="2121700"/>
                <a:ext cx="781440" cy="559766"/>
                <a:chOff x="5688013" y="58738"/>
                <a:chExt cx="3111500" cy="2228851"/>
              </a:xfrm>
            </p:grpSpPr>
            <p:sp>
              <p:nvSpPr>
                <p:cNvPr id="91" name="Freeform 6">
                  <a:extLst>
                    <a:ext uri="{FF2B5EF4-FFF2-40B4-BE49-F238E27FC236}">
                      <a16:creationId xmlns:a16="http://schemas.microsoft.com/office/drawing/2014/main" id="{CD570EE8-7002-4E33-B812-877EC8302E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88013" y="58738"/>
                  <a:ext cx="3111500" cy="1865313"/>
                </a:xfrm>
                <a:custGeom>
                  <a:avLst/>
                  <a:gdLst/>
                  <a:ahLst/>
                  <a:cxnLst>
                    <a:cxn ang="0">
                      <a:pos x="134" y="393"/>
                    </a:cxn>
                    <a:cxn ang="0">
                      <a:pos x="173" y="80"/>
                    </a:cxn>
                    <a:cxn ang="0">
                      <a:pos x="696" y="104"/>
                    </a:cxn>
                    <a:cxn ang="0">
                      <a:pos x="657" y="417"/>
                    </a:cxn>
                    <a:cxn ang="0">
                      <a:pos x="134" y="393"/>
                    </a:cxn>
                  </a:cxnLst>
                  <a:rect l="0" t="0" r="r" b="b"/>
                  <a:pathLst>
                    <a:path w="830" h="497">
                      <a:moveTo>
                        <a:pt x="134" y="393"/>
                      </a:moveTo>
                      <a:cubicBezTo>
                        <a:pt x="0" y="300"/>
                        <a:pt x="18" y="160"/>
                        <a:pt x="173" y="80"/>
                      </a:cubicBezTo>
                      <a:cubicBezTo>
                        <a:pt x="328" y="0"/>
                        <a:pt x="563" y="11"/>
                        <a:pt x="696" y="104"/>
                      </a:cubicBezTo>
                      <a:cubicBezTo>
                        <a:pt x="830" y="197"/>
                        <a:pt x="812" y="337"/>
                        <a:pt x="657" y="417"/>
                      </a:cubicBezTo>
                      <a:cubicBezTo>
                        <a:pt x="502" y="497"/>
                        <a:pt x="268" y="486"/>
                        <a:pt x="134" y="39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0810E"/>
                    </a:gs>
                    <a:gs pos="100000">
                      <a:srgbClr val="FFC000"/>
                    </a:gs>
                  </a:gsLst>
                  <a:lin ang="0" scaled="1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1615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GB" sz="1575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endParaRPr>
                </a:p>
              </p:txBody>
            </p:sp>
            <p:grpSp>
              <p:nvGrpSpPr>
                <p:cNvPr id="92" name="Gruppieren 62">
                  <a:extLst>
                    <a:ext uri="{FF2B5EF4-FFF2-40B4-BE49-F238E27FC236}">
                      <a16:creationId xmlns:a16="http://schemas.microsoft.com/office/drawing/2014/main" id="{CB2E3BE1-D534-492E-8882-6830E4BA2B0C}"/>
                    </a:ext>
                  </a:extLst>
                </p:cNvPr>
                <p:cNvGrpSpPr/>
                <p:nvPr/>
              </p:nvGrpSpPr>
              <p:grpSpPr>
                <a:xfrm>
                  <a:off x="5849938" y="157163"/>
                  <a:ext cx="2789238" cy="2130426"/>
                  <a:chOff x="5849938" y="157163"/>
                  <a:chExt cx="2789238" cy="2130426"/>
                </a:xfrm>
              </p:grpSpPr>
              <p:sp>
                <p:nvSpPr>
                  <p:cNvPr id="93" name="Freeform 7">
                    <a:extLst>
                      <a:ext uri="{FF2B5EF4-FFF2-40B4-BE49-F238E27FC236}">
                        <a16:creationId xmlns:a16="http://schemas.microsoft.com/office/drawing/2014/main" id="{B15AB0A9-D152-45AD-B7B3-C4726BB973D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56288" y="157163"/>
                    <a:ext cx="2774950" cy="1662113"/>
                  </a:xfrm>
                  <a:custGeom>
                    <a:avLst/>
                    <a:gdLst/>
                    <a:ahLst/>
                    <a:cxnLst>
                      <a:cxn ang="0">
                        <a:pos x="154" y="72"/>
                      </a:cxn>
                      <a:cxn ang="0">
                        <a:pos x="621" y="92"/>
                      </a:cxn>
                      <a:cxn ang="0">
                        <a:pos x="586" y="372"/>
                      </a:cxn>
                      <a:cxn ang="0">
                        <a:pos x="119" y="351"/>
                      </a:cxn>
                      <a:cxn ang="0">
                        <a:pos x="154" y="72"/>
                      </a:cxn>
                    </a:cxnLst>
                    <a:rect l="0" t="0" r="r" b="b"/>
                    <a:pathLst>
                      <a:path w="740" h="443">
                        <a:moveTo>
                          <a:pt x="154" y="72"/>
                        </a:moveTo>
                        <a:cubicBezTo>
                          <a:pt x="293" y="0"/>
                          <a:pt x="501" y="10"/>
                          <a:pt x="621" y="92"/>
                        </a:cubicBezTo>
                        <a:cubicBezTo>
                          <a:pt x="740" y="175"/>
                          <a:pt x="724" y="300"/>
                          <a:pt x="586" y="372"/>
                        </a:cubicBezTo>
                        <a:cubicBezTo>
                          <a:pt x="447" y="443"/>
                          <a:pt x="239" y="433"/>
                          <a:pt x="119" y="351"/>
                        </a:cubicBezTo>
                        <a:cubicBezTo>
                          <a:pt x="0" y="268"/>
                          <a:pt x="16" y="143"/>
                          <a:pt x="154" y="72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135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94" name="Freeform 8">
                    <a:extLst>
                      <a:ext uri="{FF2B5EF4-FFF2-40B4-BE49-F238E27FC236}">
                        <a16:creationId xmlns:a16="http://schemas.microsoft.com/office/drawing/2014/main" id="{55F26901-0D19-4855-A758-F661CD9F89D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908676" y="187326"/>
                    <a:ext cx="2670175" cy="1601788"/>
                  </a:xfrm>
                  <a:custGeom>
                    <a:avLst/>
                    <a:gdLst/>
                    <a:ahLst/>
                    <a:cxnLst>
                      <a:cxn ang="0">
                        <a:pos x="148" y="69"/>
                      </a:cxn>
                      <a:cxn ang="0">
                        <a:pos x="597" y="89"/>
                      </a:cxn>
                      <a:cxn ang="0">
                        <a:pos x="564" y="358"/>
                      </a:cxn>
                      <a:cxn ang="0">
                        <a:pos x="115" y="338"/>
                      </a:cxn>
                      <a:cxn ang="0">
                        <a:pos x="148" y="69"/>
                      </a:cxn>
                    </a:cxnLst>
                    <a:rect l="0" t="0" r="r" b="b"/>
                    <a:pathLst>
                      <a:path w="712" h="427">
                        <a:moveTo>
                          <a:pt x="148" y="69"/>
                        </a:moveTo>
                        <a:cubicBezTo>
                          <a:pt x="282" y="0"/>
                          <a:pt x="483" y="9"/>
                          <a:pt x="597" y="89"/>
                        </a:cubicBezTo>
                        <a:cubicBezTo>
                          <a:pt x="712" y="169"/>
                          <a:pt x="697" y="289"/>
                          <a:pt x="564" y="358"/>
                        </a:cubicBezTo>
                        <a:cubicBezTo>
                          <a:pt x="431" y="427"/>
                          <a:pt x="229" y="418"/>
                          <a:pt x="115" y="338"/>
                        </a:cubicBezTo>
                        <a:cubicBezTo>
                          <a:pt x="0" y="258"/>
                          <a:pt x="15" y="138"/>
                          <a:pt x="148" y="69"/>
                        </a:cubicBezTo>
                        <a:close/>
                      </a:path>
                    </a:pathLst>
                  </a:custGeom>
                  <a:solidFill>
                    <a:srgbClr val="FDD284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95" name="Freeform 9">
                    <a:extLst>
                      <a:ext uri="{FF2B5EF4-FFF2-40B4-BE49-F238E27FC236}">
                        <a16:creationId xmlns:a16="http://schemas.microsoft.com/office/drawing/2014/main" id="{0B22ED84-214C-488D-9E3D-5F9A8737821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648451" y="588963"/>
                    <a:ext cx="1187450" cy="801688"/>
                  </a:xfrm>
                  <a:custGeom>
                    <a:avLst/>
                    <a:gdLst/>
                    <a:ahLst/>
                    <a:cxnLst>
                      <a:cxn ang="0">
                        <a:pos x="268" y="211"/>
                      </a:cxn>
                      <a:cxn ang="0">
                        <a:pos x="238" y="190"/>
                      </a:cxn>
                      <a:cxn ang="0">
                        <a:pos x="157" y="214"/>
                      </a:cxn>
                      <a:cxn ang="0">
                        <a:pos x="124" y="177"/>
                      </a:cxn>
                      <a:cxn ang="0">
                        <a:pos x="205" y="153"/>
                      </a:cxn>
                      <a:cxn ang="0">
                        <a:pos x="223" y="125"/>
                      </a:cxn>
                      <a:cxn ang="0">
                        <a:pos x="160" y="129"/>
                      </a:cxn>
                      <a:cxn ang="0">
                        <a:pos x="29" y="123"/>
                      </a:cxn>
                      <a:cxn ang="0">
                        <a:pos x="35" y="46"/>
                      </a:cxn>
                      <a:cxn ang="0">
                        <a:pos x="5" y="25"/>
                      </a:cxn>
                      <a:cxn ang="0">
                        <a:pos x="48" y="3"/>
                      </a:cxn>
                      <a:cxn ang="0">
                        <a:pos x="76" y="23"/>
                      </a:cxn>
                      <a:cxn ang="0">
                        <a:pos x="143" y="0"/>
                      </a:cxn>
                      <a:cxn ang="0">
                        <a:pos x="174" y="37"/>
                      </a:cxn>
                      <a:cxn ang="0">
                        <a:pos x="106" y="58"/>
                      </a:cxn>
                      <a:cxn ang="0">
                        <a:pos x="91" y="83"/>
                      </a:cxn>
                      <a:cxn ang="0">
                        <a:pos x="160" y="77"/>
                      </a:cxn>
                      <a:cxn ang="0">
                        <a:pos x="286" y="86"/>
                      </a:cxn>
                      <a:cxn ang="0">
                        <a:pos x="278" y="165"/>
                      </a:cxn>
                      <a:cxn ang="0">
                        <a:pos x="311" y="188"/>
                      </a:cxn>
                      <a:cxn ang="0">
                        <a:pos x="268" y="211"/>
                      </a:cxn>
                    </a:cxnLst>
                    <a:rect l="0" t="0" r="r" b="b"/>
                    <a:pathLst>
                      <a:path w="317" h="214">
                        <a:moveTo>
                          <a:pt x="268" y="211"/>
                        </a:moveTo>
                        <a:cubicBezTo>
                          <a:pt x="238" y="190"/>
                          <a:pt x="238" y="190"/>
                          <a:pt x="238" y="190"/>
                        </a:cubicBezTo>
                        <a:cubicBezTo>
                          <a:pt x="210" y="202"/>
                          <a:pt x="178" y="211"/>
                          <a:pt x="157" y="214"/>
                        </a:cubicBezTo>
                        <a:cubicBezTo>
                          <a:pt x="124" y="177"/>
                          <a:pt x="124" y="177"/>
                          <a:pt x="124" y="177"/>
                        </a:cubicBezTo>
                        <a:cubicBezTo>
                          <a:pt x="149" y="173"/>
                          <a:pt x="179" y="166"/>
                          <a:pt x="205" y="153"/>
                        </a:cubicBezTo>
                        <a:cubicBezTo>
                          <a:pt x="224" y="143"/>
                          <a:pt x="233" y="132"/>
                          <a:pt x="223" y="125"/>
                        </a:cubicBezTo>
                        <a:cubicBezTo>
                          <a:pt x="213" y="118"/>
                          <a:pt x="196" y="120"/>
                          <a:pt x="160" y="129"/>
                        </a:cubicBezTo>
                        <a:cubicBezTo>
                          <a:pt x="108" y="142"/>
                          <a:pt x="62" y="146"/>
                          <a:pt x="29" y="123"/>
                        </a:cubicBezTo>
                        <a:cubicBezTo>
                          <a:pt x="0" y="102"/>
                          <a:pt x="0" y="74"/>
                          <a:pt x="35" y="46"/>
                        </a:cubicBezTo>
                        <a:cubicBezTo>
                          <a:pt x="5" y="25"/>
                          <a:pt x="5" y="25"/>
                          <a:pt x="5" y="25"/>
                        </a:cubicBezTo>
                        <a:cubicBezTo>
                          <a:pt x="48" y="3"/>
                          <a:pt x="48" y="3"/>
                          <a:pt x="48" y="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102" y="10"/>
                          <a:pt x="125" y="4"/>
                          <a:pt x="143" y="0"/>
                        </a:cubicBezTo>
                        <a:cubicBezTo>
                          <a:pt x="174" y="37"/>
                          <a:pt x="174" y="37"/>
                          <a:pt x="174" y="37"/>
                        </a:cubicBezTo>
                        <a:cubicBezTo>
                          <a:pt x="161" y="39"/>
                          <a:pt x="135" y="44"/>
                          <a:pt x="106" y="58"/>
                        </a:cubicBezTo>
                        <a:cubicBezTo>
                          <a:pt x="84" y="70"/>
                          <a:pt x="84" y="78"/>
                          <a:pt x="91" y="83"/>
                        </a:cubicBezTo>
                        <a:cubicBezTo>
                          <a:pt x="99" y="89"/>
                          <a:pt x="118" y="86"/>
                          <a:pt x="160" y="77"/>
                        </a:cubicBezTo>
                        <a:cubicBezTo>
                          <a:pt x="221" y="61"/>
                          <a:pt x="257" y="65"/>
                          <a:pt x="286" y="86"/>
                        </a:cubicBezTo>
                        <a:cubicBezTo>
                          <a:pt x="317" y="107"/>
                          <a:pt x="316" y="137"/>
                          <a:pt x="278" y="165"/>
                        </a:cubicBezTo>
                        <a:cubicBezTo>
                          <a:pt x="311" y="188"/>
                          <a:pt x="311" y="188"/>
                          <a:pt x="311" y="188"/>
                        </a:cubicBezTo>
                        <a:lnTo>
                          <a:pt x="268" y="211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189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96" name="Freeform 10">
                    <a:extLst>
                      <a:ext uri="{FF2B5EF4-FFF2-40B4-BE49-F238E27FC236}">
                        <a16:creationId xmlns:a16="http://schemas.microsoft.com/office/drawing/2014/main" id="{9DC5CA41-FCF8-4BA7-9BED-039269A45BE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49938" y="1057276"/>
                    <a:ext cx="2789238" cy="1230313"/>
                  </a:xfrm>
                  <a:custGeom>
                    <a:avLst/>
                    <a:gdLst/>
                    <a:ahLst/>
                    <a:cxnLst>
                      <a:cxn ang="0">
                        <a:pos x="741" y="56"/>
                      </a:cxn>
                      <a:cxn ang="0">
                        <a:pos x="741" y="0"/>
                      </a:cxn>
                      <a:cxn ang="0">
                        <a:pos x="733" y="28"/>
                      </a:cxn>
                      <a:cxn ang="0">
                        <a:pos x="614" y="145"/>
                      </a:cxn>
                      <a:cxn ang="0">
                        <a:pos x="91" y="121"/>
                      </a:cxn>
                      <a:cxn ang="0">
                        <a:pos x="11" y="28"/>
                      </a:cxn>
                      <a:cxn ang="0">
                        <a:pos x="3" y="0"/>
                      </a:cxn>
                      <a:cxn ang="0">
                        <a:pos x="3" y="56"/>
                      </a:cxn>
                      <a:cxn ang="0">
                        <a:pos x="3" y="103"/>
                      </a:cxn>
                      <a:cxn ang="0">
                        <a:pos x="91" y="224"/>
                      </a:cxn>
                      <a:cxn ang="0">
                        <a:pos x="614" y="248"/>
                      </a:cxn>
                      <a:cxn ang="0">
                        <a:pos x="741" y="103"/>
                      </a:cxn>
                      <a:cxn ang="0">
                        <a:pos x="741" y="56"/>
                      </a:cxn>
                    </a:cxnLst>
                    <a:rect l="0" t="0" r="r" b="b"/>
                    <a:pathLst>
                      <a:path w="744" h="328">
                        <a:moveTo>
                          <a:pt x="741" y="56"/>
                        </a:moveTo>
                        <a:cubicBezTo>
                          <a:pt x="741" y="0"/>
                          <a:pt x="741" y="0"/>
                          <a:pt x="741" y="0"/>
                        </a:cubicBezTo>
                        <a:cubicBezTo>
                          <a:pt x="739" y="9"/>
                          <a:pt x="737" y="18"/>
                          <a:pt x="733" y="28"/>
                        </a:cubicBezTo>
                        <a:cubicBezTo>
                          <a:pt x="716" y="72"/>
                          <a:pt x="676" y="113"/>
                          <a:pt x="614" y="145"/>
                        </a:cubicBezTo>
                        <a:cubicBezTo>
                          <a:pt x="459" y="225"/>
                          <a:pt x="225" y="214"/>
                          <a:pt x="91" y="121"/>
                        </a:cubicBezTo>
                        <a:cubicBezTo>
                          <a:pt x="51" y="93"/>
                          <a:pt x="24" y="61"/>
                          <a:pt x="11" y="28"/>
                        </a:cubicBezTo>
                        <a:cubicBezTo>
                          <a:pt x="7" y="19"/>
                          <a:pt x="5" y="9"/>
                          <a:pt x="3" y="0"/>
                        </a:cubicBezTo>
                        <a:cubicBezTo>
                          <a:pt x="3" y="56"/>
                          <a:pt x="3" y="56"/>
                          <a:pt x="3" y="56"/>
                        </a:cubicBezTo>
                        <a:cubicBezTo>
                          <a:pt x="0" y="72"/>
                          <a:pt x="0" y="87"/>
                          <a:pt x="3" y="103"/>
                        </a:cubicBezTo>
                        <a:cubicBezTo>
                          <a:pt x="11" y="146"/>
                          <a:pt x="40" y="189"/>
                          <a:pt x="91" y="224"/>
                        </a:cubicBezTo>
                        <a:cubicBezTo>
                          <a:pt x="225" y="317"/>
                          <a:pt x="459" y="328"/>
                          <a:pt x="614" y="248"/>
                        </a:cubicBezTo>
                        <a:cubicBezTo>
                          <a:pt x="689" y="209"/>
                          <a:pt x="731" y="157"/>
                          <a:pt x="741" y="103"/>
                        </a:cubicBezTo>
                        <a:cubicBezTo>
                          <a:pt x="744" y="87"/>
                          <a:pt x="744" y="71"/>
                          <a:pt x="741" y="56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CC6600"/>
                      </a:gs>
                    </a:gsLst>
                    <a:lin ang="162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97" name="Freeform 11">
                    <a:extLst>
                      <a:ext uri="{FF2B5EF4-FFF2-40B4-BE49-F238E27FC236}">
                        <a16:creationId xmlns:a16="http://schemas.microsoft.com/office/drawing/2014/main" id="{CD56A37C-6E38-411A-8EFB-C45FCA401E3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913438" y="1236663"/>
                    <a:ext cx="2665413" cy="893763"/>
                  </a:xfrm>
                  <a:custGeom>
                    <a:avLst/>
                    <a:gdLst/>
                    <a:ahLst/>
                    <a:cxnLst>
                      <a:cxn ang="0">
                        <a:pos x="569" y="197"/>
                      </a:cxn>
                      <a:cxn ang="0">
                        <a:pos x="541" y="130"/>
                      </a:cxn>
                      <a:cxn ang="0">
                        <a:pos x="486" y="224"/>
                      </a:cxn>
                      <a:cxn ang="0">
                        <a:pos x="517" y="138"/>
                      </a:cxn>
                      <a:cxn ang="0">
                        <a:pos x="486" y="224"/>
                      </a:cxn>
                      <a:cxn ang="0">
                        <a:pos x="592" y="187"/>
                      </a:cxn>
                      <a:cxn ang="0">
                        <a:pos x="618" y="173"/>
                      </a:cxn>
                      <a:cxn ang="0">
                        <a:pos x="597" y="106"/>
                      </a:cxn>
                      <a:cxn ang="0">
                        <a:pos x="367" y="238"/>
                      </a:cxn>
                      <a:cxn ang="0">
                        <a:pos x="402" y="158"/>
                      </a:cxn>
                      <a:cxn ang="0">
                        <a:pos x="367" y="238"/>
                      </a:cxn>
                      <a:cxn ang="0">
                        <a:pos x="461" y="229"/>
                      </a:cxn>
                      <a:cxn ang="0">
                        <a:pos x="428" y="155"/>
                      </a:cxn>
                      <a:cxn ang="0">
                        <a:pos x="690" y="33"/>
                      </a:cxn>
                      <a:cxn ang="0">
                        <a:pos x="711" y="78"/>
                      </a:cxn>
                      <a:cxn ang="0">
                        <a:pos x="690" y="33"/>
                      </a:cxn>
                      <a:cxn ang="0">
                        <a:pos x="668" y="135"/>
                      </a:cxn>
                      <a:cxn ang="0">
                        <a:pos x="645" y="76"/>
                      </a:cxn>
                      <a:cxn ang="0">
                        <a:pos x="310" y="236"/>
                      </a:cxn>
                      <a:cxn ang="0">
                        <a:pos x="345" y="160"/>
                      </a:cxn>
                      <a:cxn ang="0">
                        <a:pos x="310" y="236"/>
                      </a:cxn>
                      <a:cxn ang="0">
                        <a:pos x="170" y="209"/>
                      </a:cxn>
                      <a:cxn ang="0">
                        <a:pos x="142" y="120"/>
                      </a:cxn>
                      <a:cxn ang="0">
                        <a:pos x="0" y="81"/>
                      </a:cxn>
                      <a:cxn ang="0">
                        <a:pos x="21" y="35"/>
                      </a:cxn>
                      <a:cxn ang="0">
                        <a:pos x="0" y="81"/>
                      </a:cxn>
                      <a:cxn ang="0">
                        <a:pos x="67" y="156"/>
                      </a:cxn>
                      <a:cxn ang="0">
                        <a:pos x="43" y="58"/>
                      </a:cxn>
                      <a:cxn ang="0">
                        <a:pos x="251" y="229"/>
                      </a:cxn>
                      <a:cxn ang="0">
                        <a:pos x="284" y="156"/>
                      </a:cxn>
                      <a:cxn ang="0">
                        <a:pos x="251" y="229"/>
                      </a:cxn>
                      <a:cxn ang="0">
                        <a:pos x="120" y="188"/>
                      </a:cxn>
                      <a:cxn ang="0">
                        <a:pos x="94" y="95"/>
                      </a:cxn>
                      <a:cxn ang="0">
                        <a:pos x="195" y="216"/>
                      </a:cxn>
                      <a:cxn ang="0">
                        <a:pos x="225" y="146"/>
                      </a:cxn>
                      <a:cxn ang="0">
                        <a:pos x="195" y="216"/>
                      </a:cxn>
                    </a:cxnLst>
                    <a:rect l="0" t="0" r="r" b="b"/>
                    <a:pathLst>
                      <a:path w="711" h="238">
                        <a:moveTo>
                          <a:pt x="541" y="208"/>
                        </a:moveTo>
                        <a:cubicBezTo>
                          <a:pt x="551" y="205"/>
                          <a:pt x="560" y="201"/>
                          <a:pt x="569" y="197"/>
                        </a:cubicBezTo>
                        <a:cubicBezTo>
                          <a:pt x="569" y="119"/>
                          <a:pt x="569" y="119"/>
                          <a:pt x="569" y="119"/>
                        </a:cubicBezTo>
                        <a:cubicBezTo>
                          <a:pt x="560" y="123"/>
                          <a:pt x="551" y="126"/>
                          <a:pt x="541" y="130"/>
                        </a:cubicBezTo>
                        <a:lnTo>
                          <a:pt x="541" y="208"/>
                        </a:lnTo>
                        <a:close/>
                        <a:moveTo>
                          <a:pt x="486" y="224"/>
                        </a:moveTo>
                        <a:cubicBezTo>
                          <a:pt x="497" y="221"/>
                          <a:pt x="507" y="219"/>
                          <a:pt x="517" y="216"/>
                        </a:cubicBezTo>
                        <a:cubicBezTo>
                          <a:pt x="517" y="138"/>
                          <a:pt x="517" y="138"/>
                          <a:pt x="517" y="138"/>
                        </a:cubicBezTo>
                        <a:cubicBezTo>
                          <a:pt x="507" y="140"/>
                          <a:pt x="497" y="143"/>
                          <a:pt x="486" y="145"/>
                        </a:cubicBezTo>
                        <a:lnTo>
                          <a:pt x="486" y="224"/>
                        </a:lnTo>
                        <a:close/>
                        <a:moveTo>
                          <a:pt x="592" y="109"/>
                        </a:moveTo>
                        <a:cubicBezTo>
                          <a:pt x="592" y="187"/>
                          <a:pt x="592" y="187"/>
                          <a:pt x="592" y="187"/>
                        </a:cubicBezTo>
                        <a:cubicBezTo>
                          <a:pt x="594" y="186"/>
                          <a:pt x="595" y="185"/>
                          <a:pt x="597" y="184"/>
                        </a:cubicBezTo>
                        <a:cubicBezTo>
                          <a:pt x="604" y="180"/>
                          <a:pt x="611" y="177"/>
                          <a:pt x="618" y="173"/>
                        </a:cubicBezTo>
                        <a:cubicBezTo>
                          <a:pt x="618" y="94"/>
                          <a:pt x="618" y="94"/>
                          <a:pt x="618" y="94"/>
                        </a:cubicBezTo>
                        <a:cubicBezTo>
                          <a:pt x="611" y="98"/>
                          <a:pt x="604" y="102"/>
                          <a:pt x="597" y="106"/>
                        </a:cubicBezTo>
                        <a:cubicBezTo>
                          <a:pt x="595" y="107"/>
                          <a:pt x="594" y="108"/>
                          <a:pt x="592" y="109"/>
                        </a:cubicBezTo>
                        <a:close/>
                        <a:moveTo>
                          <a:pt x="367" y="238"/>
                        </a:moveTo>
                        <a:cubicBezTo>
                          <a:pt x="378" y="238"/>
                          <a:pt x="390" y="237"/>
                          <a:pt x="402" y="236"/>
                        </a:cubicBezTo>
                        <a:cubicBezTo>
                          <a:pt x="402" y="158"/>
                          <a:pt x="402" y="158"/>
                          <a:pt x="402" y="158"/>
                        </a:cubicBezTo>
                        <a:cubicBezTo>
                          <a:pt x="390" y="159"/>
                          <a:pt x="378" y="159"/>
                          <a:pt x="367" y="160"/>
                        </a:cubicBezTo>
                        <a:lnTo>
                          <a:pt x="367" y="238"/>
                        </a:lnTo>
                        <a:close/>
                        <a:moveTo>
                          <a:pt x="428" y="234"/>
                        </a:moveTo>
                        <a:cubicBezTo>
                          <a:pt x="439" y="232"/>
                          <a:pt x="450" y="231"/>
                          <a:pt x="461" y="229"/>
                        </a:cubicBezTo>
                        <a:cubicBezTo>
                          <a:pt x="461" y="151"/>
                          <a:pt x="461" y="151"/>
                          <a:pt x="461" y="151"/>
                        </a:cubicBezTo>
                        <a:cubicBezTo>
                          <a:pt x="450" y="153"/>
                          <a:pt x="439" y="154"/>
                          <a:pt x="428" y="155"/>
                        </a:cubicBezTo>
                        <a:lnTo>
                          <a:pt x="428" y="234"/>
                        </a:lnTo>
                        <a:close/>
                        <a:moveTo>
                          <a:pt x="690" y="33"/>
                        </a:moveTo>
                        <a:cubicBezTo>
                          <a:pt x="690" y="111"/>
                          <a:pt x="690" y="111"/>
                          <a:pt x="690" y="111"/>
                        </a:cubicBezTo>
                        <a:cubicBezTo>
                          <a:pt x="699" y="101"/>
                          <a:pt x="706" y="89"/>
                          <a:pt x="711" y="78"/>
                        </a:cubicBezTo>
                        <a:cubicBezTo>
                          <a:pt x="711" y="0"/>
                          <a:pt x="711" y="0"/>
                          <a:pt x="711" y="0"/>
                        </a:cubicBezTo>
                        <a:cubicBezTo>
                          <a:pt x="706" y="11"/>
                          <a:pt x="699" y="22"/>
                          <a:pt x="690" y="33"/>
                        </a:cubicBezTo>
                        <a:close/>
                        <a:moveTo>
                          <a:pt x="645" y="155"/>
                        </a:moveTo>
                        <a:cubicBezTo>
                          <a:pt x="653" y="148"/>
                          <a:pt x="661" y="142"/>
                          <a:pt x="668" y="135"/>
                        </a:cubicBezTo>
                        <a:cubicBezTo>
                          <a:pt x="668" y="57"/>
                          <a:pt x="668" y="57"/>
                          <a:pt x="668" y="57"/>
                        </a:cubicBezTo>
                        <a:cubicBezTo>
                          <a:pt x="661" y="63"/>
                          <a:pt x="653" y="70"/>
                          <a:pt x="645" y="76"/>
                        </a:cubicBezTo>
                        <a:lnTo>
                          <a:pt x="645" y="155"/>
                        </a:lnTo>
                        <a:close/>
                        <a:moveTo>
                          <a:pt x="310" y="236"/>
                        </a:moveTo>
                        <a:cubicBezTo>
                          <a:pt x="321" y="237"/>
                          <a:pt x="333" y="238"/>
                          <a:pt x="345" y="238"/>
                        </a:cubicBezTo>
                        <a:cubicBezTo>
                          <a:pt x="345" y="160"/>
                          <a:pt x="345" y="160"/>
                          <a:pt x="345" y="160"/>
                        </a:cubicBezTo>
                        <a:cubicBezTo>
                          <a:pt x="333" y="159"/>
                          <a:pt x="321" y="159"/>
                          <a:pt x="310" y="158"/>
                        </a:cubicBezTo>
                        <a:lnTo>
                          <a:pt x="310" y="236"/>
                        </a:lnTo>
                        <a:close/>
                        <a:moveTo>
                          <a:pt x="142" y="198"/>
                        </a:moveTo>
                        <a:cubicBezTo>
                          <a:pt x="151" y="202"/>
                          <a:pt x="161" y="205"/>
                          <a:pt x="170" y="209"/>
                        </a:cubicBezTo>
                        <a:cubicBezTo>
                          <a:pt x="170" y="130"/>
                          <a:pt x="170" y="130"/>
                          <a:pt x="170" y="130"/>
                        </a:cubicBezTo>
                        <a:cubicBezTo>
                          <a:pt x="161" y="127"/>
                          <a:pt x="151" y="123"/>
                          <a:pt x="142" y="120"/>
                        </a:cubicBezTo>
                        <a:lnTo>
                          <a:pt x="142" y="198"/>
                        </a:lnTo>
                        <a:close/>
                        <a:moveTo>
                          <a:pt x="0" y="81"/>
                        </a:moveTo>
                        <a:cubicBezTo>
                          <a:pt x="6" y="92"/>
                          <a:pt x="13" y="103"/>
                          <a:pt x="21" y="113"/>
                        </a:cubicBezTo>
                        <a:cubicBezTo>
                          <a:pt x="21" y="35"/>
                          <a:pt x="21" y="35"/>
                          <a:pt x="21" y="35"/>
                        </a:cubicBezTo>
                        <a:cubicBezTo>
                          <a:pt x="13" y="25"/>
                          <a:pt x="6" y="14"/>
                          <a:pt x="0" y="3"/>
                        </a:cubicBezTo>
                        <a:lnTo>
                          <a:pt x="0" y="81"/>
                        </a:lnTo>
                        <a:close/>
                        <a:moveTo>
                          <a:pt x="43" y="136"/>
                        </a:moveTo>
                        <a:cubicBezTo>
                          <a:pt x="50" y="143"/>
                          <a:pt x="58" y="149"/>
                          <a:pt x="67" y="156"/>
                        </a:cubicBezTo>
                        <a:cubicBezTo>
                          <a:pt x="67" y="77"/>
                          <a:pt x="67" y="77"/>
                          <a:pt x="67" y="77"/>
                        </a:cubicBezTo>
                        <a:cubicBezTo>
                          <a:pt x="58" y="71"/>
                          <a:pt x="50" y="65"/>
                          <a:pt x="43" y="58"/>
                        </a:cubicBezTo>
                        <a:lnTo>
                          <a:pt x="43" y="136"/>
                        </a:lnTo>
                        <a:close/>
                        <a:moveTo>
                          <a:pt x="251" y="229"/>
                        </a:moveTo>
                        <a:cubicBezTo>
                          <a:pt x="262" y="231"/>
                          <a:pt x="273" y="233"/>
                          <a:pt x="284" y="234"/>
                        </a:cubicBezTo>
                        <a:cubicBezTo>
                          <a:pt x="284" y="156"/>
                          <a:pt x="284" y="156"/>
                          <a:pt x="284" y="156"/>
                        </a:cubicBezTo>
                        <a:cubicBezTo>
                          <a:pt x="273" y="154"/>
                          <a:pt x="262" y="153"/>
                          <a:pt x="251" y="151"/>
                        </a:cubicBezTo>
                        <a:lnTo>
                          <a:pt x="251" y="229"/>
                        </a:lnTo>
                        <a:close/>
                        <a:moveTo>
                          <a:pt x="94" y="174"/>
                        </a:moveTo>
                        <a:cubicBezTo>
                          <a:pt x="102" y="179"/>
                          <a:pt x="111" y="183"/>
                          <a:pt x="120" y="188"/>
                        </a:cubicBezTo>
                        <a:cubicBezTo>
                          <a:pt x="120" y="109"/>
                          <a:pt x="120" y="109"/>
                          <a:pt x="120" y="109"/>
                        </a:cubicBezTo>
                        <a:cubicBezTo>
                          <a:pt x="111" y="105"/>
                          <a:pt x="102" y="100"/>
                          <a:pt x="94" y="95"/>
                        </a:cubicBezTo>
                        <a:lnTo>
                          <a:pt x="94" y="174"/>
                        </a:lnTo>
                        <a:close/>
                        <a:moveTo>
                          <a:pt x="195" y="216"/>
                        </a:moveTo>
                        <a:cubicBezTo>
                          <a:pt x="205" y="219"/>
                          <a:pt x="215" y="222"/>
                          <a:pt x="225" y="224"/>
                        </a:cubicBezTo>
                        <a:cubicBezTo>
                          <a:pt x="225" y="146"/>
                          <a:pt x="225" y="146"/>
                          <a:pt x="225" y="146"/>
                        </a:cubicBezTo>
                        <a:cubicBezTo>
                          <a:pt x="215" y="143"/>
                          <a:pt x="205" y="141"/>
                          <a:pt x="195" y="138"/>
                        </a:cubicBezTo>
                        <a:lnTo>
                          <a:pt x="195" y="216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54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</p:grpSp>
          </p:grpSp>
        </p:grpSp>
        <p:grpSp>
          <p:nvGrpSpPr>
            <p:cNvPr id="30" name="Gruppieren 137">
              <a:extLst>
                <a:ext uri="{FF2B5EF4-FFF2-40B4-BE49-F238E27FC236}">
                  <a16:creationId xmlns:a16="http://schemas.microsoft.com/office/drawing/2014/main" id="{A9DCA75B-79BB-4022-82DB-42F06BB4E254}"/>
                </a:ext>
              </a:extLst>
            </p:cNvPr>
            <p:cNvGrpSpPr/>
            <p:nvPr/>
          </p:nvGrpSpPr>
          <p:grpSpPr>
            <a:xfrm>
              <a:off x="3439494" y="2540302"/>
              <a:ext cx="790964" cy="693415"/>
              <a:chOff x="3439494" y="2540302"/>
              <a:chExt cx="790964" cy="693415"/>
            </a:xfrm>
          </p:grpSpPr>
          <p:grpSp>
            <p:nvGrpSpPr>
              <p:cNvPr id="72" name="Gruppieren 80">
                <a:extLst>
                  <a:ext uri="{FF2B5EF4-FFF2-40B4-BE49-F238E27FC236}">
                    <a16:creationId xmlns:a16="http://schemas.microsoft.com/office/drawing/2014/main" id="{88ABC962-52A9-4D42-923F-423312A2E577}"/>
                  </a:ext>
                </a:extLst>
              </p:cNvPr>
              <p:cNvGrpSpPr/>
              <p:nvPr/>
            </p:nvGrpSpPr>
            <p:grpSpPr>
              <a:xfrm>
                <a:off x="3439494" y="2673951"/>
                <a:ext cx="781440" cy="559766"/>
                <a:chOff x="5688013" y="58738"/>
                <a:chExt cx="3111500" cy="2228851"/>
              </a:xfrm>
            </p:grpSpPr>
            <p:sp>
              <p:nvSpPr>
                <p:cNvPr id="81" name="Freeform 6">
                  <a:extLst>
                    <a:ext uri="{FF2B5EF4-FFF2-40B4-BE49-F238E27FC236}">
                      <a16:creationId xmlns:a16="http://schemas.microsoft.com/office/drawing/2014/main" id="{C34CFC4E-AA27-4649-9FDF-DBB07B06AB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88013" y="58738"/>
                  <a:ext cx="3111500" cy="1865313"/>
                </a:xfrm>
                <a:custGeom>
                  <a:avLst/>
                  <a:gdLst/>
                  <a:ahLst/>
                  <a:cxnLst>
                    <a:cxn ang="0">
                      <a:pos x="134" y="393"/>
                    </a:cxn>
                    <a:cxn ang="0">
                      <a:pos x="173" y="80"/>
                    </a:cxn>
                    <a:cxn ang="0">
                      <a:pos x="696" y="104"/>
                    </a:cxn>
                    <a:cxn ang="0">
                      <a:pos x="657" y="417"/>
                    </a:cxn>
                    <a:cxn ang="0">
                      <a:pos x="134" y="393"/>
                    </a:cxn>
                  </a:cxnLst>
                  <a:rect l="0" t="0" r="r" b="b"/>
                  <a:pathLst>
                    <a:path w="830" h="497">
                      <a:moveTo>
                        <a:pt x="134" y="393"/>
                      </a:moveTo>
                      <a:cubicBezTo>
                        <a:pt x="0" y="300"/>
                        <a:pt x="18" y="160"/>
                        <a:pt x="173" y="80"/>
                      </a:cubicBezTo>
                      <a:cubicBezTo>
                        <a:pt x="328" y="0"/>
                        <a:pt x="563" y="11"/>
                        <a:pt x="696" y="104"/>
                      </a:cubicBezTo>
                      <a:cubicBezTo>
                        <a:pt x="830" y="197"/>
                        <a:pt x="812" y="337"/>
                        <a:pt x="657" y="417"/>
                      </a:cubicBezTo>
                      <a:cubicBezTo>
                        <a:pt x="502" y="497"/>
                        <a:pt x="268" y="486"/>
                        <a:pt x="134" y="39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0810E"/>
                    </a:gs>
                    <a:gs pos="100000">
                      <a:srgbClr val="FFC000"/>
                    </a:gs>
                  </a:gsLst>
                  <a:lin ang="0" scaled="1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1615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GB" sz="1575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endParaRPr>
                </a:p>
              </p:txBody>
            </p:sp>
            <p:grpSp>
              <p:nvGrpSpPr>
                <p:cNvPr id="82" name="Gruppieren 62">
                  <a:extLst>
                    <a:ext uri="{FF2B5EF4-FFF2-40B4-BE49-F238E27FC236}">
                      <a16:creationId xmlns:a16="http://schemas.microsoft.com/office/drawing/2014/main" id="{A81F75CB-5FD5-45A6-92F8-CD7F702B4A00}"/>
                    </a:ext>
                  </a:extLst>
                </p:cNvPr>
                <p:cNvGrpSpPr/>
                <p:nvPr/>
              </p:nvGrpSpPr>
              <p:grpSpPr>
                <a:xfrm>
                  <a:off x="5849938" y="157163"/>
                  <a:ext cx="2789238" cy="2130426"/>
                  <a:chOff x="5849938" y="157163"/>
                  <a:chExt cx="2789238" cy="2130426"/>
                </a:xfrm>
              </p:grpSpPr>
              <p:sp>
                <p:nvSpPr>
                  <p:cNvPr id="83" name="Freeform 7">
                    <a:extLst>
                      <a:ext uri="{FF2B5EF4-FFF2-40B4-BE49-F238E27FC236}">
                        <a16:creationId xmlns:a16="http://schemas.microsoft.com/office/drawing/2014/main" id="{890FDBF9-38E5-47CB-A23F-8B2DA051C81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56288" y="157163"/>
                    <a:ext cx="2774950" cy="1662113"/>
                  </a:xfrm>
                  <a:custGeom>
                    <a:avLst/>
                    <a:gdLst/>
                    <a:ahLst/>
                    <a:cxnLst>
                      <a:cxn ang="0">
                        <a:pos x="154" y="72"/>
                      </a:cxn>
                      <a:cxn ang="0">
                        <a:pos x="621" y="92"/>
                      </a:cxn>
                      <a:cxn ang="0">
                        <a:pos x="586" y="372"/>
                      </a:cxn>
                      <a:cxn ang="0">
                        <a:pos x="119" y="351"/>
                      </a:cxn>
                      <a:cxn ang="0">
                        <a:pos x="154" y="72"/>
                      </a:cxn>
                    </a:cxnLst>
                    <a:rect l="0" t="0" r="r" b="b"/>
                    <a:pathLst>
                      <a:path w="740" h="443">
                        <a:moveTo>
                          <a:pt x="154" y="72"/>
                        </a:moveTo>
                        <a:cubicBezTo>
                          <a:pt x="293" y="0"/>
                          <a:pt x="501" y="10"/>
                          <a:pt x="621" y="92"/>
                        </a:cubicBezTo>
                        <a:cubicBezTo>
                          <a:pt x="740" y="175"/>
                          <a:pt x="724" y="300"/>
                          <a:pt x="586" y="372"/>
                        </a:cubicBezTo>
                        <a:cubicBezTo>
                          <a:pt x="447" y="443"/>
                          <a:pt x="239" y="433"/>
                          <a:pt x="119" y="351"/>
                        </a:cubicBezTo>
                        <a:cubicBezTo>
                          <a:pt x="0" y="268"/>
                          <a:pt x="16" y="143"/>
                          <a:pt x="154" y="72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135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84" name="Freeform 8">
                    <a:extLst>
                      <a:ext uri="{FF2B5EF4-FFF2-40B4-BE49-F238E27FC236}">
                        <a16:creationId xmlns:a16="http://schemas.microsoft.com/office/drawing/2014/main" id="{55417A6E-DC31-4A51-B92A-CDFC3A1FEB7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908676" y="187326"/>
                    <a:ext cx="2670175" cy="1601788"/>
                  </a:xfrm>
                  <a:custGeom>
                    <a:avLst/>
                    <a:gdLst/>
                    <a:ahLst/>
                    <a:cxnLst>
                      <a:cxn ang="0">
                        <a:pos x="148" y="69"/>
                      </a:cxn>
                      <a:cxn ang="0">
                        <a:pos x="597" y="89"/>
                      </a:cxn>
                      <a:cxn ang="0">
                        <a:pos x="564" y="358"/>
                      </a:cxn>
                      <a:cxn ang="0">
                        <a:pos x="115" y="338"/>
                      </a:cxn>
                      <a:cxn ang="0">
                        <a:pos x="148" y="69"/>
                      </a:cxn>
                    </a:cxnLst>
                    <a:rect l="0" t="0" r="r" b="b"/>
                    <a:pathLst>
                      <a:path w="712" h="427">
                        <a:moveTo>
                          <a:pt x="148" y="69"/>
                        </a:moveTo>
                        <a:cubicBezTo>
                          <a:pt x="282" y="0"/>
                          <a:pt x="483" y="9"/>
                          <a:pt x="597" y="89"/>
                        </a:cubicBezTo>
                        <a:cubicBezTo>
                          <a:pt x="712" y="169"/>
                          <a:pt x="697" y="289"/>
                          <a:pt x="564" y="358"/>
                        </a:cubicBezTo>
                        <a:cubicBezTo>
                          <a:pt x="431" y="427"/>
                          <a:pt x="229" y="418"/>
                          <a:pt x="115" y="338"/>
                        </a:cubicBezTo>
                        <a:cubicBezTo>
                          <a:pt x="0" y="258"/>
                          <a:pt x="15" y="138"/>
                          <a:pt x="148" y="69"/>
                        </a:cubicBezTo>
                        <a:close/>
                      </a:path>
                    </a:pathLst>
                  </a:custGeom>
                  <a:solidFill>
                    <a:srgbClr val="FDD284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85" name="Freeform 9">
                    <a:extLst>
                      <a:ext uri="{FF2B5EF4-FFF2-40B4-BE49-F238E27FC236}">
                        <a16:creationId xmlns:a16="http://schemas.microsoft.com/office/drawing/2014/main" id="{061AC9E4-88E4-480B-B0AC-3E85DB4DFB6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648451" y="588963"/>
                    <a:ext cx="1187450" cy="801688"/>
                  </a:xfrm>
                  <a:custGeom>
                    <a:avLst/>
                    <a:gdLst/>
                    <a:ahLst/>
                    <a:cxnLst>
                      <a:cxn ang="0">
                        <a:pos x="268" y="211"/>
                      </a:cxn>
                      <a:cxn ang="0">
                        <a:pos x="238" y="190"/>
                      </a:cxn>
                      <a:cxn ang="0">
                        <a:pos x="157" y="214"/>
                      </a:cxn>
                      <a:cxn ang="0">
                        <a:pos x="124" y="177"/>
                      </a:cxn>
                      <a:cxn ang="0">
                        <a:pos x="205" y="153"/>
                      </a:cxn>
                      <a:cxn ang="0">
                        <a:pos x="223" y="125"/>
                      </a:cxn>
                      <a:cxn ang="0">
                        <a:pos x="160" y="129"/>
                      </a:cxn>
                      <a:cxn ang="0">
                        <a:pos x="29" y="123"/>
                      </a:cxn>
                      <a:cxn ang="0">
                        <a:pos x="35" y="46"/>
                      </a:cxn>
                      <a:cxn ang="0">
                        <a:pos x="5" y="25"/>
                      </a:cxn>
                      <a:cxn ang="0">
                        <a:pos x="48" y="3"/>
                      </a:cxn>
                      <a:cxn ang="0">
                        <a:pos x="76" y="23"/>
                      </a:cxn>
                      <a:cxn ang="0">
                        <a:pos x="143" y="0"/>
                      </a:cxn>
                      <a:cxn ang="0">
                        <a:pos x="174" y="37"/>
                      </a:cxn>
                      <a:cxn ang="0">
                        <a:pos x="106" y="58"/>
                      </a:cxn>
                      <a:cxn ang="0">
                        <a:pos x="91" y="83"/>
                      </a:cxn>
                      <a:cxn ang="0">
                        <a:pos x="160" y="77"/>
                      </a:cxn>
                      <a:cxn ang="0">
                        <a:pos x="286" y="86"/>
                      </a:cxn>
                      <a:cxn ang="0">
                        <a:pos x="278" y="165"/>
                      </a:cxn>
                      <a:cxn ang="0">
                        <a:pos x="311" y="188"/>
                      </a:cxn>
                      <a:cxn ang="0">
                        <a:pos x="268" y="211"/>
                      </a:cxn>
                    </a:cxnLst>
                    <a:rect l="0" t="0" r="r" b="b"/>
                    <a:pathLst>
                      <a:path w="317" h="214">
                        <a:moveTo>
                          <a:pt x="268" y="211"/>
                        </a:moveTo>
                        <a:cubicBezTo>
                          <a:pt x="238" y="190"/>
                          <a:pt x="238" y="190"/>
                          <a:pt x="238" y="190"/>
                        </a:cubicBezTo>
                        <a:cubicBezTo>
                          <a:pt x="210" y="202"/>
                          <a:pt x="178" y="211"/>
                          <a:pt x="157" y="214"/>
                        </a:cubicBezTo>
                        <a:cubicBezTo>
                          <a:pt x="124" y="177"/>
                          <a:pt x="124" y="177"/>
                          <a:pt x="124" y="177"/>
                        </a:cubicBezTo>
                        <a:cubicBezTo>
                          <a:pt x="149" y="173"/>
                          <a:pt x="179" y="166"/>
                          <a:pt x="205" y="153"/>
                        </a:cubicBezTo>
                        <a:cubicBezTo>
                          <a:pt x="224" y="143"/>
                          <a:pt x="233" y="132"/>
                          <a:pt x="223" y="125"/>
                        </a:cubicBezTo>
                        <a:cubicBezTo>
                          <a:pt x="213" y="118"/>
                          <a:pt x="196" y="120"/>
                          <a:pt x="160" y="129"/>
                        </a:cubicBezTo>
                        <a:cubicBezTo>
                          <a:pt x="108" y="142"/>
                          <a:pt x="62" y="146"/>
                          <a:pt x="29" y="123"/>
                        </a:cubicBezTo>
                        <a:cubicBezTo>
                          <a:pt x="0" y="102"/>
                          <a:pt x="0" y="74"/>
                          <a:pt x="35" y="46"/>
                        </a:cubicBezTo>
                        <a:cubicBezTo>
                          <a:pt x="5" y="25"/>
                          <a:pt x="5" y="25"/>
                          <a:pt x="5" y="25"/>
                        </a:cubicBezTo>
                        <a:cubicBezTo>
                          <a:pt x="48" y="3"/>
                          <a:pt x="48" y="3"/>
                          <a:pt x="48" y="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102" y="10"/>
                          <a:pt x="125" y="4"/>
                          <a:pt x="143" y="0"/>
                        </a:cubicBezTo>
                        <a:cubicBezTo>
                          <a:pt x="174" y="37"/>
                          <a:pt x="174" y="37"/>
                          <a:pt x="174" y="37"/>
                        </a:cubicBezTo>
                        <a:cubicBezTo>
                          <a:pt x="161" y="39"/>
                          <a:pt x="135" y="44"/>
                          <a:pt x="106" y="58"/>
                        </a:cubicBezTo>
                        <a:cubicBezTo>
                          <a:pt x="84" y="70"/>
                          <a:pt x="84" y="78"/>
                          <a:pt x="91" y="83"/>
                        </a:cubicBezTo>
                        <a:cubicBezTo>
                          <a:pt x="99" y="89"/>
                          <a:pt x="118" y="86"/>
                          <a:pt x="160" y="77"/>
                        </a:cubicBezTo>
                        <a:cubicBezTo>
                          <a:pt x="221" y="61"/>
                          <a:pt x="257" y="65"/>
                          <a:pt x="286" y="86"/>
                        </a:cubicBezTo>
                        <a:cubicBezTo>
                          <a:pt x="317" y="107"/>
                          <a:pt x="316" y="137"/>
                          <a:pt x="278" y="165"/>
                        </a:cubicBezTo>
                        <a:cubicBezTo>
                          <a:pt x="311" y="188"/>
                          <a:pt x="311" y="188"/>
                          <a:pt x="311" y="188"/>
                        </a:cubicBezTo>
                        <a:lnTo>
                          <a:pt x="268" y="211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189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86" name="Freeform 10">
                    <a:extLst>
                      <a:ext uri="{FF2B5EF4-FFF2-40B4-BE49-F238E27FC236}">
                        <a16:creationId xmlns:a16="http://schemas.microsoft.com/office/drawing/2014/main" id="{AF30D308-3C67-4B4F-A8FB-161F2D00048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49938" y="1057276"/>
                    <a:ext cx="2789238" cy="1230313"/>
                  </a:xfrm>
                  <a:custGeom>
                    <a:avLst/>
                    <a:gdLst/>
                    <a:ahLst/>
                    <a:cxnLst>
                      <a:cxn ang="0">
                        <a:pos x="741" y="56"/>
                      </a:cxn>
                      <a:cxn ang="0">
                        <a:pos x="741" y="0"/>
                      </a:cxn>
                      <a:cxn ang="0">
                        <a:pos x="733" y="28"/>
                      </a:cxn>
                      <a:cxn ang="0">
                        <a:pos x="614" y="145"/>
                      </a:cxn>
                      <a:cxn ang="0">
                        <a:pos x="91" y="121"/>
                      </a:cxn>
                      <a:cxn ang="0">
                        <a:pos x="11" y="28"/>
                      </a:cxn>
                      <a:cxn ang="0">
                        <a:pos x="3" y="0"/>
                      </a:cxn>
                      <a:cxn ang="0">
                        <a:pos x="3" y="56"/>
                      </a:cxn>
                      <a:cxn ang="0">
                        <a:pos x="3" y="103"/>
                      </a:cxn>
                      <a:cxn ang="0">
                        <a:pos x="91" y="224"/>
                      </a:cxn>
                      <a:cxn ang="0">
                        <a:pos x="614" y="248"/>
                      </a:cxn>
                      <a:cxn ang="0">
                        <a:pos x="741" y="103"/>
                      </a:cxn>
                      <a:cxn ang="0">
                        <a:pos x="741" y="56"/>
                      </a:cxn>
                    </a:cxnLst>
                    <a:rect l="0" t="0" r="r" b="b"/>
                    <a:pathLst>
                      <a:path w="744" h="328">
                        <a:moveTo>
                          <a:pt x="741" y="56"/>
                        </a:moveTo>
                        <a:cubicBezTo>
                          <a:pt x="741" y="0"/>
                          <a:pt x="741" y="0"/>
                          <a:pt x="741" y="0"/>
                        </a:cubicBezTo>
                        <a:cubicBezTo>
                          <a:pt x="739" y="9"/>
                          <a:pt x="737" y="18"/>
                          <a:pt x="733" y="28"/>
                        </a:cubicBezTo>
                        <a:cubicBezTo>
                          <a:pt x="716" y="72"/>
                          <a:pt x="676" y="113"/>
                          <a:pt x="614" y="145"/>
                        </a:cubicBezTo>
                        <a:cubicBezTo>
                          <a:pt x="459" y="225"/>
                          <a:pt x="225" y="214"/>
                          <a:pt x="91" y="121"/>
                        </a:cubicBezTo>
                        <a:cubicBezTo>
                          <a:pt x="51" y="93"/>
                          <a:pt x="24" y="61"/>
                          <a:pt x="11" y="28"/>
                        </a:cubicBezTo>
                        <a:cubicBezTo>
                          <a:pt x="7" y="19"/>
                          <a:pt x="5" y="9"/>
                          <a:pt x="3" y="0"/>
                        </a:cubicBezTo>
                        <a:cubicBezTo>
                          <a:pt x="3" y="56"/>
                          <a:pt x="3" y="56"/>
                          <a:pt x="3" y="56"/>
                        </a:cubicBezTo>
                        <a:cubicBezTo>
                          <a:pt x="0" y="72"/>
                          <a:pt x="0" y="87"/>
                          <a:pt x="3" y="103"/>
                        </a:cubicBezTo>
                        <a:cubicBezTo>
                          <a:pt x="11" y="146"/>
                          <a:pt x="40" y="189"/>
                          <a:pt x="91" y="224"/>
                        </a:cubicBezTo>
                        <a:cubicBezTo>
                          <a:pt x="225" y="317"/>
                          <a:pt x="459" y="328"/>
                          <a:pt x="614" y="248"/>
                        </a:cubicBezTo>
                        <a:cubicBezTo>
                          <a:pt x="689" y="209"/>
                          <a:pt x="731" y="157"/>
                          <a:pt x="741" y="103"/>
                        </a:cubicBezTo>
                        <a:cubicBezTo>
                          <a:pt x="744" y="87"/>
                          <a:pt x="744" y="71"/>
                          <a:pt x="741" y="56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CC6600"/>
                      </a:gs>
                    </a:gsLst>
                    <a:lin ang="162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87" name="Freeform 11">
                    <a:extLst>
                      <a:ext uri="{FF2B5EF4-FFF2-40B4-BE49-F238E27FC236}">
                        <a16:creationId xmlns:a16="http://schemas.microsoft.com/office/drawing/2014/main" id="{32BF4DBB-29B6-445B-9EF3-474E80F1AC0A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913438" y="1236663"/>
                    <a:ext cx="2665413" cy="893763"/>
                  </a:xfrm>
                  <a:custGeom>
                    <a:avLst/>
                    <a:gdLst/>
                    <a:ahLst/>
                    <a:cxnLst>
                      <a:cxn ang="0">
                        <a:pos x="569" y="197"/>
                      </a:cxn>
                      <a:cxn ang="0">
                        <a:pos x="541" y="130"/>
                      </a:cxn>
                      <a:cxn ang="0">
                        <a:pos x="486" y="224"/>
                      </a:cxn>
                      <a:cxn ang="0">
                        <a:pos x="517" y="138"/>
                      </a:cxn>
                      <a:cxn ang="0">
                        <a:pos x="486" y="224"/>
                      </a:cxn>
                      <a:cxn ang="0">
                        <a:pos x="592" y="187"/>
                      </a:cxn>
                      <a:cxn ang="0">
                        <a:pos x="618" y="173"/>
                      </a:cxn>
                      <a:cxn ang="0">
                        <a:pos x="597" y="106"/>
                      </a:cxn>
                      <a:cxn ang="0">
                        <a:pos x="367" y="238"/>
                      </a:cxn>
                      <a:cxn ang="0">
                        <a:pos x="402" y="158"/>
                      </a:cxn>
                      <a:cxn ang="0">
                        <a:pos x="367" y="238"/>
                      </a:cxn>
                      <a:cxn ang="0">
                        <a:pos x="461" y="229"/>
                      </a:cxn>
                      <a:cxn ang="0">
                        <a:pos x="428" y="155"/>
                      </a:cxn>
                      <a:cxn ang="0">
                        <a:pos x="690" y="33"/>
                      </a:cxn>
                      <a:cxn ang="0">
                        <a:pos x="711" y="78"/>
                      </a:cxn>
                      <a:cxn ang="0">
                        <a:pos x="690" y="33"/>
                      </a:cxn>
                      <a:cxn ang="0">
                        <a:pos x="668" y="135"/>
                      </a:cxn>
                      <a:cxn ang="0">
                        <a:pos x="645" y="76"/>
                      </a:cxn>
                      <a:cxn ang="0">
                        <a:pos x="310" y="236"/>
                      </a:cxn>
                      <a:cxn ang="0">
                        <a:pos x="345" y="160"/>
                      </a:cxn>
                      <a:cxn ang="0">
                        <a:pos x="310" y="236"/>
                      </a:cxn>
                      <a:cxn ang="0">
                        <a:pos x="170" y="209"/>
                      </a:cxn>
                      <a:cxn ang="0">
                        <a:pos x="142" y="120"/>
                      </a:cxn>
                      <a:cxn ang="0">
                        <a:pos x="0" y="81"/>
                      </a:cxn>
                      <a:cxn ang="0">
                        <a:pos x="21" y="35"/>
                      </a:cxn>
                      <a:cxn ang="0">
                        <a:pos x="0" y="81"/>
                      </a:cxn>
                      <a:cxn ang="0">
                        <a:pos x="67" y="156"/>
                      </a:cxn>
                      <a:cxn ang="0">
                        <a:pos x="43" y="58"/>
                      </a:cxn>
                      <a:cxn ang="0">
                        <a:pos x="251" y="229"/>
                      </a:cxn>
                      <a:cxn ang="0">
                        <a:pos x="284" y="156"/>
                      </a:cxn>
                      <a:cxn ang="0">
                        <a:pos x="251" y="229"/>
                      </a:cxn>
                      <a:cxn ang="0">
                        <a:pos x="120" y="188"/>
                      </a:cxn>
                      <a:cxn ang="0">
                        <a:pos x="94" y="95"/>
                      </a:cxn>
                      <a:cxn ang="0">
                        <a:pos x="195" y="216"/>
                      </a:cxn>
                      <a:cxn ang="0">
                        <a:pos x="225" y="146"/>
                      </a:cxn>
                      <a:cxn ang="0">
                        <a:pos x="195" y="216"/>
                      </a:cxn>
                    </a:cxnLst>
                    <a:rect l="0" t="0" r="r" b="b"/>
                    <a:pathLst>
                      <a:path w="711" h="238">
                        <a:moveTo>
                          <a:pt x="541" y="208"/>
                        </a:moveTo>
                        <a:cubicBezTo>
                          <a:pt x="551" y="205"/>
                          <a:pt x="560" y="201"/>
                          <a:pt x="569" y="197"/>
                        </a:cubicBezTo>
                        <a:cubicBezTo>
                          <a:pt x="569" y="119"/>
                          <a:pt x="569" y="119"/>
                          <a:pt x="569" y="119"/>
                        </a:cubicBezTo>
                        <a:cubicBezTo>
                          <a:pt x="560" y="123"/>
                          <a:pt x="551" y="126"/>
                          <a:pt x="541" y="130"/>
                        </a:cubicBezTo>
                        <a:lnTo>
                          <a:pt x="541" y="208"/>
                        </a:lnTo>
                        <a:close/>
                        <a:moveTo>
                          <a:pt x="486" y="224"/>
                        </a:moveTo>
                        <a:cubicBezTo>
                          <a:pt x="497" y="221"/>
                          <a:pt x="507" y="219"/>
                          <a:pt x="517" y="216"/>
                        </a:cubicBezTo>
                        <a:cubicBezTo>
                          <a:pt x="517" y="138"/>
                          <a:pt x="517" y="138"/>
                          <a:pt x="517" y="138"/>
                        </a:cubicBezTo>
                        <a:cubicBezTo>
                          <a:pt x="507" y="140"/>
                          <a:pt x="497" y="143"/>
                          <a:pt x="486" y="145"/>
                        </a:cubicBezTo>
                        <a:lnTo>
                          <a:pt x="486" y="224"/>
                        </a:lnTo>
                        <a:close/>
                        <a:moveTo>
                          <a:pt x="592" y="109"/>
                        </a:moveTo>
                        <a:cubicBezTo>
                          <a:pt x="592" y="187"/>
                          <a:pt x="592" y="187"/>
                          <a:pt x="592" y="187"/>
                        </a:cubicBezTo>
                        <a:cubicBezTo>
                          <a:pt x="594" y="186"/>
                          <a:pt x="595" y="185"/>
                          <a:pt x="597" y="184"/>
                        </a:cubicBezTo>
                        <a:cubicBezTo>
                          <a:pt x="604" y="180"/>
                          <a:pt x="611" y="177"/>
                          <a:pt x="618" y="173"/>
                        </a:cubicBezTo>
                        <a:cubicBezTo>
                          <a:pt x="618" y="94"/>
                          <a:pt x="618" y="94"/>
                          <a:pt x="618" y="94"/>
                        </a:cubicBezTo>
                        <a:cubicBezTo>
                          <a:pt x="611" y="98"/>
                          <a:pt x="604" y="102"/>
                          <a:pt x="597" y="106"/>
                        </a:cubicBezTo>
                        <a:cubicBezTo>
                          <a:pt x="595" y="107"/>
                          <a:pt x="594" y="108"/>
                          <a:pt x="592" y="109"/>
                        </a:cubicBezTo>
                        <a:close/>
                        <a:moveTo>
                          <a:pt x="367" y="238"/>
                        </a:moveTo>
                        <a:cubicBezTo>
                          <a:pt x="378" y="238"/>
                          <a:pt x="390" y="237"/>
                          <a:pt x="402" y="236"/>
                        </a:cubicBezTo>
                        <a:cubicBezTo>
                          <a:pt x="402" y="158"/>
                          <a:pt x="402" y="158"/>
                          <a:pt x="402" y="158"/>
                        </a:cubicBezTo>
                        <a:cubicBezTo>
                          <a:pt x="390" y="159"/>
                          <a:pt x="378" y="159"/>
                          <a:pt x="367" y="160"/>
                        </a:cubicBezTo>
                        <a:lnTo>
                          <a:pt x="367" y="238"/>
                        </a:lnTo>
                        <a:close/>
                        <a:moveTo>
                          <a:pt x="428" y="234"/>
                        </a:moveTo>
                        <a:cubicBezTo>
                          <a:pt x="439" y="232"/>
                          <a:pt x="450" y="231"/>
                          <a:pt x="461" y="229"/>
                        </a:cubicBezTo>
                        <a:cubicBezTo>
                          <a:pt x="461" y="151"/>
                          <a:pt x="461" y="151"/>
                          <a:pt x="461" y="151"/>
                        </a:cubicBezTo>
                        <a:cubicBezTo>
                          <a:pt x="450" y="153"/>
                          <a:pt x="439" y="154"/>
                          <a:pt x="428" y="155"/>
                        </a:cubicBezTo>
                        <a:lnTo>
                          <a:pt x="428" y="234"/>
                        </a:lnTo>
                        <a:close/>
                        <a:moveTo>
                          <a:pt x="690" y="33"/>
                        </a:moveTo>
                        <a:cubicBezTo>
                          <a:pt x="690" y="111"/>
                          <a:pt x="690" y="111"/>
                          <a:pt x="690" y="111"/>
                        </a:cubicBezTo>
                        <a:cubicBezTo>
                          <a:pt x="699" y="101"/>
                          <a:pt x="706" y="89"/>
                          <a:pt x="711" y="78"/>
                        </a:cubicBezTo>
                        <a:cubicBezTo>
                          <a:pt x="711" y="0"/>
                          <a:pt x="711" y="0"/>
                          <a:pt x="711" y="0"/>
                        </a:cubicBezTo>
                        <a:cubicBezTo>
                          <a:pt x="706" y="11"/>
                          <a:pt x="699" y="22"/>
                          <a:pt x="690" y="33"/>
                        </a:cubicBezTo>
                        <a:close/>
                        <a:moveTo>
                          <a:pt x="645" y="155"/>
                        </a:moveTo>
                        <a:cubicBezTo>
                          <a:pt x="653" y="148"/>
                          <a:pt x="661" y="142"/>
                          <a:pt x="668" y="135"/>
                        </a:cubicBezTo>
                        <a:cubicBezTo>
                          <a:pt x="668" y="57"/>
                          <a:pt x="668" y="57"/>
                          <a:pt x="668" y="57"/>
                        </a:cubicBezTo>
                        <a:cubicBezTo>
                          <a:pt x="661" y="63"/>
                          <a:pt x="653" y="70"/>
                          <a:pt x="645" y="76"/>
                        </a:cubicBezTo>
                        <a:lnTo>
                          <a:pt x="645" y="155"/>
                        </a:lnTo>
                        <a:close/>
                        <a:moveTo>
                          <a:pt x="310" y="236"/>
                        </a:moveTo>
                        <a:cubicBezTo>
                          <a:pt x="321" y="237"/>
                          <a:pt x="333" y="238"/>
                          <a:pt x="345" y="238"/>
                        </a:cubicBezTo>
                        <a:cubicBezTo>
                          <a:pt x="345" y="160"/>
                          <a:pt x="345" y="160"/>
                          <a:pt x="345" y="160"/>
                        </a:cubicBezTo>
                        <a:cubicBezTo>
                          <a:pt x="333" y="159"/>
                          <a:pt x="321" y="159"/>
                          <a:pt x="310" y="158"/>
                        </a:cubicBezTo>
                        <a:lnTo>
                          <a:pt x="310" y="236"/>
                        </a:lnTo>
                        <a:close/>
                        <a:moveTo>
                          <a:pt x="142" y="198"/>
                        </a:moveTo>
                        <a:cubicBezTo>
                          <a:pt x="151" y="202"/>
                          <a:pt x="161" y="205"/>
                          <a:pt x="170" y="209"/>
                        </a:cubicBezTo>
                        <a:cubicBezTo>
                          <a:pt x="170" y="130"/>
                          <a:pt x="170" y="130"/>
                          <a:pt x="170" y="130"/>
                        </a:cubicBezTo>
                        <a:cubicBezTo>
                          <a:pt x="161" y="127"/>
                          <a:pt x="151" y="123"/>
                          <a:pt x="142" y="120"/>
                        </a:cubicBezTo>
                        <a:lnTo>
                          <a:pt x="142" y="198"/>
                        </a:lnTo>
                        <a:close/>
                        <a:moveTo>
                          <a:pt x="0" y="81"/>
                        </a:moveTo>
                        <a:cubicBezTo>
                          <a:pt x="6" y="92"/>
                          <a:pt x="13" y="103"/>
                          <a:pt x="21" y="113"/>
                        </a:cubicBezTo>
                        <a:cubicBezTo>
                          <a:pt x="21" y="35"/>
                          <a:pt x="21" y="35"/>
                          <a:pt x="21" y="35"/>
                        </a:cubicBezTo>
                        <a:cubicBezTo>
                          <a:pt x="13" y="25"/>
                          <a:pt x="6" y="14"/>
                          <a:pt x="0" y="3"/>
                        </a:cubicBezTo>
                        <a:lnTo>
                          <a:pt x="0" y="81"/>
                        </a:lnTo>
                        <a:close/>
                        <a:moveTo>
                          <a:pt x="43" y="136"/>
                        </a:moveTo>
                        <a:cubicBezTo>
                          <a:pt x="50" y="143"/>
                          <a:pt x="58" y="149"/>
                          <a:pt x="67" y="156"/>
                        </a:cubicBezTo>
                        <a:cubicBezTo>
                          <a:pt x="67" y="77"/>
                          <a:pt x="67" y="77"/>
                          <a:pt x="67" y="77"/>
                        </a:cubicBezTo>
                        <a:cubicBezTo>
                          <a:pt x="58" y="71"/>
                          <a:pt x="50" y="65"/>
                          <a:pt x="43" y="58"/>
                        </a:cubicBezTo>
                        <a:lnTo>
                          <a:pt x="43" y="136"/>
                        </a:lnTo>
                        <a:close/>
                        <a:moveTo>
                          <a:pt x="251" y="229"/>
                        </a:moveTo>
                        <a:cubicBezTo>
                          <a:pt x="262" y="231"/>
                          <a:pt x="273" y="233"/>
                          <a:pt x="284" y="234"/>
                        </a:cubicBezTo>
                        <a:cubicBezTo>
                          <a:pt x="284" y="156"/>
                          <a:pt x="284" y="156"/>
                          <a:pt x="284" y="156"/>
                        </a:cubicBezTo>
                        <a:cubicBezTo>
                          <a:pt x="273" y="154"/>
                          <a:pt x="262" y="153"/>
                          <a:pt x="251" y="151"/>
                        </a:cubicBezTo>
                        <a:lnTo>
                          <a:pt x="251" y="229"/>
                        </a:lnTo>
                        <a:close/>
                        <a:moveTo>
                          <a:pt x="94" y="174"/>
                        </a:moveTo>
                        <a:cubicBezTo>
                          <a:pt x="102" y="179"/>
                          <a:pt x="111" y="183"/>
                          <a:pt x="120" y="188"/>
                        </a:cubicBezTo>
                        <a:cubicBezTo>
                          <a:pt x="120" y="109"/>
                          <a:pt x="120" y="109"/>
                          <a:pt x="120" y="109"/>
                        </a:cubicBezTo>
                        <a:cubicBezTo>
                          <a:pt x="111" y="105"/>
                          <a:pt x="102" y="100"/>
                          <a:pt x="94" y="95"/>
                        </a:cubicBezTo>
                        <a:lnTo>
                          <a:pt x="94" y="174"/>
                        </a:lnTo>
                        <a:close/>
                        <a:moveTo>
                          <a:pt x="195" y="216"/>
                        </a:moveTo>
                        <a:cubicBezTo>
                          <a:pt x="205" y="219"/>
                          <a:pt x="215" y="222"/>
                          <a:pt x="225" y="224"/>
                        </a:cubicBezTo>
                        <a:cubicBezTo>
                          <a:pt x="225" y="146"/>
                          <a:pt x="225" y="146"/>
                          <a:pt x="225" y="146"/>
                        </a:cubicBezTo>
                        <a:cubicBezTo>
                          <a:pt x="215" y="143"/>
                          <a:pt x="205" y="141"/>
                          <a:pt x="195" y="138"/>
                        </a:cubicBezTo>
                        <a:lnTo>
                          <a:pt x="195" y="216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54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</p:grpSp>
          </p:grpSp>
          <p:grpSp>
            <p:nvGrpSpPr>
              <p:cNvPr id="73" name="Gruppieren 104">
                <a:extLst>
                  <a:ext uri="{FF2B5EF4-FFF2-40B4-BE49-F238E27FC236}">
                    <a16:creationId xmlns:a16="http://schemas.microsoft.com/office/drawing/2014/main" id="{B3B8A931-2591-4A6C-9506-C1615971F0FC}"/>
                  </a:ext>
                </a:extLst>
              </p:cNvPr>
              <p:cNvGrpSpPr/>
              <p:nvPr/>
            </p:nvGrpSpPr>
            <p:grpSpPr>
              <a:xfrm>
                <a:off x="3449018" y="2540302"/>
                <a:ext cx="781440" cy="559766"/>
                <a:chOff x="5688013" y="58738"/>
                <a:chExt cx="3111500" cy="2228851"/>
              </a:xfrm>
            </p:grpSpPr>
            <p:sp>
              <p:nvSpPr>
                <p:cNvPr id="74" name="Freeform 6">
                  <a:extLst>
                    <a:ext uri="{FF2B5EF4-FFF2-40B4-BE49-F238E27FC236}">
                      <a16:creationId xmlns:a16="http://schemas.microsoft.com/office/drawing/2014/main" id="{E5CC6CF8-2616-4142-A056-BC69A79B79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88013" y="58738"/>
                  <a:ext cx="3111500" cy="1865313"/>
                </a:xfrm>
                <a:custGeom>
                  <a:avLst/>
                  <a:gdLst/>
                  <a:ahLst/>
                  <a:cxnLst>
                    <a:cxn ang="0">
                      <a:pos x="134" y="393"/>
                    </a:cxn>
                    <a:cxn ang="0">
                      <a:pos x="173" y="80"/>
                    </a:cxn>
                    <a:cxn ang="0">
                      <a:pos x="696" y="104"/>
                    </a:cxn>
                    <a:cxn ang="0">
                      <a:pos x="657" y="417"/>
                    </a:cxn>
                    <a:cxn ang="0">
                      <a:pos x="134" y="393"/>
                    </a:cxn>
                  </a:cxnLst>
                  <a:rect l="0" t="0" r="r" b="b"/>
                  <a:pathLst>
                    <a:path w="830" h="497">
                      <a:moveTo>
                        <a:pt x="134" y="393"/>
                      </a:moveTo>
                      <a:cubicBezTo>
                        <a:pt x="0" y="300"/>
                        <a:pt x="18" y="160"/>
                        <a:pt x="173" y="80"/>
                      </a:cubicBezTo>
                      <a:cubicBezTo>
                        <a:pt x="328" y="0"/>
                        <a:pt x="563" y="11"/>
                        <a:pt x="696" y="104"/>
                      </a:cubicBezTo>
                      <a:cubicBezTo>
                        <a:pt x="830" y="197"/>
                        <a:pt x="812" y="337"/>
                        <a:pt x="657" y="417"/>
                      </a:cubicBezTo>
                      <a:cubicBezTo>
                        <a:pt x="502" y="497"/>
                        <a:pt x="268" y="486"/>
                        <a:pt x="134" y="39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0810E"/>
                    </a:gs>
                    <a:gs pos="100000">
                      <a:srgbClr val="FFC000"/>
                    </a:gs>
                  </a:gsLst>
                  <a:lin ang="0" scaled="1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1615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GB" sz="1575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endParaRPr>
                </a:p>
              </p:txBody>
            </p:sp>
            <p:grpSp>
              <p:nvGrpSpPr>
                <p:cNvPr id="75" name="Gruppieren 62">
                  <a:extLst>
                    <a:ext uri="{FF2B5EF4-FFF2-40B4-BE49-F238E27FC236}">
                      <a16:creationId xmlns:a16="http://schemas.microsoft.com/office/drawing/2014/main" id="{5F7978A1-A654-4446-B47C-D24AB2995DB3}"/>
                    </a:ext>
                  </a:extLst>
                </p:cNvPr>
                <p:cNvGrpSpPr/>
                <p:nvPr/>
              </p:nvGrpSpPr>
              <p:grpSpPr>
                <a:xfrm>
                  <a:off x="5849938" y="157163"/>
                  <a:ext cx="2789238" cy="2130426"/>
                  <a:chOff x="5849938" y="157163"/>
                  <a:chExt cx="2789238" cy="2130426"/>
                </a:xfrm>
              </p:grpSpPr>
              <p:sp>
                <p:nvSpPr>
                  <p:cNvPr id="76" name="Freeform 7">
                    <a:extLst>
                      <a:ext uri="{FF2B5EF4-FFF2-40B4-BE49-F238E27FC236}">
                        <a16:creationId xmlns:a16="http://schemas.microsoft.com/office/drawing/2014/main" id="{3BB8740E-A9C3-409C-92EB-C19E1D7371D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56288" y="157163"/>
                    <a:ext cx="2774950" cy="1662113"/>
                  </a:xfrm>
                  <a:custGeom>
                    <a:avLst/>
                    <a:gdLst/>
                    <a:ahLst/>
                    <a:cxnLst>
                      <a:cxn ang="0">
                        <a:pos x="154" y="72"/>
                      </a:cxn>
                      <a:cxn ang="0">
                        <a:pos x="621" y="92"/>
                      </a:cxn>
                      <a:cxn ang="0">
                        <a:pos x="586" y="372"/>
                      </a:cxn>
                      <a:cxn ang="0">
                        <a:pos x="119" y="351"/>
                      </a:cxn>
                      <a:cxn ang="0">
                        <a:pos x="154" y="72"/>
                      </a:cxn>
                    </a:cxnLst>
                    <a:rect l="0" t="0" r="r" b="b"/>
                    <a:pathLst>
                      <a:path w="740" h="443">
                        <a:moveTo>
                          <a:pt x="154" y="72"/>
                        </a:moveTo>
                        <a:cubicBezTo>
                          <a:pt x="293" y="0"/>
                          <a:pt x="501" y="10"/>
                          <a:pt x="621" y="92"/>
                        </a:cubicBezTo>
                        <a:cubicBezTo>
                          <a:pt x="740" y="175"/>
                          <a:pt x="724" y="300"/>
                          <a:pt x="586" y="372"/>
                        </a:cubicBezTo>
                        <a:cubicBezTo>
                          <a:pt x="447" y="443"/>
                          <a:pt x="239" y="433"/>
                          <a:pt x="119" y="351"/>
                        </a:cubicBezTo>
                        <a:cubicBezTo>
                          <a:pt x="0" y="268"/>
                          <a:pt x="16" y="143"/>
                          <a:pt x="154" y="72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135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77" name="Freeform 8">
                    <a:extLst>
                      <a:ext uri="{FF2B5EF4-FFF2-40B4-BE49-F238E27FC236}">
                        <a16:creationId xmlns:a16="http://schemas.microsoft.com/office/drawing/2014/main" id="{57D10F2E-3109-4742-AB34-7B1C0902241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908676" y="187326"/>
                    <a:ext cx="2670175" cy="1601788"/>
                  </a:xfrm>
                  <a:custGeom>
                    <a:avLst/>
                    <a:gdLst/>
                    <a:ahLst/>
                    <a:cxnLst>
                      <a:cxn ang="0">
                        <a:pos x="148" y="69"/>
                      </a:cxn>
                      <a:cxn ang="0">
                        <a:pos x="597" y="89"/>
                      </a:cxn>
                      <a:cxn ang="0">
                        <a:pos x="564" y="358"/>
                      </a:cxn>
                      <a:cxn ang="0">
                        <a:pos x="115" y="338"/>
                      </a:cxn>
                      <a:cxn ang="0">
                        <a:pos x="148" y="69"/>
                      </a:cxn>
                    </a:cxnLst>
                    <a:rect l="0" t="0" r="r" b="b"/>
                    <a:pathLst>
                      <a:path w="712" h="427">
                        <a:moveTo>
                          <a:pt x="148" y="69"/>
                        </a:moveTo>
                        <a:cubicBezTo>
                          <a:pt x="282" y="0"/>
                          <a:pt x="483" y="9"/>
                          <a:pt x="597" y="89"/>
                        </a:cubicBezTo>
                        <a:cubicBezTo>
                          <a:pt x="712" y="169"/>
                          <a:pt x="697" y="289"/>
                          <a:pt x="564" y="358"/>
                        </a:cubicBezTo>
                        <a:cubicBezTo>
                          <a:pt x="431" y="427"/>
                          <a:pt x="229" y="418"/>
                          <a:pt x="115" y="338"/>
                        </a:cubicBezTo>
                        <a:cubicBezTo>
                          <a:pt x="0" y="258"/>
                          <a:pt x="15" y="138"/>
                          <a:pt x="148" y="69"/>
                        </a:cubicBezTo>
                        <a:close/>
                      </a:path>
                    </a:pathLst>
                  </a:custGeom>
                  <a:solidFill>
                    <a:srgbClr val="FDD284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78" name="Freeform 9">
                    <a:extLst>
                      <a:ext uri="{FF2B5EF4-FFF2-40B4-BE49-F238E27FC236}">
                        <a16:creationId xmlns:a16="http://schemas.microsoft.com/office/drawing/2014/main" id="{3FB7A3E7-66F1-41B0-B334-55B58E881C4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648451" y="588963"/>
                    <a:ext cx="1187450" cy="801688"/>
                  </a:xfrm>
                  <a:custGeom>
                    <a:avLst/>
                    <a:gdLst/>
                    <a:ahLst/>
                    <a:cxnLst>
                      <a:cxn ang="0">
                        <a:pos x="268" y="211"/>
                      </a:cxn>
                      <a:cxn ang="0">
                        <a:pos x="238" y="190"/>
                      </a:cxn>
                      <a:cxn ang="0">
                        <a:pos x="157" y="214"/>
                      </a:cxn>
                      <a:cxn ang="0">
                        <a:pos x="124" y="177"/>
                      </a:cxn>
                      <a:cxn ang="0">
                        <a:pos x="205" y="153"/>
                      </a:cxn>
                      <a:cxn ang="0">
                        <a:pos x="223" y="125"/>
                      </a:cxn>
                      <a:cxn ang="0">
                        <a:pos x="160" y="129"/>
                      </a:cxn>
                      <a:cxn ang="0">
                        <a:pos x="29" y="123"/>
                      </a:cxn>
                      <a:cxn ang="0">
                        <a:pos x="35" y="46"/>
                      </a:cxn>
                      <a:cxn ang="0">
                        <a:pos x="5" y="25"/>
                      </a:cxn>
                      <a:cxn ang="0">
                        <a:pos x="48" y="3"/>
                      </a:cxn>
                      <a:cxn ang="0">
                        <a:pos x="76" y="23"/>
                      </a:cxn>
                      <a:cxn ang="0">
                        <a:pos x="143" y="0"/>
                      </a:cxn>
                      <a:cxn ang="0">
                        <a:pos x="174" y="37"/>
                      </a:cxn>
                      <a:cxn ang="0">
                        <a:pos x="106" y="58"/>
                      </a:cxn>
                      <a:cxn ang="0">
                        <a:pos x="91" y="83"/>
                      </a:cxn>
                      <a:cxn ang="0">
                        <a:pos x="160" y="77"/>
                      </a:cxn>
                      <a:cxn ang="0">
                        <a:pos x="286" y="86"/>
                      </a:cxn>
                      <a:cxn ang="0">
                        <a:pos x="278" y="165"/>
                      </a:cxn>
                      <a:cxn ang="0">
                        <a:pos x="311" y="188"/>
                      </a:cxn>
                      <a:cxn ang="0">
                        <a:pos x="268" y="211"/>
                      </a:cxn>
                    </a:cxnLst>
                    <a:rect l="0" t="0" r="r" b="b"/>
                    <a:pathLst>
                      <a:path w="317" h="214">
                        <a:moveTo>
                          <a:pt x="268" y="211"/>
                        </a:moveTo>
                        <a:cubicBezTo>
                          <a:pt x="238" y="190"/>
                          <a:pt x="238" y="190"/>
                          <a:pt x="238" y="190"/>
                        </a:cubicBezTo>
                        <a:cubicBezTo>
                          <a:pt x="210" y="202"/>
                          <a:pt x="178" y="211"/>
                          <a:pt x="157" y="214"/>
                        </a:cubicBezTo>
                        <a:cubicBezTo>
                          <a:pt x="124" y="177"/>
                          <a:pt x="124" y="177"/>
                          <a:pt x="124" y="177"/>
                        </a:cubicBezTo>
                        <a:cubicBezTo>
                          <a:pt x="149" y="173"/>
                          <a:pt x="179" y="166"/>
                          <a:pt x="205" y="153"/>
                        </a:cubicBezTo>
                        <a:cubicBezTo>
                          <a:pt x="224" y="143"/>
                          <a:pt x="233" y="132"/>
                          <a:pt x="223" y="125"/>
                        </a:cubicBezTo>
                        <a:cubicBezTo>
                          <a:pt x="213" y="118"/>
                          <a:pt x="196" y="120"/>
                          <a:pt x="160" y="129"/>
                        </a:cubicBezTo>
                        <a:cubicBezTo>
                          <a:pt x="108" y="142"/>
                          <a:pt x="62" y="146"/>
                          <a:pt x="29" y="123"/>
                        </a:cubicBezTo>
                        <a:cubicBezTo>
                          <a:pt x="0" y="102"/>
                          <a:pt x="0" y="74"/>
                          <a:pt x="35" y="46"/>
                        </a:cubicBezTo>
                        <a:cubicBezTo>
                          <a:pt x="5" y="25"/>
                          <a:pt x="5" y="25"/>
                          <a:pt x="5" y="25"/>
                        </a:cubicBezTo>
                        <a:cubicBezTo>
                          <a:pt x="48" y="3"/>
                          <a:pt x="48" y="3"/>
                          <a:pt x="48" y="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102" y="10"/>
                          <a:pt x="125" y="4"/>
                          <a:pt x="143" y="0"/>
                        </a:cubicBezTo>
                        <a:cubicBezTo>
                          <a:pt x="174" y="37"/>
                          <a:pt x="174" y="37"/>
                          <a:pt x="174" y="37"/>
                        </a:cubicBezTo>
                        <a:cubicBezTo>
                          <a:pt x="161" y="39"/>
                          <a:pt x="135" y="44"/>
                          <a:pt x="106" y="58"/>
                        </a:cubicBezTo>
                        <a:cubicBezTo>
                          <a:pt x="84" y="70"/>
                          <a:pt x="84" y="78"/>
                          <a:pt x="91" y="83"/>
                        </a:cubicBezTo>
                        <a:cubicBezTo>
                          <a:pt x="99" y="89"/>
                          <a:pt x="118" y="86"/>
                          <a:pt x="160" y="77"/>
                        </a:cubicBezTo>
                        <a:cubicBezTo>
                          <a:pt x="221" y="61"/>
                          <a:pt x="257" y="65"/>
                          <a:pt x="286" y="86"/>
                        </a:cubicBezTo>
                        <a:cubicBezTo>
                          <a:pt x="317" y="107"/>
                          <a:pt x="316" y="137"/>
                          <a:pt x="278" y="165"/>
                        </a:cubicBezTo>
                        <a:cubicBezTo>
                          <a:pt x="311" y="188"/>
                          <a:pt x="311" y="188"/>
                          <a:pt x="311" y="188"/>
                        </a:cubicBezTo>
                        <a:lnTo>
                          <a:pt x="268" y="211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189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79" name="Freeform 10">
                    <a:extLst>
                      <a:ext uri="{FF2B5EF4-FFF2-40B4-BE49-F238E27FC236}">
                        <a16:creationId xmlns:a16="http://schemas.microsoft.com/office/drawing/2014/main" id="{D9C3F6F4-4297-4C13-8816-DB32DE5D2FA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49938" y="1057276"/>
                    <a:ext cx="2789238" cy="1230313"/>
                  </a:xfrm>
                  <a:custGeom>
                    <a:avLst/>
                    <a:gdLst/>
                    <a:ahLst/>
                    <a:cxnLst>
                      <a:cxn ang="0">
                        <a:pos x="741" y="56"/>
                      </a:cxn>
                      <a:cxn ang="0">
                        <a:pos x="741" y="0"/>
                      </a:cxn>
                      <a:cxn ang="0">
                        <a:pos x="733" y="28"/>
                      </a:cxn>
                      <a:cxn ang="0">
                        <a:pos x="614" y="145"/>
                      </a:cxn>
                      <a:cxn ang="0">
                        <a:pos x="91" y="121"/>
                      </a:cxn>
                      <a:cxn ang="0">
                        <a:pos x="11" y="28"/>
                      </a:cxn>
                      <a:cxn ang="0">
                        <a:pos x="3" y="0"/>
                      </a:cxn>
                      <a:cxn ang="0">
                        <a:pos x="3" y="56"/>
                      </a:cxn>
                      <a:cxn ang="0">
                        <a:pos x="3" y="103"/>
                      </a:cxn>
                      <a:cxn ang="0">
                        <a:pos x="91" y="224"/>
                      </a:cxn>
                      <a:cxn ang="0">
                        <a:pos x="614" y="248"/>
                      </a:cxn>
                      <a:cxn ang="0">
                        <a:pos x="741" y="103"/>
                      </a:cxn>
                      <a:cxn ang="0">
                        <a:pos x="741" y="56"/>
                      </a:cxn>
                    </a:cxnLst>
                    <a:rect l="0" t="0" r="r" b="b"/>
                    <a:pathLst>
                      <a:path w="744" h="328">
                        <a:moveTo>
                          <a:pt x="741" y="56"/>
                        </a:moveTo>
                        <a:cubicBezTo>
                          <a:pt x="741" y="0"/>
                          <a:pt x="741" y="0"/>
                          <a:pt x="741" y="0"/>
                        </a:cubicBezTo>
                        <a:cubicBezTo>
                          <a:pt x="739" y="9"/>
                          <a:pt x="737" y="18"/>
                          <a:pt x="733" y="28"/>
                        </a:cubicBezTo>
                        <a:cubicBezTo>
                          <a:pt x="716" y="72"/>
                          <a:pt x="676" y="113"/>
                          <a:pt x="614" y="145"/>
                        </a:cubicBezTo>
                        <a:cubicBezTo>
                          <a:pt x="459" y="225"/>
                          <a:pt x="225" y="214"/>
                          <a:pt x="91" y="121"/>
                        </a:cubicBezTo>
                        <a:cubicBezTo>
                          <a:pt x="51" y="93"/>
                          <a:pt x="24" y="61"/>
                          <a:pt x="11" y="28"/>
                        </a:cubicBezTo>
                        <a:cubicBezTo>
                          <a:pt x="7" y="19"/>
                          <a:pt x="5" y="9"/>
                          <a:pt x="3" y="0"/>
                        </a:cubicBezTo>
                        <a:cubicBezTo>
                          <a:pt x="3" y="56"/>
                          <a:pt x="3" y="56"/>
                          <a:pt x="3" y="56"/>
                        </a:cubicBezTo>
                        <a:cubicBezTo>
                          <a:pt x="0" y="72"/>
                          <a:pt x="0" y="87"/>
                          <a:pt x="3" y="103"/>
                        </a:cubicBezTo>
                        <a:cubicBezTo>
                          <a:pt x="11" y="146"/>
                          <a:pt x="40" y="189"/>
                          <a:pt x="91" y="224"/>
                        </a:cubicBezTo>
                        <a:cubicBezTo>
                          <a:pt x="225" y="317"/>
                          <a:pt x="459" y="328"/>
                          <a:pt x="614" y="248"/>
                        </a:cubicBezTo>
                        <a:cubicBezTo>
                          <a:pt x="689" y="209"/>
                          <a:pt x="731" y="157"/>
                          <a:pt x="741" y="103"/>
                        </a:cubicBezTo>
                        <a:cubicBezTo>
                          <a:pt x="744" y="87"/>
                          <a:pt x="744" y="71"/>
                          <a:pt x="741" y="56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CC6600"/>
                      </a:gs>
                    </a:gsLst>
                    <a:lin ang="162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80" name="Freeform 11">
                    <a:extLst>
                      <a:ext uri="{FF2B5EF4-FFF2-40B4-BE49-F238E27FC236}">
                        <a16:creationId xmlns:a16="http://schemas.microsoft.com/office/drawing/2014/main" id="{9CF188EE-3FEC-4591-8807-7ECC89905B9B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913438" y="1236663"/>
                    <a:ext cx="2665413" cy="893763"/>
                  </a:xfrm>
                  <a:custGeom>
                    <a:avLst/>
                    <a:gdLst/>
                    <a:ahLst/>
                    <a:cxnLst>
                      <a:cxn ang="0">
                        <a:pos x="569" y="197"/>
                      </a:cxn>
                      <a:cxn ang="0">
                        <a:pos x="541" y="130"/>
                      </a:cxn>
                      <a:cxn ang="0">
                        <a:pos x="486" y="224"/>
                      </a:cxn>
                      <a:cxn ang="0">
                        <a:pos x="517" y="138"/>
                      </a:cxn>
                      <a:cxn ang="0">
                        <a:pos x="486" y="224"/>
                      </a:cxn>
                      <a:cxn ang="0">
                        <a:pos x="592" y="187"/>
                      </a:cxn>
                      <a:cxn ang="0">
                        <a:pos x="618" y="173"/>
                      </a:cxn>
                      <a:cxn ang="0">
                        <a:pos x="597" y="106"/>
                      </a:cxn>
                      <a:cxn ang="0">
                        <a:pos x="367" y="238"/>
                      </a:cxn>
                      <a:cxn ang="0">
                        <a:pos x="402" y="158"/>
                      </a:cxn>
                      <a:cxn ang="0">
                        <a:pos x="367" y="238"/>
                      </a:cxn>
                      <a:cxn ang="0">
                        <a:pos x="461" y="229"/>
                      </a:cxn>
                      <a:cxn ang="0">
                        <a:pos x="428" y="155"/>
                      </a:cxn>
                      <a:cxn ang="0">
                        <a:pos x="690" y="33"/>
                      </a:cxn>
                      <a:cxn ang="0">
                        <a:pos x="711" y="78"/>
                      </a:cxn>
                      <a:cxn ang="0">
                        <a:pos x="690" y="33"/>
                      </a:cxn>
                      <a:cxn ang="0">
                        <a:pos x="668" y="135"/>
                      </a:cxn>
                      <a:cxn ang="0">
                        <a:pos x="645" y="76"/>
                      </a:cxn>
                      <a:cxn ang="0">
                        <a:pos x="310" y="236"/>
                      </a:cxn>
                      <a:cxn ang="0">
                        <a:pos x="345" y="160"/>
                      </a:cxn>
                      <a:cxn ang="0">
                        <a:pos x="310" y="236"/>
                      </a:cxn>
                      <a:cxn ang="0">
                        <a:pos x="170" y="209"/>
                      </a:cxn>
                      <a:cxn ang="0">
                        <a:pos x="142" y="120"/>
                      </a:cxn>
                      <a:cxn ang="0">
                        <a:pos x="0" y="81"/>
                      </a:cxn>
                      <a:cxn ang="0">
                        <a:pos x="21" y="35"/>
                      </a:cxn>
                      <a:cxn ang="0">
                        <a:pos x="0" y="81"/>
                      </a:cxn>
                      <a:cxn ang="0">
                        <a:pos x="67" y="156"/>
                      </a:cxn>
                      <a:cxn ang="0">
                        <a:pos x="43" y="58"/>
                      </a:cxn>
                      <a:cxn ang="0">
                        <a:pos x="251" y="229"/>
                      </a:cxn>
                      <a:cxn ang="0">
                        <a:pos x="284" y="156"/>
                      </a:cxn>
                      <a:cxn ang="0">
                        <a:pos x="251" y="229"/>
                      </a:cxn>
                      <a:cxn ang="0">
                        <a:pos x="120" y="188"/>
                      </a:cxn>
                      <a:cxn ang="0">
                        <a:pos x="94" y="95"/>
                      </a:cxn>
                      <a:cxn ang="0">
                        <a:pos x="195" y="216"/>
                      </a:cxn>
                      <a:cxn ang="0">
                        <a:pos x="225" y="146"/>
                      </a:cxn>
                      <a:cxn ang="0">
                        <a:pos x="195" y="216"/>
                      </a:cxn>
                    </a:cxnLst>
                    <a:rect l="0" t="0" r="r" b="b"/>
                    <a:pathLst>
                      <a:path w="711" h="238">
                        <a:moveTo>
                          <a:pt x="541" y="208"/>
                        </a:moveTo>
                        <a:cubicBezTo>
                          <a:pt x="551" y="205"/>
                          <a:pt x="560" y="201"/>
                          <a:pt x="569" y="197"/>
                        </a:cubicBezTo>
                        <a:cubicBezTo>
                          <a:pt x="569" y="119"/>
                          <a:pt x="569" y="119"/>
                          <a:pt x="569" y="119"/>
                        </a:cubicBezTo>
                        <a:cubicBezTo>
                          <a:pt x="560" y="123"/>
                          <a:pt x="551" y="126"/>
                          <a:pt x="541" y="130"/>
                        </a:cubicBezTo>
                        <a:lnTo>
                          <a:pt x="541" y="208"/>
                        </a:lnTo>
                        <a:close/>
                        <a:moveTo>
                          <a:pt x="486" y="224"/>
                        </a:moveTo>
                        <a:cubicBezTo>
                          <a:pt x="497" y="221"/>
                          <a:pt x="507" y="219"/>
                          <a:pt x="517" y="216"/>
                        </a:cubicBezTo>
                        <a:cubicBezTo>
                          <a:pt x="517" y="138"/>
                          <a:pt x="517" y="138"/>
                          <a:pt x="517" y="138"/>
                        </a:cubicBezTo>
                        <a:cubicBezTo>
                          <a:pt x="507" y="140"/>
                          <a:pt x="497" y="143"/>
                          <a:pt x="486" y="145"/>
                        </a:cubicBezTo>
                        <a:lnTo>
                          <a:pt x="486" y="224"/>
                        </a:lnTo>
                        <a:close/>
                        <a:moveTo>
                          <a:pt x="592" y="109"/>
                        </a:moveTo>
                        <a:cubicBezTo>
                          <a:pt x="592" y="187"/>
                          <a:pt x="592" y="187"/>
                          <a:pt x="592" y="187"/>
                        </a:cubicBezTo>
                        <a:cubicBezTo>
                          <a:pt x="594" y="186"/>
                          <a:pt x="595" y="185"/>
                          <a:pt x="597" y="184"/>
                        </a:cubicBezTo>
                        <a:cubicBezTo>
                          <a:pt x="604" y="180"/>
                          <a:pt x="611" y="177"/>
                          <a:pt x="618" y="173"/>
                        </a:cubicBezTo>
                        <a:cubicBezTo>
                          <a:pt x="618" y="94"/>
                          <a:pt x="618" y="94"/>
                          <a:pt x="618" y="94"/>
                        </a:cubicBezTo>
                        <a:cubicBezTo>
                          <a:pt x="611" y="98"/>
                          <a:pt x="604" y="102"/>
                          <a:pt x="597" y="106"/>
                        </a:cubicBezTo>
                        <a:cubicBezTo>
                          <a:pt x="595" y="107"/>
                          <a:pt x="594" y="108"/>
                          <a:pt x="592" y="109"/>
                        </a:cubicBezTo>
                        <a:close/>
                        <a:moveTo>
                          <a:pt x="367" y="238"/>
                        </a:moveTo>
                        <a:cubicBezTo>
                          <a:pt x="378" y="238"/>
                          <a:pt x="390" y="237"/>
                          <a:pt x="402" y="236"/>
                        </a:cubicBezTo>
                        <a:cubicBezTo>
                          <a:pt x="402" y="158"/>
                          <a:pt x="402" y="158"/>
                          <a:pt x="402" y="158"/>
                        </a:cubicBezTo>
                        <a:cubicBezTo>
                          <a:pt x="390" y="159"/>
                          <a:pt x="378" y="159"/>
                          <a:pt x="367" y="160"/>
                        </a:cubicBezTo>
                        <a:lnTo>
                          <a:pt x="367" y="238"/>
                        </a:lnTo>
                        <a:close/>
                        <a:moveTo>
                          <a:pt x="428" y="234"/>
                        </a:moveTo>
                        <a:cubicBezTo>
                          <a:pt x="439" y="232"/>
                          <a:pt x="450" y="231"/>
                          <a:pt x="461" y="229"/>
                        </a:cubicBezTo>
                        <a:cubicBezTo>
                          <a:pt x="461" y="151"/>
                          <a:pt x="461" y="151"/>
                          <a:pt x="461" y="151"/>
                        </a:cubicBezTo>
                        <a:cubicBezTo>
                          <a:pt x="450" y="153"/>
                          <a:pt x="439" y="154"/>
                          <a:pt x="428" y="155"/>
                        </a:cubicBezTo>
                        <a:lnTo>
                          <a:pt x="428" y="234"/>
                        </a:lnTo>
                        <a:close/>
                        <a:moveTo>
                          <a:pt x="690" y="33"/>
                        </a:moveTo>
                        <a:cubicBezTo>
                          <a:pt x="690" y="111"/>
                          <a:pt x="690" y="111"/>
                          <a:pt x="690" y="111"/>
                        </a:cubicBezTo>
                        <a:cubicBezTo>
                          <a:pt x="699" y="101"/>
                          <a:pt x="706" y="89"/>
                          <a:pt x="711" y="78"/>
                        </a:cubicBezTo>
                        <a:cubicBezTo>
                          <a:pt x="711" y="0"/>
                          <a:pt x="711" y="0"/>
                          <a:pt x="711" y="0"/>
                        </a:cubicBezTo>
                        <a:cubicBezTo>
                          <a:pt x="706" y="11"/>
                          <a:pt x="699" y="22"/>
                          <a:pt x="690" y="33"/>
                        </a:cubicBezTo>
                        <a:close/>
                        <a:moveTo>
                          <a:pt x="645" y="155"/>
                        </a:moveTo>
                        <a:cubicBezTo>
                          <a:pt x="653" y="148"/>
                          <a:pt x="661" y="142"/>
                          <a:pt x="668" y="135"/>
                        </a:cubicBezTo>
                        <a:cubicBezTo>
                          <a:pt x="668" y="57"/>
                          <a:pt x="668" y="57"/>
                          <a:pt x="668" y="57"/>
                        </a:cubicBezTo>
                        <a:cubicBezTo>
                          <a:pt x="661" y="63"/>
                          <a:pt x="653" y="70"/>
                          <a:pt x="645" y="76"/>
                        </a:cubicBezTo>
                        <a:lnTo>
                          <a:pt x="645" y="155"/>
                        </a:lnTo>
                        <a:close/>
                        <a:moveTo>
                          <a:pt x="310" y="236"/>
                        </a:moveTo>
                        <a:cubicBezTo>
                          <a:pt x="321" y="237"/>
                          <a:pt x="333" y="238"/>
                          <a:pt x="345" y="238"/>
                        </a:cubicBezTo>
                        <a:cubicBezTo>
                          <a:pt x="345" y="160"/>
                          <a:pt x="345" y="160"/>
                          <a:pt x="345" y="160"/>
                        </a:cubicBezTo>
                        <a:cubicBezTo>
                          <a:pt x="333" y="159"/>
                          <a:pt x="321" y="159"/>
                          <a:pt x="310" y="158"/>
                        </a:cubicBezTo>
                        <a:lnTo>
                          <a:pt x="310" y="236"/>
                        </a:lnTo>
                        <a:close/>
                        <a:moveTo>
                          <a:pt x="142" y="198"/>
                        </a:moveTo>
                        <a:cubicBezTo>
                          <a:pt x="151" y="202"/>
                          <a:pt x="161" y="205"/>
                          <a:pt x="170" y="209"/>
                        </a:cubicBezTo>
                        <a:cubicBezTo>
                          <a:pt x="170" y="130"/>
                          <a:pt x="170" y="130"/>
                          <a:pt x="170" y="130"/>
                        </a:cubicBezTo>
                        <a:cubicBezTo>
                          <a:pt x="161" y="127"/>
                          <a:pt x="151" y="123"/>
                          <a:pt x="142" y="120"/>
                        </a:cubicBezTo>
                        <a:lnTo>
                          <a:pt x="142" y="198"/>
                        </a:lnTo>
                        <a:close/>
                        <a:moveTo>
                          <a:pt x="0" y="81"/>
                        </a:moveTo>
                        <a:cubicBezTo>
                          <a:pt x="6" y="92"/>
                          <a:pt x="13" y="103"/>
                          <a:pt x="21" y="113"/>
                        </a:cubicBezTo>
                        <a:cubicBezTo>
                          <a:pt x="21" y="35"/>
                          <a:pt x="21" y="35"/>
                          <a:pt x="21" y="35"/>
                        </a:cubicBezTo>
                        <a:cubicBezTo>
                          <a:pt x="13" y="25"/>
                          <a:pt x="6" y="14"/>
                          <a:pt x="0" y="3"/>
                        </a:cubicBezTo>
                        <a:lnTo>
                          <a:pt x="0" y="81"/>
                        </a:lnTo>
                        <a:close/>
                        <a:moveTo>
                          <a:pt x="43" y="136"/>
                        </a:moveTo>
                        <a:cubicBezTo>
                          <a:pt x="50" y="143"/>
                          <a:pt x="58" y="149"/>
                          <a:pt x="67" y="156"/>
                        </a:cubicBezTo>
                        <a:cubicBezTo>
                          <a:pt x="67" y="77"/>
                          <a:pt x="67" y="77"/>
                          <a:pt x="67" y="77"/>
                        </a:cubicBezTo>
                        <a:cubicBezTo>
                          <a:pt x="58" y="71"/>
                          <a:pt x="50" y="65"/>
                          <a:pt x="43" y="58"/>
                        </a:cubicBezTo>
                        <a:lnTo>
                          <a:pt x="43" y="136"/>
                        </a:lnTo>
                        <a:close/>
                        <a:moveTo>
                          <a:pt x="251" y="229"/>
                        </a:moveTo>
                        <a:cubicBezTo>
                          <a:pt x="262" y="231"/>
                          <a:pt x="273" y="233"/>
                          <a:pt x="284" y="234"/>
                        </a:cubicBezTo>
                        <a:cubicBezTo>
                          <a:pt x="284" y="156"/>
                          <a:pt x="284" y="156"/>
                          <a:pt x="284" y="156"/>
                        </a:cubicBezTo>
                        <a:cubicBezTo>
                          <a:pt x="273" y="154"/>
                          <a:pt x="262" y="153"/>
                          <a:pt x="251" y="151"/>
                        </a:cubicBezTo>
                        <a:lnTo>
                          <a:pt x="251" y="229"/>
                        </a:lnTo>
                        <a:close/>
                        <a:moveTo>
                          <a:pt x="94" y="174"/>
                        </a:moveTo>
                        <a:cubicBezTo>
                          <a:pt x="102" y="179"/>
                          <a:pt x="111" y="183"/>
                          <a:pt x="120" y="188"/>
                        </a:cubicBezTo>
                        <a:cubicBezTo>
                          <a:pt x="120" y="109"/>
                          <a:pt x="120" y="109"/>
                          <a:pt x="120" y="109"/>
                        </a:cubicBezTo>
                        <a:cubicBezTo>
                          <a:pt x="111" y="105"/>
                          <a:pt x="102" y="100"/>
                          <a:pt x="94" y="95"/>
                        </a:cubicBezTo>
                        <a:lnTo>
                          <a:pt x="94" y="174"/>
                        </a:lnTo>
                        <a:close/>
                        <a:moveTo>
                          <a:pt x="195" y="216"/>
                        </a:moveTo>
                        <a:cubicBezTo>
                          <a:pt x="205" y="219"/>
                          <a:pt x="215" y="222"/>
                          <a:pt x="225" y="224"/>
                        </a:cubicBezTo>
                        <a:cubicBezTo>
                          <a:pt x="225" y="146"/>
                          <a:pt x="225" y="146"/>
                          <a:pt x="225" y="146"/>
                        </a:cubicBezTo>
                        <a:cubicBezTo>
                          <a:pt x="215" y="143"/>
                          <a:pt x="205" y="141"/>
                          <a:pt x="195" y="138"/>
                        </a:cubicBezTo>
                        <a:lnTo>
                          <a:pt x="195" y="216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54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</p:grpSp>
          </p:grpSp>
        </p:grpSp>
        <p:grpSp>
          <p:nvGrpSpPr>
            <p:cNvPr id="31" name="Gruppieren 140">
              <a:extLst>
                <a:ext uri="{FF2B5EF4-FFF2-40B4-BE49-F238E27FC236}">
                  <a16:creationId xmlns:a16="http://schemas.microsoft.com/office/drawing/2014/main" id="{62A70655-9729-4F49-B444-E8FA580CA9BA}"/>
                </a:ext>
              </a:extLst>
            </p:cNvPr>
            <p:cNvGrpSpPr/>
            <p:nvPr/>
          </p:nvGrpSpPr>
          <p:grpSpPr>
            <a:xfrm>
              <a:off x="3122370" y="1992549"/>
              <a:ext cx="745702" cy="534167"/>
              <a:chOff x="5688013" y="58738"/>
              <a:chExt cx="3111500" cy="2228851"/>
            </a:xfrm>
          </p:grpSpPr>
          <p:sp>
            <p:nvSpPr>
              <p:cNvPr id="65" name="Freeform 6">
                <a:extLst>
                  <a:ext uri="{FF2B5EF4-FFF2-40B4-BE49-F238E27FC236}">
                    <a16:creationId xmlns:a16="http://schemas.microsoft.com/office/drawing/2014/main" id="{BB825D10-2941-4532-A51C-68D4853DF6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8013" y="58738"/>
                <a:ext cx="3111500" cy="1865313"/>
              </a:xfrm>
              <a:custGeom>
                <a:avLst/>
                <a:gdLst/>
                <a:ahLst/>
                <a:cxnLst>
                  <a:cxn ang="0">
                    <a:pos x="134" y="393"/>
                  </a:cxn>
                  <a:cxn ang="0">
                    <a:pos x="173" y="80"/>
                  </a:cxn>
                  <a:cxn ang="0">
                    <a:pos x="696" y="104"/>
                  </a:cxn>
                  <a:cxn ang="0">
                    <a:pos x="657" y="417"/>
                  </a:cxn>
                  <a:cxn ang="0">
                    <a:pos x="134" y="393"/>
                  </a:cxn>
                </a:cxnLst>
                <a:rect l="0" t="0" r="r" b="b"/>
                <a:pathLst>
                  <a:path w="830" h="497">
                    <a:moveTo>
                      <a:pt x="134" y="393"/>
                    </a:moveTo>
                    <a:cubicBezTo>
                      <a:pt x="0" y="300"/>
                      <a:pt x="18" y="160"/>
                      <a:pt x="173" y="80"/>
                    </a:cubicBezTo>
                    <a:cubicBezTo>
                      <a:pt x="328" y="0"/>
                      <a:pt x="563" y="11"/>
                      <a:pt x="696" y="104"/>
                    </a:cubicBezTo>
                    <a:cubicBezTo>
                      <a:pt x="830" y="197"/>
                      <a:pt x="812" y="337"/>
                      <a:pt x="657" y="417"/>
                    </a:cubicBezTo>
                    <a:cubicBezTo>
                      <a:pt x="502" y="497"/>
                      <a:pt x="268" y="486"/>
                      <a:pt x="134" y="39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D0810E"/>
                  </a:gs>
                  <a:gs pos="100000">
                    <a:srgbClr val="FFC000"/>
                  </a:gs>
                </a:gsLst>
                <a:lin ang="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1615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GB" sz="1575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grpSp>
            <p:nvGrpSpPr>
              <p:cNvPr id="66" name="Gruppieren 62">
                <a:extLst>
                  <a:ext uri="{FF2B5EF4-FFF2-40B4-BE49-F238E27FC236}">
                    <a16:creationId xmlns:a16="http://schemas.microsoft.com/office/drawing/2014/main" id="{E19472B2-1678-41C4-AE99-B8F895D97B25}"/>
                  </a:ext>
                </a:extLst>
              </p:cNvPr>
              <p:cNvGrpSpPr/>
              <p:nvPr/>
            </p:nvGrpSpPr>
            <p:grpSpPr>
              <a:xfrm>
                <a:off x="5849938" y="157163"/>
                <a:ext cx="2789238" cy="2130426"/>
                <a:chOff x="5849938" y="157163"/>
                <a:chExt cx="2789238" cy="2130426"/>
              </a:xfrm>
            </p:grpSpPr>
            <p:sp>
              <p:nvSpPr>
                <p:cNvPr id="67" name="Freeform 7">
                  <a:extLst>
                    <a:ext uri="{FF2B5EF4-FFF2-40B4-BE49-F238E27FC236}">
                      <a16:creationId xmlns:a16="http://schemas.microsoft.com/office/drawing/2014/main" id="{A8C92819-0642-401D-9196-C0F96F6B2B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56288" y="157163"/>
                  <a:ext cx="2774950" cy="1662113"/>
                </a:xfrm>
                <a:custGeom>
                  <a:avLst/>
                  <a:gdLst/>
                  <a:ahLst/>
                  <a:cxnLst>
                    <a:cxn ang="0">
                      <a:pos x="154" y="72"/>
                    </a:cxn>
                    <a:cxn ang="0">
                      <a:pos x="621" y="92"/>
                    </a:cxn>
                    <a:cxn ang="0">
                      <a:pos x="586" y="372"/>
                    </a:cxn>
                    <a:cxn ang="0">
                      <a:pos x="119" y="351"/>
                    </a:cxn>
                    <a:cxn ang="0">
                      <a:pos x="154" y="72"/>
                    </a:cxn>
                  </a:cxnLst>
                  <a:rect l="0" t="0" r="r" b="b"/>
                  <a:pathLst>
                    <a:path w="740" h="443">
                      <a:moveTo>
                        <a:pt x="154" y="72"/>
                      </a:moveTo>
                      <a:cubicBezTo>
                        <a:pt x="293" y="0"/>
                        <a:pt x="501" y="10"/>
                        <a:pt x="621" y="92"/>
                      </a:cubicBezTo>
                      <a:cubicBezTo>
                        <a:pt x="740" y="175"/>
                        <a:pt x="724" y="300"/>
                        <a:pt x="586" y="372"/>
                      </a:cubicBezTo>
                      <a:cubicBezTo>
                        <a:pt x="447" y="443"/>
                        <a:pt x="239" y="433"/>
                        <a:pt x="119" y="351"/>
                      </a:cubicBezTo>
                      <a:cubicBezTo>
                        <a:pt x="0" y="268"/>
                        <a:pt x="16" y="143"/>
                        <a:pt x="154" y="7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0810E"/>
                    </a:gs>
                    <a:gs pos="100000">
                      <a:srgbClr val="FFC000"/>
                    </a:gs>
                  </a:gsLst>
                  <a:lin ang="13500000" scaled="1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1615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GB" sz="1575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endParaRPr>
                </a:p>
              </p:txBody>
            </p:sp>
            <p:sp>
              <p:nvSpPr>
                <p:cNvPr id="68" name="Freeform 8">
                  <a:extLst>
                    <a:ext uri="{FF2B5EF4-FFF2-40B4-BE49-F238E27FC236}">
                      <a16:creationId xmlns:a16="http://schemas.microsoft.com/office/drawing/2014/main" id="{2545B0DF-525A-4E49-92E1-F319FE82CB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08676" y="187326"/>
                  <a:ext cx="2670175" cy="1601788"/>
                </a:xfrm>
                <a:custGeom>
                  <a:avLst/>
                  <a:gdLst/>
                  <a:ahLst/>
                  <a:cxnLst>
                    <a:cxn ang="0">
                      <a:pos x="148" y="69"/>
                    </a:cxn>
                    <a:cxn ang="0">
                      <a:pos x="597" y="89"/>
                    </a:cxn>
                    <a:cxn ang="0">
                      <a:pos x="564" y="358"/>
                    </a:cxn>
                    <a:cxn ang="0">
                      <a:pos x="115" y="338"/>
                    </a:cxn>
                    <a:cxn ang="0">
                      <a:pos x="148" y="69"/>
                    </a:cxn>
                  </a:cxnLst>
                  <a:rect l="0" t="0" r="r" b="b"/>
                  <a:pathLst>
                    <a:path w="712" h="427">
                      <a:moveTo>
                        <a:pt x="148" y="69"/>
                      </a:moveTo>
                      <a:cubicBezTo>
                        <a:pt x="282" y="0"/>
                        <a:pt x="483" y="9"/>
                        <a:pt x="597" y="89"/>
                      </a:cubicBezTo>
                      <a:cubicBezTo>
                        <a:pt x="712" y="169"/>
                        <a:pt x="697" y="289"/>
                        <a:pt x="564" y="358"/>
                      </a:cubicBezTo>
                      <a:cubicBezTo>
                        <a:pt x="431" y="427"/>
                        <a:pt x="229" y="418"/>
                        <a:pt x="115" y="338"/>
                      </a:cubicBezTo>
                      <a:cubicBezTo>
                        <a:pt x="0" y="258"/>
                        <a:pt x="15" y="138"/>
                        <a:pt x="148" y="69"/>
                      </a:cubicBezTo>
                      <a:close/>
                    </a:path>
                  </a:pathLst>
                </a:custGeom>
                <a:solidFill>
                  <a:srgbClr val="FDD28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1615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GB" sz="1575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endParaRPr>
                </a:p>
              </p:txBody>
            </p:sp>
            <p:sp>
              <p:nvSpPr>
                <p:cNvPr id="69" name="Freeform 9">
                  <a:extLst>
                    <a:ext uri="{FF2B5EF4-FFF2-40B4-BE49-F238E27FC236}">
                      <a16:creationId xmlns:a16="http://schemas.microsoft.com/office/drawing/2014/main" id="{D1849A08-753C-4F86-A9EB-B9BE656EE0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48451" y="588963"/>
                  <a:ext cx="1187450" cy="801688"/>
                </a:xfrm>
                <a:custGeom>
                  <a:avLst/>
                  <a:gdLst/>
                  <a:ahLst/>
                  <a:cxnLst>
                    <a:cxn ang="0">
                      <a:pos x="268" y="211"/>
                    </a:cxn>
                    <a:cxn ang="0">
                      <a:pos x="238" y="190"/>
                    </a:cxn>
                    <a:cxn ang="0">
                      <a:pos x="157" y="214"/>
                    </a:cxn>
                    <a:cxn ang="0">
                      <a:pos x="124" y="177"/>
                    </a:cxn>
                    <a:cxn ang="0">
                      <a:pos x="205" y="153"/>
                    </a:cxn>
                    <a:cxn ang="0">
                      <a:pos x="223" y="125"/>
                    </a:cxn>
                    <a:cxn ang="0">
                      <a:pos x="160" y="129"/>
                    </a:cxn>
                    <a:cxn ang="0">
                      <a:pos x="29" y="123"/>
                    </a:cxn>
                    <a:cxn ang="0">
                      <a:pos x="35" y="46"/>
                    </a:cxn>
                    <a:cxn ang="0">
                      <a:pos x="5" y="25"/>
                    </a:cxn>
                    <a:cxn ang="0">
                      <a:pos x="48" y="3"/>
                    </a:cxn>
                    <a:cxn ang="0">
                      <a:pos x="76" y="23"/>
                    </a:cxn>
                    <a:cxn ang="0">
                      <a:pos x="143" y="0"/>
                    </a:cxn>
                    <a:cxn ang="0">
                      <a:pos x="174" y="37"/>
                    </a:cxn>
                    <a:cxn ang="0">
                      <a:pos x="106" y="58"/>
                    </a:cxn>
                    <a:cxn ang="0">
                      <a:pos x="91" y="83"/>
                    </a:cxn>
                    <a:cxn ang="0">
                      <a:pos x="160" y="77"/>
                    </a:cxn>
                    <a:cxn ang="0">
                      <a:pos x="286" y="86"/>
                    </a:cxn>
                    <a:cxn ang="0">
                      <a:pos x="278" y="165"/>
                    </a:cxn>
                    <a:cxn ang="0">
                      <a:pos x="311" y="188"/>
                    </a:cxn>
                    <a:cxn ang="0">
                      <a:pos x="268" y="211"/>
                    </a:cxn>
                  </a:cxnLst>
                  <a:rect l="0" t="0" r="r" b="b"/>
                  <a:pathLst>
                    <a:path w="317" h="214">
                      <a:moveTo>
                        <a:pt x="268" y="211"/>
                      </a:moveTo>
                      <a:cubicBezTo>
                        <a:pt x="238" y="190"/>
                        <a:pt x="238" y="190"/>
                        <a:pt x="238" y="190"/>
                      </a:cubicBezTo>
                      <a:cubicBezTo>
                        <a:pt x="210" y="202"/>
                        <a:pt x="178" y="211"/>
                        <a:pt x="157" y="214"/>
                      </a:cubicBezTo>
                      <a:cubicBezTo>
                        <a:pt x="124" y="177"/>
                        <a:pt x="124" y="177"/>
                        <a:pt x="124" y="177"/>
                      </a:cubicBezTo>
                      <a:cubicBezTo>
                        <a:pt x="149" y="173"/>
                        <a:pt x="179" y="166"/>
                        <a:pt x="205" y="153"/>
                      </a:cubicBezTo>
                      <a:cubicBezTo>
                        <a:pt x="224" y="143"/>
                        <a:pt x="233" y="132"/>
                        <a:pt x="223" y="125"/>
                      </a:cubicBezTo>
                      <a:cubicBezTo>
                        <a:pt x="213" y="118"/>
                        <a:pt x="196" y="120"/>
                        <a:pt x="160" y="129"/>
                      </a:cubicBezTo>
                      <a:cubicBezTo>
                        <a:pt x="108" y="142"/>
                        <a:pt x="62" y="146"/>
                        <a:pt x="29" y="123"/>
                      </a:cubicBezTo>
                      <a:cubicBezTo>
                        <a:pt x="0" y="102"/>
                        <a:pt x="0" y="74"/>
                        <a:pt x="35" y="46"/>
                      </a:cubicBezTo>
                      <a:cubicBezTo>
                        <a:pt x="5" y="25"/>
                        <a:pt x="5" y="25"/>
                        <a:pt x="5" y="25"/>
                      </a:cubicBezTo>
                      <a:cubicBezTo>
                        <a:pt x="48" y="3"/>
                        <a:pt x="48" y="3"/>
                        <a:pt x="48" y="3"/>
                      </a:cubicBezTo>
                      <a:cubicBezTo>
                        <a:pt x="76" y="23"/>
                        <a:pt x="76" y="23"/>
                        <a:pt x="76" y="23"/>
                      </a:cubicBezTo>
                      <a:cubicBezTo>
                        <a:pt x="102" y="10"/>
                        <a:pt x="125" y="4"/>
                        <a:pt x="143" y="0"/>
                      </a:cubicBezTo>
                      <a:cubicBezTo>
                        <a:pt x="174" y="37"/>
                        <a:pt x="174" y="37"/>
                        <a:pt x="174" y="37"/>
                      </a:cubicBezTo>
                      <a:cubicBezTo>
                        <a:pt x="161" y="39"/>
                        <a:pt x="135" y="44"/>
                        <a:pt x="106" y="58"/>
                      </a:cubicBezTo>
                      <a:cubicBezTo>
                        <a:pt x="84" y="70"/>
                        <a:pt x="84" y="78"/>
                        <a:pt x="91" y="83"/>
                      </a:cubicBezTo>
                      <a:cubicBezTo>
                        <a:pt x="99" y="89"/>
                        <a:pt x="118" y="86"/>
                        <a:pt x="160" y="77"/>
                      </a:cubicBezTo>
                      <a:cubicBezTo>
                        <a:pt x="221" y="61"/>
                        <a:pt x="257" y="65"/>
                        <a:pt x="286" y="86"/>
                      </a:cubicBezTo>
                      <a:cubicBezTo>
                        <a:pt x="317" y="107"/>
                        <a:pt x="316" y="137"/>
                        <a:pt x="278" y="165"/>
                      </a:cubicBezTo>
                      <a:cubicBezTo>
                        <a:pt x="311" y="188"/>
                        <a:pt x="311" y="188"/>
                        <a:pt x="311" y="188"/>
                      </a:cubicBezTo>
                      <a:lnTo>
                        <a:pt x="268" y="211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0810E"/>
                    </a:gs>
                    <a:gs pos="100000">
                      <a:srgbClr val="FFC000"/>
                    </a:gs>
                  </a:gsLst>
                  <a:lin ang="18900000" scaled="1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1615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GB" sz="1575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endParaRPr>
                </a:p>
              </p:txBody>
            </p:sp>
            <p:sp>
              <p:nvSpPr>
                <p:cNvPr id="70" name="Freeform 10">
                  <a:extLst>
                    <a:ext uri="{FF2B5EF4-FFF2-40B4-BE49-F238E27FC236}">
                      <a16:creationId xmlns:a16="http://schemas.microsoft.com/office/drawing/2014/main" id="{F571F07C-A8C6-4406-AD3E-758DE631E2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49938" y="1057276"/>
                  <a:ext cx="2789238" cy="1230313"/>
                </a:xfrm>
                <a:custGeom>
                  <a:avLst/>
                  <a:gdLst/>
                  <a:ahLst/>
                  <a:cxnLst>
                    <a:cxn ang="0">
                      <a:pos x="741" y="56"/>
                    </a:cxn>
                    <a:cxn ang="0">
                      <a:pos x="741" y="0"/>
                    </a:cxn>
                    <a:cxn ang="0">
                      <a:pos x="733" y="28"/>
                    </a:cxn>
                    <a:cxn ang="0">
                      <a:pos x="614" y="145"/>
                    </a:cxn>
                    <a:cxn ang="0">
                      <a:pos x="91" y="121"/>
                    </a:cxn>
                    <a:cxn ang="0">
                      <a:pos x="11" y="28"/>
                    </a:cxn>
                    <a:cxn ang="0">
                      <a:pos x="3" y="0"/>
                    </a:cxn>
                    <a:cxn ang="0">
                      <a:pos x="3" y="56"/>
                    </a:cxn>
                    <a:cxn ang="0">
                      <a:pos x="3" y="103"/>
                    </a:cxn>
                    <a:cxn ang="0">
                      <a:pos x="91" y="224"/>
                    </a:cxn>
                    <a:cxn ang="0">
                      <a:pos x="614" y="248"/>
                    </a:cxn>
                    <a:cxn ang="0">
                      <a:pos x="741" y="103"/>
                    </a:cxn>
                    <a:cxn ang="0">
                      <a:pos x="741" y="56"/>
                    </a:cxn>
                  </a:cxnLst>
                  <a:rect l="0" t="0" r="r" b="b"/>
                  <a:pathLst>
                    <a:path w="744" h="328">
                      <a:moveTo>
                        <a:pt x="741" y="56"/>
                      </a:moveTo>
                      <a:cubicBezTo>
                        <a:pt x="741" y="0"/>
                        <a:pt x="741" y="0"/>
                        <a:pt x="741" y="0"/>
                      </a:cubicBezTo>
                      <a:cubicBezTo>
                        <a:pt x="739" y="9"/>
                        <a:pt x="737" y="18"/>
                        <a:pt x="733" y="28"/>
                      </a:cubicBezTo>
                      <a:cubicBezTo>
                        <a:pt x="716" y="72"/>
                        <a:pt x="676" y="113"/>
                        <a:pt x="614" y="145"/>
                      </a:cubicBezTo>
                      <a:cubicBezTo>
                        <a:pt x="459" y="225"/>
                        <a:pt x="225" y="214"/>
                        <a:pt x="91" y="121"/>
                      </a:cubicBezTo>
                      <a:cubicBezTo>
                        <a:pt x="51" y="93"/>
                        <a:pt x="24" y="61"/>
                        <a:pt x="11" y="28"/>
                      </a:cubicBezTo>
                      <a:cubicBezTo>
                        <a:pt x="7" y="19"/>
                        <a:pt x="5" y="9"/>
                        <a:pt x="3" y="0"/>
                      </a:cubicBezTo>
                      <a:cubicBezTo>
                        <a:pt x="3" y="56"/>
                        <a:pt x="3" y="56"/>
                        <a:pt x="3" y="56"/>
                      </a:cubicBezTo>
                      <a:cubicBezTo>
                        <a:pt x="0" y="72"/>
                        <a:pt x="0" y="87"/>
                        <a:pt x="3" y="103"/>
                      </a:cubicBezTo>
                      <a:cubicBezTo>
                        <a:pt x="11" y="146"/>
                        <a:pt x="40" y="189"/>
                        <a:pt x="91" y="224"/>
                      </a:cubicBezTo>
                      <a:cubicBezTo>
                        <a:pt x="225" y="317"/>
                        <a:pt x="459" y="328"/>
                        <a:pt x="614" y="248"/>
                      </a:cubicBezTo>
                      <a:cubicBezTo>
                        <a:pt x="689" y="209"/>
                        <a:pt x="731" y="157"/>
                        <a:pt x="741" y="103"/>
                      </a:cubicBezTo>
                      <a:cubicBezTo>
                        <a:pt x="744" y="87"/>
                        <a:pt x="744" y="71"/>
                        <a:pt x="741" y="56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0810E"/>
                    </a:gs>
                    <a:gs pos="100000">
                      <a:srgbClr val="CC6600"/>
                    </a:gs>
                  </a:gsLst>
                  <a:lin ang="16200000" scaled="1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1615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GB" sz="1575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endParaRPr>
                </a:p>
              </p:txBody>
            </p:sp>
            <p:sp>
              <p:nvSpPr>
                <p:cNvPr id="71" name="Freeform 11">
                  <a:extLst>
                    <a:ext uri="{FF2B5EF4-FFF2-40B4-BE49-F238E27FC236}">
                      <a16:creationId xmlns:a16="http://schemas.microsoft.com/office/drawing/2014/main" id="{25C41539-9403-4273-86EF-CB47A0890AB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13438" y="1236663"/>
                  <a:ext cx="2665413" cy="893763"/>
                </a:xfrm>
                <a:custGeom>
                  <a:avLst/>
                  <a:gdLst/>
                  <a:ahLst/>
                  <a:cxnLst>
                    <a:cxn ang="0">
                      <a:pos x="569" y="197"/>
                    </a:cxn>
                    <a:cxn ang="0">
                      <a:pos x="541" y="130"/>
                    </a:cxn>
                    <a:cxn ang="0">
                      <a:pos x="486" y="224"/>
                    </a:cxn>
                    <a:cxn ang="0">
                      <a:pos x="517" y="138"/>
                    </a:cxn>
                    <a:cxn ang="0">
                      <a:pos x="486" y="224"/>
                    </a:cxn>
                    <a:cxn ang="0">
                      <a:pos x="592" y="187"/>
                    </a:cxn>
                    <a:cxn ang="0">
                      <a:pos x="618" y="173"/>
                    </a:cxn>
                    <a:cxn ang="0">
                      <a:pos x="597" y="106"/>
                    </a:cxn>
                    <a:cxn ang="0">
                      <a:pos x="367" y="238"/>
                    </a:cxn>
                    <a:cxn ang="0">
                      <a:pos x="402" y="158"/>
                    </a:cxn>
                    <a:cxn ang="0">
                      <a:pos x="367" y="238"/>
                    </a:cxn>
                    <a:cxn ang="0">
                      <a:pos x="461" y="229"/>
                    </a:cxn>
                    <a:cxn ang="0">
                      <a:pos x="428" y="155"/>
                    </a:cxn>
                    <a:cxn ang="0">
                      <a:pos x="690" y="33"/>
                    </a:cxn>
                    <a:cxn ang="0">
                      <a:pos x="711" y="78"/>
                    </a:cxn>
                    <a:cxn ang="0">
                      <a:pos x="690" y="33"/>
                    </a:cxn>
                    <a:cxn ang="0">
                      <a:pos x="668" y="135"/>
                    </a:cxn>
                    <a:cxn ang="0">
                      <a:pos x="645" y="76"/>
                    </a:cxn>
                    <a:cxn ang="0">
                      <a:pos x="310" y="236"/>
                    </a:cxn>
                    <a:cxn ang="0">
                      <a:pos x="345" y="160"/>
                    </a:cxn>
                    <a:cxn ang="0">
                      <a:pos x="310" y="236"/>
                    </a:cxn>
                    <a:cxn ang="0">
                      <a:pos x="170" y="209"/>
                    </a:cxn>
                    <a:cxn ang="0">
                      <a:pos x="142" y="120"/>
                    </a:cxn>
                    <a:cxn ang="0">
                      <a:pos x="0" y="81"/>
                    </a:cxn>
                    <a:cxn ang="0">
                      <a:pos x="21" y="35"/>
                    </a:cxn>
                    <a:cxn ang="0">
                      <a:pos x="0" y="81"/>
                    </a:cxn>
                    <a:cxn ang="0">
                      <a:pos x="67" y="156"/>
                    </a:cxn>
                    <a:cxn ang="0">
                      <a:pos x="43" y="58"/>
                    </a:cxn>
                    <a:cxn ang="0">
                      <a:pos x="251" y="229"/>
                    </a:cxn>
                    <a:cxn ang="0">
                      <a:pos x="284" y="156"/>
                    </a:cxn>
                    <a:cxn ang="0">
                      <a:pos x="251" y="229"/>
                    </a:cxn>
                    <a:cxn ang="0">
                      <a:pos x="120" y="188"/>
                    </a:cxn>
                    <a:cxn ang="0">
                      <a:pos x="94" y="95"/>
                    </a:cxn>
                    <a:cxn ang="0">
                      <a:pos x="195" y="216"/>
                    </a:cxn>
                    <a:cxn ang="0">
                      <a:pos x="225" y="146"/>
                    </a:cxn>
                    <a:cxn ang="0">
                      <a:pos x="195" y="216"/>
                    </a:cxn>
                  </a:cxnLst>
                  <a:rect l="0" t="0" r="r" b="b"/>
                  <a:pathLst>
                    <a:path w="711" h="238">
                      <a:moveTo>
                        <a:pt x="541" y="208"/>
                      </a:moveTo>
                      <a:cubicBezTo>
                        <a:pt x="551" y="205"/>
                        <a:pt x="560" y="201"/>
                        <a:pt x="569" y="197"/>
                      </a:cubicBezTo>
                      <a:cubicBezTo>
                        <a:pt x="569" y="119"/>
                        <a:pt x="569" y="119"/>
                        <a:pt x="569" y="119"/>
                      </a:cubicBezTo>
                      <a:cubicBezTo>
                        <a:pt x="560" y="123"/>
                        <a:pt x="551" y="126"/>
                        <a:pt x="541" y="130"/>
                      </a:cubicBezTo>
                      <a:lnTo>
                        <a:pt x="541" y="208"/>
                      </a:lnTo>
                      <a:close/>
                      <a:moveTo>
                        <a:pt x="486" y="224"/>
                      </a:moveTo>
                      <a:cubicBezTo>
                        <a:pt x="497" y="221"/>
                        <a:pt x="507" y="219"/>
                        <a:pt x="517" y="216"/>
                      </a:cubicBezTo>
                      <a:cubicBezTo>
                        <a:pt x="517" y="138"/>
                        <a:pt x="517" y="138"/>
                        <a:pt x="517" y="138"/>
                      </a:cubicBezTo>
                      <a:cubicBezTo>
                        <a:pt x="507" y="140"/>
                        <a:pt x="497" y="143"/>
                        <a:pt x="486" y="145"/>
                      </a:cubicBezTo>
                      <a:lnTo>
                        <a:pt x="486" y="224"/>
                      </a:lnTo>
                      <a:close/>
                      <a:moveTo>
                        <a:pt x="592" y="109"/>
                      </a:moveTo>
                      <a:cubicBezTo>
                        <a:pt x="592" y="187"/>
                        <a:pt x="592" y="187"/>
                        <a:pt x="592" y="187"/>
                      </a:cubicBezTo>
                      <a:cubicBezTo>
                        <a:pt x="594" y="186"/>
                        <a:pt x="595" y="185"/>
                        <a:pt x="597" y="184"/>
                      </a:cubicBezTo>
                      <a:cubicBezTo>
                        <a:pt x="604" y="180"/>
                        <a:pt x="611" y="177"/>
                        <a:pt x="618" y="173"/>
                      </a:cubicBezTo>
                      <a:cubicBezTo>
                        <a:pt x="618" y="94"/>
                        <a:pt x="618" y="94"/>
                        <a:pt x="618" y="94"/>
                      </a:cubicBezTo>
                      <a:cubicBezTo>
                        <a:pt x="611" y="98"/>
                        <a:pt x="604" y="102"/>
                        <a:pt x="597" y="106"/>
                      </a:cubicBezTo>
                      <a:cubicBezTo>
                        <a:pt x="595" y="107"/>
                        <a:pt x="594" y="108"/>
                        <a:pt x="592" y="109"/>
                      </a:cubicBezTo>
                      <a:close/>
                      <a:moveTo>
                        <a:pt x="367" y="238"/>
                      </a:moveTo>
                      <a:cubicBezTo>
                        <a:pt x="378" y="238"/>
                        <a:pt x="390" y="237"/>
                        <a:pt x="402" y="236"/>
                      </a:cubicBezTo>
                      <a:cubicBezTo>
                        <a:pt x="402" y="158"/>
                        <a:pt x="402" y="158"/>
                        <a:pt x="402" y="158"/>
                      </a:cubicBezTo>
                      <a:cubicBezTo>
                        <a:pt x="390" y="159"/>
                        <a:pt x="378" y="159"/>
                        <a:pt x="367" y="160"/>
                      </a:cubicBezTo>
                      <a:lnTo>
                        <a:pt x="367" y="238"/>
                      </a:lnTo>
                      <a:close/>
                      <a:moveTo>
                        <a:pt x="428" y="234"/>
                      </a:moveTo>
                      <a:cubicBezTo>
                        <a:pt x="439" y="232"/>
                        <a:pt x="450" y="231"/>
                        <a:pt x="461" y="229"/>
                      </a:cubicBezTo>
                      <a:cubicBezTo>
                        <a:pt x="461" y="151"/>
                        <a:pt x="461" y="151"/>
                        <a:pt x="461" y="151"/>
                      </a:cubicBezTo>
                      <a:cubicBezTo>
                        <a:pt x="450" y="153"/>
                        <a:pt x="439" y="154"/>
                        <a:pt x="428" y="155"/>
                      </a:cubicBezTo>
                      <a:lnTo>
                        <a:pt x="428" y="234"/>
                      </a:lnTo>
                      <a:close/>
                      <a:moveTo>
                        <a:pt x="690" y="33"/>
                      </a:moveTo>
                      <a:cubicBezTo>
                        <a:pt x="690" y="111"/>
                        <a:pt x="690" y="111"/>
                        <a:pt x="690" y="111"/>
                      </a:cubicBezTo>
                      <a:cubicBezTo>
                        <a:pt x="699" y="101"/>
                        <a:pt x="706" y="89"/>
                        <a:pt x="711" y="78"/>
                      </a:cubicBezTo>
                      <a:cubicBezTo>
                        <a:pt x="711" y="0"/>
                        <a:pt x="711" y="0"/>
                        <a:pt x="711" y="0"/>
                      </a:cubicBezTo>
                      <a:cubicBezTo>
                        <a:pt x="706" y="11"/>
                        <a:pt x="699" y="22"/>
                        <a:pt x="690" y="33"/>
                      </a:cubicBezTo>
                      <a:close/>
                      <a:moveTo>
                        <a:pt x="645" y="155"/>
                      </a:moveTo>
                      <a:cubicBezTo>
                        <a:pt x="653" y="148"/>
                        <a:pt x="661" y="142"/>
                        <a:pt x="668" y="135"/>
                      </a:cubicBezTo>
                      <a:cubicBezTo>
                        <a:pt x="668" y="57"/>
                        <a:pt x="668" y="57"/>
                        <a:pt x="668" y="57"/>
                      </a:cubicBezTo>
                      <a:cubicBezTo>
                        <a:pt x="661" y="63"/>
                        <a:pt x="653" y="70"/>
                        <a:pt x="645" y="76"/>
                      </a:cubicBezTo>
                      <a:lnTo>
                        <a:pt x="645" y="155"/>
                      </a:lnTo>
                      <a:close/>
                      <a:moveTo>
                        <a:pt x="310" y="236"/>
                      </a:moveTo>
                      <a:cubicBezTo>
                        <a:pt x="321" y="237"/>
                        <a:pt x="333" y="238"/>
                        <a:pt x="345" y="238"/>
                      </a:cubicBezTo>
                      <a:cubicBezTo>
                        <a:pt x="345" y="160"/>
                        <a:pt x="345" y="160"/>
                        <a:pt x="345" y="160"/>
                      </a:cubicBezTo>
                      <a:cubicBezTo>
                        <a:pt x="333" y="159"/>
                        <a:pt x="321" y="159"/>
                        <a:pt x="310" y="158"/>
                      </a:cubicBezTo>
                      <a:lnTo>
                        <a:pt x="310" y="236"/>
                      </a:lnTo>
                      <a:close/>
                      <a:moveTo>
                        <a:pt x="142" y="198"/>
                      </a:moveTo>
                      <a:cubicBezTo>
                        <a:pt x="151" y="202"/>
                        <a:pt x="161" y="205"/>
                        <a:pt x="170" y="209"/>
                      </a:cubicBezTo>
                      <a:cubicBezTo>
                        <a:pt x="170" y="130"/>
                        <a:pt x="170" y="130"/>
                        <a:pt x="170" y="130"/>
                      </a:cubicBezTo>
                      <a:cubicBezTo>
                        <a:pt x="161" y="127"/>
                        <a:pt x="151" y="123"/>
                        <a:pt x="142" y="120"/>
                      </a:cubicBezTo>
                      <a:lnTo>
                        <a:pt x="142" y="198"/>
                      </a:lnTo>
                      <a:close/>
                      <a:moveTo>
                        <a:pt x="0" y="81"/>
                      </a:moveTo>
                      <a:cubicBezTo>
                        <a:pt x="6" y="92"/>
                        <a:pt x="13" y="103"/>
                        <a:pt x="21" y="113"/>
                      </a:cubicBezTo>
                      <a:cubicBezTo>
                        <a:pt x="21" y="35"/>
                        <a:pt x="21" y="35"/>
                        <a:pt x="21" y="35"/>
                      </a:cubicBezTo>
                      <a:cubicBezTo>
                        <a:pt x="13" y="25"/>
                        <a:pt x="6" y="14"/>
                        <a:pt x="0" y="3"/>
                      </a:cubicBezTo>
                      <a:lnTo>
                        <a:pt x="0" y="81"/>
                      </a:lnTo>
                      <a:close/>
                      <a:moveTo>
                        <a:pt x="43" y="136"/>
                      </a:moveTo>
                      <a:cubicBezTo>
                        <a:pt x="50" y="143"/>
                        <a:pt x="58" y="149"/>
                        <a:pt x="67" y="156"/>
                      </a:cubicBezTo>
                      <a:cubicBezTo>
                        <a:pt x="67" y="77"/>
                        <a:pt x="67" y="77"/>
                        <a:pt x="67" y="77"/>
                      </a:cubicBezTo>
                      <a:cubicBezTo>
                        <a:pt x="58" y="71"/>
                        <a:pt x="50" y="65"/>
                        <a:pt x="43" y="58"/>
                      </a:cubicBezTo>
                      <a:lnTo>
                        <a:pt x="43" y="136"/>
                      </a:lnTo>
                      <a:close/>
                      <a:moveTo>
                        <a:pt x="251" y="229"/>
                      </a:moveTo>
                      <a:cubicBezTo>
                        <a:pt x="262" y="231"/>
                        <a:pt x="273" y="233"/>
                        <a:pt x="284" y="234"/>
                      </a:cubicBezTo>
                      <a:cubicBezTo>
                        <a:pt x="284" y="156"/>
                        <a:pt x="284" y="156"/>
                        <a:pt x="284" y="156"/>
                      </a:cubicBezTo>
                      <a:cubicBezTo>
                        <a:pt x="273" y="154"/>
                        <a:pt x="262" y="153"/>
                        <a:pt x="251" y="151"/>
                      </a:cubicBezTo>
                      <a:lnTo>
                        <a:pt x="251" y="229"/>
                      </a:lnTo>
                      <a:close/>
                      <a:moveTo>
                        <a:pt x="94" y="174"/>
                      </a:moveTo>
                      <a:cubicBezTo>
                        <a:pt x="102" y="179"/>
                        <a:pt x="111" y="183"/>
                        <a:pt x="120" y="188"/>
                      </a:cubicBezTo>
                      <a:cubicBezTo>
                        <a:pt x="120" y="109"/>
                        <a:pt x="120" y="109"/>
                        <a:pt x="120" y="109"/>
                      </a:cubicBezTo>
                      <a:cubicBezTo>
                        <a:pt x="111" y="105"/>
                        <a:pt x="102" y="100"/>
                        <a:pt x="94" y="95"/>
                      </a:cubicBezTo>
                      <a:lnTo>
                        <a:pt x="94" y="174"/>
                      </a:lnTo>
                      <a:close/>
                      <a:moveTo>
                        <a:pt x="195" y="216"/>
                      </a:moveTo>
                      <a:cubicBezTo>
                        <a:pt x="205" y="219"/>
                        <a:pt x="215" y="222"/>
                        <a:pt x="225" y="224"/>
                      </a:cubicBezTo>
                      <a:cubicBezTo>
                        <a:pt x="225" y="146"/>
                        <a:pt x="225" y="146"/>
                        <a:pt x="225" y="146"/>
                      </a:cubicBezTo>
                      <a:cubicBezTo>
                        <a:pt x="215" y="143"/>
                        <a:pt x="205" y="141"/>
                        <a:pt x="195" y="138"/>
                      </a:cubicBezTo>
                      <a:lnTo>
                        <a:pt x="195" y="216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0810E"/>
                    </a:gs>
                    <a:gs pos="100000">
                      <a:srgbClr val="FFC000"/>
                    </a:gs>
                  </a:gsLst>
                  <a:lin ang="5400000" scaled="1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1615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GB" sz="1575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endParaRPr>
                </a:p>
              </p:txBody>
            </p:sp>
          </p:grpSp>
        </p:grpSp>
        <p:grpSp>
          <p:nvGrpSpPr>
            <p:cNvPr id="32" name="Gruppieren 141">
              <a:extLst>
                <a:ext uri="{FF2B5EF4-FFF2-40B4-BE49-F238E27FC236}">
                  <a16:creationId xmlns:a16="http://schemas.microsoft.com/office/drawing/2014/main" id="{928B5FA4-AC4C-4F1A-BB4F-DB1598D9CD7B}"/>
                </a:ext>
              </a:extLst>
            </p:cNvPr>
            <p:cNvGrpSpPr/>
            <p:nvPr/>
          </p:nvGrpSpPr>
          <p:grpSpPr>
            <a:xfrm>
              <a:off x="3104193" y="1857096"/>
              <a:ext cx="745702" cy="534167"/>
              <a:chOff x="5688013" y="58738"/>
              <a:chExt cx="3111500" cy="2228851"/>
            </a:xfrm>
          </p:grpSpPr>
          <p:sp>
            <p:nvSpPr>
              <p:cNvPr id="58" name="Freeform 6">
                <a:extLst>
                  <a:ext uri="{FF2B5EF4-FFF2-40B4-BE49-F238E27FC236}">
                    <a16:creationId xmlns:a16="http://schemas.microsoft.com/office/drawing/2014/main" id="{1BEB436B-BE5A-4F23-9F4E-4FDE680D32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8013" y="58738"/>
                <a:ext cx="3111500" cy="1865313"/>
              </a:xfrm>
              <a:custGeom>
                <a:avLst/>
                <a:gdLst/>
                <a:ahLst/>
                <a:cxnLst>
                  <a:cxn ang="0">
                    <a:pos x="134" y="393"/>
                  </a:cxn>
                  <a:cxn ang="0">
                    <a:pos x="173" y="80"/>
                  </a:cxn>
                  <a:cxn ang="0">
                    <a:pos x="696" y="104"/>
                  </a:cxn>
                  <a:cxn ang="0">
                    <a:pos x="657" y="417"/>
                  </a:cxn>
                  <a:cxn ang="0">
                    <a:pos x="134" y="393"/>
                  </a:cxn>
                </a:cxnLst>
                <a:rect l="0" t="0" r="r" b="b"/>
                <a:pathLst>
                  <a:path w="830" h="497">
                    <a:moveTo>
                      <a:pt x="134" y="393"/>
                    </a:moveTo>
                    <a:cubicBezTo>
                      <a:pt x="0" y="300"/>
                      <a:pt x="18" y="160"/>
                      <a:pt x="173" y="80"/>
                    </a:cubicBezTo>
                    <a:cubicBezTo>
                      <a:pt x="328" y="0"/>
                      <a:pt x="563" y="11"/>
                      <a:pt x="696" y="104"/>
                    </a:cubicBezTo>
                    <a:cubicBezTo>
                      <a:pt x="830" y="197"/>
                      <a:pt x="812" y="337"/>
                      <a:pt x="657" y="417"/>
                    </a:cubicBezTo>
                    <a:cubicBezTo>
                      <a:pt x="502" y="497"/>
                      <a:pt x="268" y="486"/>
                      <a:pt x="134" y="39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D0810E"/>
                  </a:gs>
                  <a:gs pos="100000">
                    <a:srgbClr val="FFC000"/>
                  </a:gs>
                </a:gsLst>
                <a:lin ang="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1615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GB" sz="1575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grpSp>
            <p:nvGrpSpPr>
              <p:cNvPr id="59" name="Gruppieren 62">
                <a:extLst>
                  <a:ext uri="{FF2B5EF4-FFF2-40B4-BE49-F238E27FC236}">
                    <a16:creationId xmlns:a16="http://schemas.microsoft.com/office/drawing/2014/main" id="{65027794-9443-4BF9-B950-666FEE7787FB}"/>
                  </a:ext>
                </a:extLst>
              </p:cNvPr>
              <p:cNvGrpSpPr/>
              <p:nvPr/>
            </p:nvGrpSpPr>
            <p:grpSpPr>
              <a:xfrm>
                <a:off x="5849938" y="157163"/>
                <a:ext cx="2789238" cy="2130426"/>
                <a:chOff x="5849938" y="157163"/>
                <a:chExt cx="2789238" cy="2130426"/>
              </a:xfrm>
            </p:grpSpPr>
            <p:sp>
              <p:nvSpPr>
                <p:cNvPr id="60" name="Freeform 7">
                  <a:extLst>
                    <a:ext uri="{FF2B5EF4-FFF2-40B4-BE49-F238E27FC236}">
                      <a16:creationId xmlns:a16="http://schemas.microsoft.com/office/drawing/2014/main" id="{71CFC7A2-E153-4F86-B264-15CF5F36CA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56288" y="157163"/>
                  <a:ext cx="2774950" cy="1662113"/>
                </a:xfrm>
                <a:custGeom>
                  <a:avLst/>
                  <a:gdLst/>
                  <a:ahLst/>
                  <a:cxnLst>
                    <a:cxn ang="0">
                      <a:pos x="154" y="72"/>
                    </a:cxn>
                    <a:cxn ang="0">
                      <a:pos x="621" y="92"/>
                    </a:cxn>
                    <a:cxn ang="0">
                      <a:pos x="586" y="372"/>
                    </a:cxn>
                    <a:cxn ang="0">
                      <a:pos x="119" y="351"/>
                    </a:cxn>
                    <a:cxn ang="0">
                      <a:pos x="154" y="72"/>
                    </a:cxn>
                  </a:cxnLst>
                  <a:rect l="0" t="0" r="r" b="b"/>
                  <a:pathLst>
                    <a:path w="740" h="443">
                      <a:moveTo>
                        <a:pt x="154" y="72"/>
                      </a:moveTo>
                      <a:cubicBezTo>
                        <a:pt x="293" y="0"/>
                        <a:pt x="501" y="10"/>
                        <a:pt x="621" y="92"/>
                      </a:cubicBezTo>
                      <a:cubicBezTo>
                        <a:pt x="740" y="175"/>
                        <a:pt x="724" y="300"/>
                        <a:pt x="586" y="372"/>
                      </a:cubicBezTo>
                      <a:cubicBezTo>
                        <a:pt x="447" y="443"/>
                        <a:pt x="239" y="433"/>
                        <a:pt x="119" y="351"/>
                      </a:cubicBezTo>
                      <a:cubicBezTo>
                        <a:pt x="0" y="268"/>
                        <a:pt x="16" y="143"/>
                        <a:pt x="154" y="7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0810E"/>
                    </a:gs>
                    <a:gs pos="100000">
                      <a:srgbClr val="FFC000"/>
                    </a:gs>
                  </a:gsLst>
                  <a:lin ang="13500000" scaled="1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1615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GB" sz="1575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endParaRPr>
                </a:p>
              </p:txBody>
            </p:sp>
            <p:sp>
              <p:nvSpPr>
                <p:cNvPr id="61" name="Freeform 8">
                  <a:extLst>
                    <a:ext uri="{FF2B5EF4-FFF2-40B4-BE49-F238E27FC236}">
                      <a16:creationId xmlns:a16="http://schemas.microsoft.com/office/drawing/2014/main" id="{3C62FA41-F22C-46DC-8494-2E8515F0B7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08676" y="187326"/>
                  <a:ext cx="2670175" cy="1601788"/>
                </a:xfrm>
                <a:custGeom>
                  <a:avLst/>
                  <a:gdLst/>
                  <a:ahLst/>
                  <a:cxnLst>
                    <a:cxn ang="0">
                      <a:pos x="148" y="69"/>
                    </a:cxn>
                    <a:cxn ang="0">
                      <a:pos x="597" y="89"/>
                    </a:cxn>
                    <a:cxn ang="0">
                      <a:pos x="564" y="358"/>
                    </a:cxn>
                    <a:cxn ang="0">
                      <a:pos x="115" y="338"/>
                    </a:cxn>
                    <a:cxn ang="0">
                      <a:pos x="148" y="69"/>
                    </a:cxn>
                  </a:cxnLst>
                  <a:rect l="0" t="0" r="r" b="b"/>
                  <a:pathLst>
                    <a:path w="712" h="427">
                      <a:moveTo>
                        <a:pt x="148" y="69"/>
                      </a:moveTo>
                      <a:cubicBezTo>
                        <a:pt x="282" y="0"/>
                        <a:pt x="483" y="9"/>
                        <a:pt x="597" y="89"/>
                      </a:cubicBezTo>
                      <a:cubicBezTo>
                        <a:pt x="712" y="169"/>
                        <a:pt x="697" y="289"/>
                        <a:pt x="564" y="358"/>
                      </a:cubicBezTo>
                      <a:cubicBezTo>
                        <a:pt x="431" y="427"/>
                        <a:pt x="229" y="418"/>
                        <a:pt x="115" y="338"/>
                      </a:cubicBezTo>
                      <a:cubicBezTo>
                        <a:pt x="0" y="258"/>
                        <a:pt x="15" y="138"/>
                        <a:pt x="148" y="69"/>
                      </a:cubicBezTo>
                      <a:close/>
                    </a:path>
                  </a:pathLst>
                </a:custGeom>
                <a:solidFill>
                  <a:srgbClr val="FDD28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1615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GB" sz="1575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endParaRPr>
                </a:p>
              </p:txBody>
            </p:sp>
            <p:sp>
              <p:nvSpPr>
                <p:cNvPr id="62" name="Freeform 9">
                  <a:extLst>
                    <a:ext uri="{FF2B5EF4-FFF2-40B4-BE49-F238E27FC236}">
                      <a16:creationId xmlns:a16="http://schemas.microsoft.com/office/drawing/2014/main" id="{A0DED0A7-4C75-4D52-A57F-C576648490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48451" y="588963"/>
                  <a:ext cx="1187450" cy="801688"/>
                </a:xfrm>
                <a:custGeom>
                  <a:avLst/>
                  <a:gdLst/>
                  <a:ahLst/>
                  <a:cxnLst>
                    <a:cxn ang="0">
                      <a:pos x="268" y="211"/>
                    </a:cxn>
                    <a:cxn ang="0">
                      <a:pos x="238" y="190"/>
                    </a:cxn>
                    <a:cxn ang="0">
                      <a:pos x="157" y="214"/>
                    </a:cxn>
                    <a:cxn ang="0">
                      <a:pos x="124" y="177"/>
                    </a:cxn>
                    <a:cxn ang="0">
                      <a:pos x="205" y="153"/>
                    </a:cxn>
                    <a:cxn ang="0">
                      <a:pos x="223" y="125"/>
                    </a:cxn>
                    <a:cxn ang="0">
                      <a:pos x="160" y="129"/>
                    </a:cxn>
                    <a:cxn ang="0">
                      <a:pos x="29" y="123"/>
                    </a:cxn>
                    <a:cxn ang="0">
                      <a:pos x="35" y="46"/>
                    </a:cxn>
                    <a:cxn ang="0">
                      <a:pos x="5" y="25"/>
                    </a:cxn>
                    <a:cxn ang="0">
                      <a:pos x="48" y="3"/>
                    </a:cxn>
                    <a:cxn ang="0">
                      <a:pos x="76" y="23"/>
                    </a:cxn>
                    <a:cxn ang="0">
                      <a:pos x="143" y="0"/>
                    </a:cxn>
                    <a:cxn ang="0">
                      <a:pos x="174" y="37"/>
                    </a:cxn>
                    <a:cxn ang="0">
                      <a:pos x="106" y="58"/>
                    </a:cxn>
                    <a:cxn ang="0">
                      <a:pos x="91" y="83"/>
                    </a:cxn>
                    <a:cxn ang="0">
                      <a:pos x="160" y="77"/>
                    </a:cxn>
                    <a:cxn ang="0">
                      <a:pos x="286" y="86"/>
                    </a:cxn>
                    <a:cxn ang="0">
                      <a:pos x="278" y="165"/>
                    </a:cxn>
                    <a:cxn ang="0">
                      <a:pos x="311" y="188"/>
                    </a:cxn>
                    <a:cxn ang="0">
                      <a:pos x="268" y="211"/>
                    </a:cxn>
                  </a:cxnLst>
                  <a:rect l="0" t="0" r="r" b="b"/>
                  <a:pathLst>
                    <a:path w="317" h="214">
                      <a:moveTo>
                        <a:pt x="268" y="211"/>
                      </a:moveTo>
                      <a:cubicBezTo>
                        <a:pt x="238" y="190"/>
                        <a:pt x="238" y="190"/>
                        <a:pt x="238" y="190"/>
                      </a:cubicBezTo>
                      <a:cubicBezTo>
                        <a:pt x="210" y="202"/>
                        <a:pt x="178" y="211"/>
                        <a:pt x="157" y="214"/>
                      </a:cubicBezTo>
                      <a:cubicBezTo>
                        <a:pt x="124" y="177"/>
                        <a:pt x="124" y="177"/>
                        <a:pt x="124" y="177"/>
                      </a:cubicBezTo>
                      <a:cubicBezTo>
                        <a:pt x="149" y="173"/>
                        <a:pt x="179" y="166"/>
                        <a:pt x="205" y="153"/>
                      </a:cubicBezTo>
                      <a:cubicBezTo>
                        <a:pt x="224" y="143"/>
                        <a:pt x="233" y="132"/>
                        <a:pt x="223" y="125"/>
                      </a:cubicBezTo>
                      <a:cubicBezTo>
                        <a:pt x="213" y="118"/>
                        <a:pt x="196" y="120"/>
                        <a:pt x="160" y="129"/>
                      </a:cubicBezTo>
                      <a:cubicBezTo>
                        <a:pt x="108" y="142"/>
                        <a:pt x="62" y="146"/>
                        <a:pt x="29" y="123"/>
                      </a:cubicBezTo>
                      <a:cubicBezTo>
                        <a:pt x="0" y="102"/>
                        <a:pt x="0" y="74"/>
                        <a:pt x="35" y="46"/>
                      </a:cubicBezTo>
                      <a:cubicBezTo>
                        <a:pt x="5" y="25"/>
                        <a:pt x="5" y="25"/>
                        <a:pt x="5" y="25"/>
                      </a:cubicBezTo>
                      <a:cubicBezTo>
                        <a:pt x="48" y="3"/>
                        <a:pt x="48" y="3"/>
                        <a:pt x="48" y="3"/>
                      </a:cubicBezTo>
                      <a:cubicBezTo>
                        <a:pt x="76" y="23"/>
                        <a:pt x="76" y="23"/>
                        <a:pt x="76" y="23"/>
                      </a:cubicBezTo>
                      <a:cubicBezTo>
                        <a:pt x="102" y="10"/>
                        <a:pt x="125" y="4"/>
                        <a:pt x="143" y="0"/>
                      </a:cubicBezTo>
                      <a:cubicBezTo>
                        <a:pt x="174" y="37"/>
                        <a:pt x="174" y="37"/>
                        <a:pt x="174" y="37"/>
                      </a:cubicBezTo>
                      <a:cubicBezTo>
                        <a:pt x="161" y="39"/>
                        <a:pt x="135" y="44"/>
                        <a:pt x="106" y="58"/>
                      </a:cubicBezTo>
                      <a:cubicBezTo>
                        <a:pt x="84" y="70"/>
                        <a:pt x="84" y="78"/>
                        <a:pt x="91" y="83"/>
                      </a:cubicBezTo>
                      <a:cubicBezTo>
                        <a:pt x="99" y="89"/>
                        <a:pt x="118" y="86"/>
                        <a:pt x="160" y="77"/>
                      </a:cubicBezTo>
                      <a:cubicBezTo>
                        <a:pt x="221" y="61"/>
                        <a:pt x="257" y="65"/>
                        <a:pt x="286" y="86"/>
                      </a:cubicBezTo>
                      <a:cubicBezTo>
                        <a:pt x="317" y="107"/>
                        <a:pt x="316" y="137"/>
                        <a:pt x="278" y="165"/>
                      </a:cubicBezTo>
                      <a:cubicBezTo>
                        <a:pt x="311" y="188"/>
                        <a:pt x="311" y="188"/>
                        <a:pt x="311" y="188"/>
                      </a:cubicBezTo>
                      <a:lnTo>
                        <a:pt x="268" y="211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0810E"/>
                    </a:gs>
                    <a:gs pos="100000">
                      <a:srgbClr val="FFC000"/>
                    </a:gs>
                  </a:gsLst>
                  <a:lin ang="18900000" scaled="1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1615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GB" sz="1575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endParaRPr>
                </a:p>
              </p:txBody>
            </p:sp>
            <p:sp>
              <p:nvSpPr>
                <p:cNvPr id="63" name="Freeform 10">
                  <a:extLst>
                    <a:ext uri="{FF2B5EF4-FFF2-40B4-BE49-F238E27FC236}">
                      <a16:creationId xmlns:a16="http://schemas.microsoft.com/office/drawing/2014/main" id="{460B2E74-7093-49DF-A5B5-3564241568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49938" y="1057276"/>
                  <a:ext cx="2789238" cy="1230313"/>
                </a:xfrm>
                <a:custGeom>
                  <a:avLst/>
                  <a:gdLst/>
                  <a:ahLst/>
                  <a:cxnLst>
                    <a:cxn ang="0">
                      <a:pos x="741" y="56"/>
                    </a:cxn>
                    <a:cxn ang="0">
                      <a:pos x="741" y="0"/>
                    </a:cxn>
                    <a:cxn ang="0">
                      <a:pos x="733" y="28"/>
                    </a:cxn>
                    <a:cxn ang="0">
                      <a:pos x="614" y="145"/>
                    </a:cxn>
                    <a:cxn ang="0">
                      <a:pos x="91" y="121"/>
                    </a:cxn>
                    <a:cxn ang="0">
                      <a:pos x="11" y="28"/>
                    </a:cxn>
                    <a:cxn ang="0">
                      <a:pos x="3" y="0"/>
                    </a:cxn>
                    <a:cxn ang="0">
                      <a:pos x="3" y="56"/>
                    </a:cxn>
                    <a:cxn ang="0">
                      <a:pos x="3" y="103"/>
                    </a:cxn>
                    <a:cxn ang="0">
                      <a:pos x="91" y="224"/>
                    </a:cxn>
                    <a:cxn ang="0">
                      <a:pos x="614" y="248"/>
                    </a:cxn>
                    <a:cxn ang="0">
                      <a:pos x="741" y="103"/>
                    </a:cxn>
                    <a:cxn ang="0">
                      <a:pos x="741" y="56"/>
                    </a:cxn>
                  </a:cxnLst>
                  <a:rect l="0" t="0" r="r" b="b"/>
                  <a:pathLst>
                    <a:path w="744" h="328">
                      <a:moveTo>
                        <a:pt x="741" y="56"/>
                      </a:moveTo>
                      <a:cubicBezTo>
                        <a:pt x="741" y="0"/>
                        <a:pt x="741" y="0"/>
                        <a:pt x="741" y="0"/>
                      </a:cubicBezTo>
                      <a:cubicBezTo>
                        <a:pt x="739" y="9"/>
                        <a:pt x="737" y="18"/>
                        <a:pt x="733" y="28"/>
                      </a:cubicBezTo>
                      <a:cubicBezTo>
                        <a:pt x="716" y="72"/>
                        <a:pt x="676" y="113"/>
                        <a:pt x="614" y="145"/>
                      </a:cubicBezTo>
                      <a:cubicBezTo>
                        <a:pt x="459" y="225"/>
                        <a:pt x="225" y="214"/>
                        <a:pt x="91" y="121"/>
                      </a:cubicBezTo>
                      <a:cubicBezTo>
                        <a:pt x="51" y="93"/>
                        <a:pt x="24" y="61"/>
                        <a:pt x="11" y="28"/>
                      </a:cubicBezTo>
                      <a:cubicBezTo>
                        <a:pt x="7" y="19"/>
                        <a:pt x="5" y="9"/>
                        <a:pt x="3" y="0"/>
                      </a:cubicBezTo>
                      <a:cubicBezTo>
                        <a:pt x="3" y="56"/>
                        <a:pt x="3" y="56"/>
                        <a:pt x="3" y="56"/>
                      </a:cubicBezTo>
                      <a:cubicBezTo>
                        <a:pt x="0" y="72"/>
                        <a:pt x="0" y="87"/>
                        <a:pt x="3" y="103"/>
                      </a:cubicBezTo>
                      <a:cubicBezTo>
                        <a:pt x="11" y="146"/>
                        <a:pt x="40" y="189"/>
                        <a:pt x="91" y="224"/>
                      </a:cubicBezTo>
                      <a:cubicBezTo>
                        <a:pt x="225" y="317"/>
                        <a:pt x="459" y="328"/>
                        <a:pt x="614" y="248"/>
                      </a:cubicBezTo>
                      <a:cubicBezTo>
                        <a:pt x="689" y="209"/>
                        <a:pt x="731" y="157"/>
                        <a:pt x="741" y="103"/>
                      </a:cubicBezTo>
                      <a:cubicBezTo>
                        <a:pt x="744" y="87"/>
                        <a:pt x="744" y="71"/>
                        <a:pt x="741" y="56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0810E"/>
                    </a:gs>
                    <a:gs pos="100000">
                      <a:srgbClr val="CC6600"/>
                    </a:gs>
                  </a:gsLst>
                  <a:lin ang="16200000" scaled="1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1615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GB" sz="1575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endParaRPr>
                </a:p>
              </p:txBody>
            </p:sp>
            <p:sp>
              <p:nvSpPr>
                <p:cNvPr id="64" name="Freeform 11">
                  <a:extLst>
                    <a:ext uri="{FF2B5EF4-FFF2-40B4-BE49-F238E27FC236}">
                      <a16:creationId xmlns:a16="http://schemas.microsoft.com/office/drawing/2014/main" id="{4D1852D1-4366-4A26-A058-CFD4C8F67CA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13438" y="1236663"/>
                  <a:ext cx="2665413" cy="893763"/>
                </a:xfrm>
                <a:custGeom>
                  <a:avLst/>
                  <a:gdLst/>
                  <a:ahLst/>
                  <a:cxnLst>
                    <a:cxn ang="0">
                      <a:pos x="569" y="197"/>
                    </a:cxn>
                    <a:cxn ang="0">
                      <a:pos x="541" y="130"/>
                    </a:cxn>
                    <a:cxn ang="0">
                      <a:pos x="486" y="224"/>
                    </a:cxn>
                    <a:cxn ang="0">
                      <a:pos x="517" y="138"/>
                    </a:cxn>
                    <a:cxn ang="0">
                      <a:pos x="486" y="224"/>
                    </a:cxn>
                    <a:cxn ang="0">
                      <a:pos x="592" y="187"/>
                    </a:cxn>
                    <a:cxn ang="0">
                      <a:pos x="618" y="173"/>
                    </a:cxn>
                    <a:cxn ang="0">
                      <a:pos x="597" y="106"/>
                    </a:cxn>
                    <a:cxn ang="0">
                      <a:pos x="367" y="238"/>
                    </a:cxn>
                    <a:cxn ang="0">
                      <a:pos x="402" y="158"/>
                    </a:cxn>
                    <a:cxn ang="0">
                      <a:pos x="367" y="238"/>
                    </a:cxn>
                    <a:cxn ang="0">
                      <a:pos x="461" y="229"/>
                    </a:cxn>
                    <a:cxn ang="0">
                      <a:pos x="428" y="155"/>
                    </a:cxn>
                    <a:cxn ang="0">
                      <a:pos x="690" y="33"/>
                    </a:cxn>
                    <a:cxn ang="0">
                      <a:pos x="711" y="78"/>
                    </a:cxn>
                    <a:cxn ang="0">
                      <a:pos x="690" y="33"/>
                    </a:cxn>
                    <a:cxn ang="0">
                      <a:pos x="668" y="135"/>
                    </a:cxn>
                    <a:cxn ang="0">
                      <a:pos x="645" y="76"/>
                    </a:cxn>
                    <a:cxn ang="0">
                      <a:pos x="310" y="236"/>
                    </a:cxn>
                    <a:cxn ang="0">
                      <a:pos x="345" y="160"/>
                    </a:cxn>
                    <a:cxn ang="0">
                      <a:pos x="310" y="236"/>
                    </a:cxn>
                    <a:cxn ang="0">
                      <a:pos x="170" y="209"/>
                    </a:cxn>
                    <a:cxn ang="0">
                      <a:pos x="142" y="120"/>
                    </a:cxn>
                    <a:cxn ang="0">
                      <a:pos x="0" y="81"/>
                    </a:cxn>
                    <a:cxn ang="0">
                      <a:pos x="21" y="35"/>
                    </a:cxn>
                    <a:cxn ang="0">
                      <a:pos x="0" y="81"/>
                    </a:cxn>
                    <a:cxn ang="0">
                      <a:pos x="67" y="156"/>
                    </a:cxn>
                    <a:cxn ang="0">
                      <a:pos x="43" y="58"/>
                    </a:cxn>
                    <a:cxn ang="0">
                      <a:pos x="251" y="229"/>
                    </a:cxn>
                    <a:cxn ang="0">
                      <a:pos x="284" y="156"/>
                    </a:cxn>
                    <a:cxn ang="0">
                      <a:pos x="251" y="229"/>
                    </a:cxn>
                    <a:cxn ang="0">
                      <a:pos x="120" y="188"/>
                    </a:cxn>
                    <a:cxn ang="0">
                      <a:pos x="94" y="95"/>
                    </a:cxn>
                    <a:cxn ang="0">
                      <a:pos x="195" y="216"/>
                    </a:cxn>
                    <a:cxn ang="0">
                      <a:pos x="225" y="146"/>
                    </a:cxn>
                    <a:cxn ang="0">
                      <a:pos x="195" y="216"/>
                    </a:cxn>
                  </a:cxnLst>
                  <a:rect l="0" t="0" r="r" b="b"/>
                  <a:pathLst>
                    <a:path w="711" h="238">
                      <a:moveTo>
                        <a:pt x="541" y="208"/>
                      </a:moveTo>
                      <a:cubicBezTo>
                        <a:pt x="551" y="205"/>
                        <a:pt x="560" y="201"/>
                        <a:pt x="569" y="197"/>
                      </a:cubicBezTo>
                      <a:cubicBezTo>
                        <a:pt x="569" y="119"/>
                        <a:pt x="569" y="119"/>
                        <a:pt x="569" y="119"/>
                      </a:cubicBezTo>
                      <a:cubicBezTo>
                        <a:pt x="560" y="123"/>
                        <a:pt x="551" y="126"/>
                        <a:pt x="541" y="130"/>
                      </a:cubicBezTo>
                      <a:lnTo>
                        <a:pt x="541" y="208"/>
                      </a:lnTo>
                      <a:close/>
                      <a:moveTo>
                        <a:pt x="486" y="224"/>
                      </a:moveTo>
                      <a:cubicBezTo>
                        <a:pt x="497" y="221"/>
                        <a:pt x="507" y="219"/>
                        <a:pt x="517" y="216"/>
                      </a:cubicBezTo>
                      <a:cubicBezTo>
                        <a:pt x="517" y="138"/>
                        <a:pt x="517" y="138"/>
                        <a:pt x="517" y="138"/>
                      </a:cubicBezTo>
                      <a:cubicBezTo>
                        <a:pt x="507" y="140"/>
                        <a:pt x="497" y="143"/>
                        <a:pt x="486" y="145"/>
                      </a:cubicBezTo>
                      <a:lnTo>
                        <a:pt x="486" y="224"/>
                      </a:lnTo>
                      <a:close/>
                      <a:moveTo>
                        <a:pt x="592" y="109"/>
                      </a:moveTo>
                      <a:cubicBezTo>
                        <a:pt x="592" y="187"/>
                        <a:pt x="592" y="187"/>
                        <a:pt x="592" y="187"/>
                      </a:cubicBezTo>
                      <a:cubicBezTo>
                        <a:pt x="594" y="186"/>
                        <a:pt x="595" y="185"/>
                        <a:pt x="597" y="184"/>
                      </a:cubicBezTo>
                      <a:cubicBezTo>
                        <a:pt x="604" y="180"/>
                        <a:pt x="611" y="177"/>
                        <a:pt x="618" y="173"/>
                      </a:cubicBezTo>
                      <a:cubicBezTo>
                        <a:pt x="618" y="94"/>
                        <a:pt x="618" y="94"/>
                        <a:pt x="618" y="94"/>
                      </a:cubicBezTo>
                      <a:cubicBezTo>
                        <a:pt x="611" y="98"/>
                        <a:pt x="604" y="102"/>
                        <a:pt x="597" y="106"/>
                      </a:cubicBezTo>
                      <a:cubicBezTo>
                        <a:pt x="595" y="107"/>
                        <a:pt x="594" y="108"/>
                        <a:pt x="592" y="109"/>
                      </a:cubicBezTo>
                      <a:close/>
                      <a:moveTo>
                        <a:pt x="367" y="238"/>
                      </a:moveTo>
                      <a:cubicBezTo>
                        <a:pt x="378" y="238"/>
                        <a:pt x="390" y="237"/>
                        <a:pt x="402" y="236"/>
                      </a:cubicBezTo>
                      <a:cubicBezTo>
                        <a:pt x="402" y="158"/>
                        <a:pt x="402" y="158"/>
                        <a:pt x="402" y="158"/>
                      </a:cubicBezTo>
                      <a:cubicBezTo>
                        <a:pt x="390" y="159"/>
                        <a:pt x="378" y="159"/>
                        <a:pt x="367" y="160"/>
                      </a:cubicBezTo>
                      <a:lnTo>
                        <a:pt x="367" y="238"/>
                      </a:lnTo>
                      <a:close/>
                      <a:moveTo>
                        <a:pt x="428" y="234"/>
                      </a:moveTo>
                      <a:cubicBezTo>
                        <a:pt x="439" y="232"/>
                        <a:pt x="450" y="231"/>
                        <a:pt x="461" y="229"/>
                      </a:cubicBezTo>
                      <a:cubicBezTo>
                        <a:pt x="461" y="151"/>
                        <a:pt x="461" y="151"/>
                        <a:pt x="461" y="151"/>
                      </a:cubicBezTo>
                      <a:cubicBezTo>
                        <a:pt x="450" y="153"/>
                        <a:pt x="439" y="154"/>
                        <a:pt x="428" y="155"/>
                      </a:cubicBezTo>
                      <a:lnTo>
                        <a:pt x="428" y="234"/>
                      </a:lnTo>
                      <a:close/>
                      <a:moveTo>
                        <a:pt x="690" y="33"/>
                      </a:moveTo>
                      <a:cubicBezTo>
                        <a:pt x="690" y="111"/>
                        <a:pt x="690" y="111"/>
                        <a:pt x="690" y="111"/>
                      </a:cubicBezTo>
                      <a:cubicBezTo>
                        <a:pt x="699" y="101"/>
                        <a:pt x="706" y="89"/>
                        <a:pt x="711" y="78"/>
                      </a:cubicBezTo>
                      <a:cubicBezTo>
                        <a:pt x="711" y="0"/>
                        <a:pt x="711" y="0"/>
                        <a:pt x="711" y="0"/>
                      </a:cubicBezTo>
                      <a:cubicBezTo>
                        <a:pt x="706" y="11"/>
                        <a:pt x="699" y="22"/>
                        <a:pt x="690" y="33"/>
                      </a:cubicBezTo>
                      <a:close/>
                      <a:moveTo>
                        <a:pt x="645" y="155"/>
                      </a:moveTo>
                      <a:cubicBezTo>
                        <a:pt x="653" y="148"/>
                        <a:pt x="661" y="142"/>
                        <a:pt x="668" y="135"/>
                      </a:cubicBezTo>
                      <a:cubicBezTo>
                        <a:pt x="668" y="57"/>
                        <a:pt x="668" y="57"/>
                        <a:pt x="668" y="57"/>
                      </a:cubicBezTo>
                      <a:cubicBezTo>
                        <a:pt x="661" y="63"/>
                        <a:pt x="653" y="70"/>
                        <a:pt x="645" y="76"/>
                      </a:cubicBezTo>
                      <a:lnTo>
                        <a:pt x="645" y="155"/>
                      </a:lnTo>
                      <a:close/>
                      <a:moveTo>
                        <a:pt x="310" y="236"/>
                      </a:moveTo>
                      <a:cubicBezTo>
                        <a:pt x="321" y="237"/>
                        <a:pt x="333" y="238"/>
                        <a:pt x="345" y="238"/>
                      </a:cubicBezTo>
                      <a:cubicBezTo>
                        <a:pt x="345" y="160"/>
                        <a:pt x="345" y="160"/>
                        <a:pt x="345" y="160"/>
                      </a:cubicBezTo>
                      <a:cubicBezTo>
                        <a:pt x="333" y="159"/>
                        <a:pt x="321" y="159"/>
                        <a:pt x="310" y="158"/>
                      </a:cubicBezTo>
                      <a:lnTo>
                        <a:pt x="310" y="236"/>
                      </a:lnTo>
                      <a:close/>
                      <a:moveTo>
                        <a:pt x="142" y="198"/>
                      </a:moveTo>
                      <a:cubicBezTo>
                        <a:pt x="151" y="202"/>
                        <a:pt x="161" y="205"/>
                        <a:pt x="170" y="209"/>
                      </a:cubicBezTo>
                      <a:cubicBezTo>
                        <a:pt x="170" y="130"/>
                        <a:pt x="170" y="130"/>
                        <a:pt x="170" y="130"/>
                      </a:cubicBezTo>
                      <a:cubicBezTo>
                        <a:pt x="161" y="127"/>
                        <a:pt x="151" y="123"/>
                        <a:pt x="142" y="120"/>
                      </a:cubicBezTo>
                      <a:lnTo>
                        <a:pt x="142" y="198"/>
                      </a:lnTo>
                      <a:close/>
                      <a:moveTo>
                        <a:pt x="0" y="81"/>
                      </a:moveTo>
                      <a:cubicBezTo>
                        <a:pt x="6" y="92"/>
                        <a:pt x="13" y="103"/>
                        <a:pt x="21" y="113"/>
                      </a:cubicBezTo>
                      <a:cubicBezTo>
                        <a:pt x="21" y="35"/>
                        <a:pt x="21" y="35"/>
                        <a:pt x="21" y="35"/>
                      </a:cubicBezTo>
                      <a:cubicBezTo>
                        <a:pt x="13" y="25"/>
                        <a:pt x="6" y="14"/>
                        <a:pt x="0" y="3"/>
                      </a:cubicBezTo>
                      <a:lnTo>
                        <a:pt x="0" y="81"/>
                      </a:lnTo>
                      <a:close/>
                      <a:moveTo>
                        <a:pt x="43" y="136"/>
                      </a:moveTo>
                      <a:cubicBezTo>
                        <a:pt x="50" y="143"/>
                        <a:pt x="58" y="149"/>
                        <a:pt x="67" y="156"/>
                      </a:cubicBezTo>
                      <a:cubicBezTo>
                        <a:pt x="67" y="77"/>
                        <a:pt x="67" y="77"/>
                        <a:pt x="67" y="77"/>
                      </a:cubicBezTo>
                      <a:cubicBezTo>
                        <a:pt x="58" y="71"/>
                        <a:pt x="50" y="65"/>
                        <a:pt x="43" y="58"/>
                      </a:cubicBezTo>
                      <a:lnTo>
                        <a:pt x="43" y="136"/>
                      </a:lnTo>
                      <a:close/>
                      <a:moveTo>
                        <a:pt x="251" y="229"/>
                      </a:moveTo>
                      <a:cubicBezTo>
                        <a:pt x="262" y="231"/>
                        <a:pt x="273" y="233"/>
                        <a:pt x="284" y="234"/>
                      </a:cubicBezTo>
                      <a:cubicBezTo>
                        <a:pt x="284" y="156"/>
                        <a:pt x="284" y="156"/>
                        <a:pt x="284" y="156"/>
                      </a:cubicBezTo>
                      <a:cubicBezTo>
                        <a:pt x="273" y="154"/>
                        <a:pt x="262" y="153"/>
                        <a:pt x="251" y="151"/>
                      </a:cubicBezTo>
                      <a:lnTo>
                        <a:pt x="251" y="229"/>
                      </a:lnTo>
                      <a:close/>
                      <a:moveTo>
                        <a:pt x="94" y="174"/>
                      </a:moveTo>
                      <a:cubicBezTo>
                        <a:pt x="102" y="179"/>
                        <a:pt x="111" y="183"/>
                        <a:pt x="120" y="188"/>
                      </a:cubicBezTo>
                      <a:cubicBezTo>
                        <a:pt x="120" y="109"/>
                        <a:pt x="120" y="109"/>
                        <a:pt x="120" y="109"/>
                      </a:cubicBezTo>
                      <a:cubicBezTo>
                        <a:pt x="111" y="105"/>
                        <a:pt x="102" y="100"/>
                        <a:pt x="94" y="95"/>
                      </a:cubicBezTo>
                      <a:lnTo>
                        <a:pt x="94" y="174"/>
                      </a:lnTo>
                      <a:close/>
                      <a:moveTo>
                        <a:pt x="195" y="216"/>
                      </a:moveTo>
                      <a:cubicBezTo>
                        <a:pt x="205" y="219"/>
                        <a:pt x="215" y="222"/>
                        <a:pt x="225" y="224"/>
                      </a:cubicBezTo>
                      <a:cubicBezTo>
                        <a:pt x="225" y="146"/>
                        <a:pt x="225" y="146"/>
                        <a:pt x="225" y="146"/>
                      </a:cubicBezTo>
                      <a:cubicBezTo>
                        <a:pt x="215" y="143"/>
                        <a:pt x="205" y="141"/>
                        <a:pt x="195" y="138"/>
                      </a:cubicBezTo>
                      <a:lnTo>
                        <a:pt x="195" y="216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0810E"/>
                    </a:gs>
                    <a:gs pos="100000">
                      <a:srgbClr val="FFC000"/>
                    </a:gs>
                  </a:gsLst>
                  <a:lin ang="5400000" scaled="1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1615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GB" sz="1575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endParaRPr>
                </a:p>
              </p:txBody>
            </p:sp>
          </p:grpSp>
        </p:grpSp>
        <p:grpSp>
          <p:nvGrpSpPr>
            <p:cNvPr id="33" name="Gruppieren 138">
              <a:extLst>
                <a:ext uri="{FF2B5EF4-FFF2-40B4-BE49-F238E27FC236}">
                  <a16:creationId xmlns:a16="http://schemas.microsoft.com/office/drawing/2014/main" id="{F98AFC63-F8DF-4019-9E55-9D97F6A3EB91}"/>
                </a:ext>
              </a:extLst>
            </p:cNvPr>
            <p:cNvGrpSpPr/>
            <p:nvPr/>
          </p:nvGrpSpPr>
          <p:grpSpPr>
            <a:xfrm>
              <a:off x="2694424" y="2354945"/>
              <a:ext cx="800488" cy="836424"/>
              <a:chOff x="2694424" y="2354945"/>
              <a:chExt cx="800488" cy="836424"/>
            </a:xfrm>
          </p:grpSpPr>
          <p:grpSp>
            <p:nvGrpSpPr>
              <p:cNvPr id="34" name="Gruppieren 72">
                <a:extLst>
                  <a:ext uri="{FF2B5EF4-FFF2-40B4-BE49-F238E27FC236}">
                    <a16:creationId xmlns:a16="http://schemas.microsoft.com/office/drawing/2014/main" id="{9D742D4B-5C6F-4C1B-BA26-D7B591FACEBF}"/>
                  </a:ext>
                </a:extLst>
              </p:cNvPr>
              <p:cNvGrpSpPr/>
              <p:nvPr/>
            </p:nvGrpSpPr>
            <p:grpSpPr>
              <a:xfrm>
                <a:off x="2713472" y="2631603"/>
                <a:ext cx="781440" cy="559766"/>
                <a:chOff x="5688013" y="58738"/>
                <a:chExt cx="3111500" cy="2228851"/>
              </a:xfrm>
            </p:grpSpPr>
            <p:sp>
              <p:nvSpPr>
                <p:cNvPr id="51" name="Freeform 6">
                  <a:extLst>
                    <a:ext uri="{FF2B5EF4-FFF2-40B4-BE49-F238E27FC236}">
                      <a16:creationId xmlns:a16="http://schemas.microsoft.com/office/drawing/2014/main" id="{DBF951AE-31FA-4857-8039-2A6E4FA38F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88013" y="58738"/>
                  <a:ext cx="3111500" cy="1865313"/>
                </a:xfrm>
                <a:custGeom>
                  <a:avLst/>
                  <a:gdLst/>
                  <a:ahLst/>
                  <a:cxnLst>
                    <a:cxn ang="0">
                      <a:pos x="134" y="393"/>
                    </a:cxn>
                    <a:cxn ang="0">
                      <a:pos x="173" y="80"/>
                    </a:cxn>
                    <a:cxn ang="0">
                      <a:pos x="696" y="104"/>
                    </a:cxn>
                    <a:cxn ang="0">
                      <a:pos x="657" y="417"/>
                    </a:cxn>
                    <a:cxn ang="0">
                      <a:pos x="134" y="393"/>
                    </a:cxn>
                  </a:cxnLst>
                  <a:rect l="0" t="0" r="r" b="b"/>
                  <a:pathLst>
                    <a:path w="830" h="497">
                      <a:moveTo>
                        <a:pt x="134" y="393"/>
                      </a:moveTo>
                      <a:cubicBezTo>
                        <a:pt x="0" y="300"/>
                        <a:pt x="18" y="160"/>
                        <a:pt x="173" y="80"/>
                      </a:cubicBezTo>
                      <a:cubicBezTo>
                        <a:pt x="328" y="0"/>
                        <a:pt x="563" y="11"/>
                        <a:pt x="696" y="104"/>
                      </a:cubicBezTo>
                      <a:cubicBezTo>
                        <a:pt x="830" y="197"/>
                        <a:pt x="812" y="337"/>
                        <a:pt x="657" y="417"/>
                      </a:cubicBezTo>
                      <a:cubicBezTo>
                        <a:pt x="502" y="497"/>
                        <a:pt x="268" y="486"/>
                        <a:pt x="134" y="39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0810E"/>
                    </a:gs>
                    <a:gs pos="100000">
                      <a:srgbClr val="FFC000"/>
                    </a:gs>
                  </a:gsLst>
                  <a:lin ang="0" scaled="1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1615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GB" sz="1575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endParaRPr>
                </a:p>
              </p:txBody>
            </p:sp>
            <p:grpSp>
              <p:nvGrpSpPr>
                <p:cNvPr id="52" name="Gruppieren 62">
                  <a:extLst>
                    <a:ext uri="{FF2B5EF4-FFF2-40B4-BE49-F238E27FC236}">
                      <a16:creationId xmlns:a16="http://schemas.microsoft.com/office/drawing/2014/main" id="{FD708E26-E437-476D-AD31-65F85BC35A88}"/>
                    </a:ext>
                  </a:extLst>
                </p:cNvPr>
                <p:cNvGrpSpPr/>
                <p:nvPr/>
              </p:nvGrpSpPr>
              <p:grpSpPr>
                <a:xfrm>
                  <a:off x="5849938" y="157163"/>
                  <a:ext cx="2789238" cy="2130426"/>
                  <a:chOff x="5849938" y="157163"/>
                  <a:chExt cx="2789238" cy="2130426"/>
                </a:xfrm>
              </p:grpSpPr>
              <p:sp>
                <p:nvSpPr>
                  <p:cNvPr id="53" name="Freeform 7">
                    <a:extLst>
                      <a:ext uri="{FF2B5EF4-FFF2-40B4-BE49-F238E27FC236}">
                        <a16:creationId xmlns:a16="http://schemas.microsoft.com/office/drawing/2014/main" id="{634427C3-0C97-4C01-A141-8B35D13D706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56288" y="157163"/>
                    <a:ext cx="2774950" cy="1662113"/>
                  </a:xfrm>
                  <a:custGeom>
                    <a:avLst/>
                    <a:gdLst/>
                    <a:ahLst/>
                    <a:cxnLst>
                      <a:cxn ang="0">
                        <a:pos x="154" y="72"/>
                      </a:cxn>
                      <a:cxn ang="0">
                        <a:pos x="621" y="92"/>
                      </a:cxn>
                      <a:cxn ang="0">
                        <a:pos x="586" y="372"/>
                      </a:cxn>
                      <a:cxn ang="0">
                        <a:pos x="119" y="351"/>
                      </a:cxn>
                      <a:cxn ang="0">
                        <a:pos x="154" y="72"/>
                      </a:cxn>
                    </a:cxnLst>
                    <a:rect l="0" t="0" r="r" b="b"/>
                    <a:pathLst>
                      <a:path w="740" h="443">
                        <a:moveTo>
                          <a:pt x="154" y="72"/>
                        </a:moveTo>
                        <a:cubicBezTo>
                          <a:pt x="293" y="0"/>
                          <a:pt x="501" y="10"/>
                          <a:pt x="621" y="92"/>
                        </a:cubicBezTo>
                        <a:cubicBezTo>
                          <a:pt x="740" y="175"/>
                          <a:pt x="724" y="300"/>
                          <a:pt x="586" y="372"/>
                        </a:cubicBezTo>
                        <a:cubicBezTo>
                          <a:pt x="447" y="443"/>
                          <a:pt x="239" y="433"/>
                          <a:pt x="119" y="351"/>
                        </a:cubicBezTo>
                        <a:cubicBezTo>
                          <a:pt x="0" y="268"/>
                          <a:pt x="16" y="143"/>
                          <a:pt x="154" y="72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135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54" name="Freeform 8">
                    <a:extLst>
                      <a:ext uri="{FF2B5EF4-FFF2-40B4-BE49-F238E27FC236}">
                        <a16:creationId xmlns:a16="http://schemas.microsoft.com/office/drawing/2014/main" id="{9A9BF9F6-8C1B-4268-B003-D11DAA8B737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908676" y="187326"/>
                    <a:ext cx="2670175" cy="1601788"/>
                  </a:xfrm>
                  <a:custGeom>
                    <a:avLst/>
                    <a:gdLst/>
                    <a:ahLst/>
                    <a:cxnLst>
                      <a:cxn ang="0">
                        <a:pos x="148" y="69"/>
                      </a:cxn>
                      <a:cxn ang="0">
                        <a:pos x="597" y="89"/>
                      </a:cxn>
                      <a:cxn ang="0">
                        <a:pos x="564" y="358"/>
                      </a:cxn>
                      <a:cxn ang="0">
                        <a:pos x="115" y="338"/>
                      </a:cxn>
                      <a:cxn ang="0">
                        <a:pos x="148" y="69"/>
                      </a:cxn>
                    </a:cxnLst>
                    <a:rect l="0" t="0" r="r" b="b"/>
                    <a:pathLst>
                      <a:path w="712" h="427">
                        <a:moveTo>
                          <a:pt x="148" y="69"/>
                        </a:moveTo>
                        <a:cubicBezTo>
                          <a:pt x="282" y="0"/>
                          <a:pt x="483" y="9"/>
                          <a:pt x="597" y="89"/>
                        </a:cubicBezTo>
                        <a:cubicBezTo>
                          <a:pt x="712" y="169"/>
                          <a:pt x="697" y="289"/>
                          <a:pt x="564" y="358"/>
                        </a:cubicBezTo>
                        <a:cubicBezTo>
                          <a:pt x="431" y="427"/>
                          <a:pt x="229" y="418"/>
                          <a:pt x="115" y="338"/>
                        </a:cubicBezTo>
                        <a:cubicBezTo>
                          <a:pt x="0" y="258"/>
                          <a:pt x="15" y="138"/>
                          <a:pt x="148" y="69"/>
                        </a:cubicBezTo>
                        <a:close/>
                      </a:path>
                    </a:pathLst>
                  </a:custGeom>
                  <a:solidFill>
                    <a:srgbClr val="FDD284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55" name="Freeform 9">
                    <a:extLst>
                      <a:ext uri="{FF2B5EF4-FFF2-40B4-BE49-F238E27FC236}">
                        <a16:creationId xmlns:a16="http://schemas.microsoft.com/office/drawing/2014/main" id="{CD187D57-735D-469F-A2CC-6FD73ED1AC3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648451" y="588963"/>
                    <a:ext cx="1187450" cy="801688"/>
                  </a:xfrm>
                  <a:custGeom>
                    <a:avLst/>
                    <a:gdLst/>
                    <a:ahLst/>
                    <a:cxnLst>
                      <a:cxn ang="0">
                        <a:pos x="268" y="211"/>
                      </a:cxn>
                      <a:cxn ang="0">
                        <a:pos x="238" y="190"/>
                      </a:cxn>
                      <a:cxn ang="0">
                        <a:pos x="157" y="214"/>
                      </a:cxn>
                      <a:cxn ang="0">
                        <a:pos x="124" y="177"/>
                      </a:cxn>
                      <a:cxn ang="0">
                        <a:pos x="205" y="153"/>
                      </a:cxn>
                      <a:cxn ang="0">
                        <a:pos x="223" y="125"/>
                      </a:cxn>
                      <a:cxn ang="0">
                        <a:pos x="160" y="129"/>
                      </a:cxn>
                      <a:cxn ang="0">
                        <a:pos x="29" y="123"/>
                      </a:cxn>
                      <a:cxn ang="0">
                        <a:pos x="35" y="46"/>
                      </a:cxn>
                      <a:cxn ang="0">
                        <a:pos x="5" y="25"/>
                      </a:cxn>
                      <a:cxn ang="0">
                        <a:pos x="48" y="3"/>
                      </a:cxn>
                      <a:cxn ang="0">
                        <a:pos x="76" y="23"/>
                      </a:cxn>
                      <a:cxn ang="0">
                        <a:pos x="143" y="0"/>
                      </a:cxn>
                      <a:cxn ang="0">
                        <a:pos x="174" y="37"/>
                      </a:cxn>
                      <a:cxn ang="0">
                        <a:pos x="106" y="58"/>
                      </a:cxn>
                      <a:cxn ang="0">
                        <a:pos x="91" y="83"/>
                      </a:cxn>
                      <a:cxn ang="0">
                        <a:pos x="160" y="77"/>
                      </a:cxn>
                      <a:cxn ang="0">
                        <a:pos x="286" y="86"/>
                      </a:cxn>
                      <a:cxn ang="0">
                        <a:pos x="278" y="165"/>
                      </a:cxn>
                      <a:cxn ang="0">
                        <a:pos x="311" y="188"/>
                      </a:cxn>
                      <a:cxn ang="0">
                        <a:pos x="268" y="211"/>
                      </a:cxn>
                    </a:cxnLst>
                    <a:rect l="0" t="0" r="r" b="b"/>
                    <a:pathLst>
                      <a:path w="317" h="214">
                        <a:moveTo>
                          <a:pt x="268" y="211"/>
                        </a:moveTo>
                        <a:cubicBezTo>
                          <a:pt x="238" y="190"/>
                          <a:pt x="238" y="190"/>
                          <a:pt x="238" y="190"/>
                        </a:cubicBezTo>
                        <a:cubicBezTo>
                          <a:pt x="210" y="202"/>
                          <a:pt x="178" y="211"/>
                          <a:pt x="157" y="214"/>
                        </a:cubicBezTo>
                        <a:cubicBezTo>
                          <a:pt x="124" y="177"/>
                          <a:pt x="124" y="177"/>
                          <a:pt x="124" y="177"/>
                        </a:cubicBezTo>
                        <a:cubicBezTo>
                          <a:pt x="149" y="173"/>
                          <a:pt x="179" y="166"/>
                          <a:pt x="205" y="153"/>
                        </a:cubicBezTo>
                        <a:cubicBezTo>
                          <a:pt x="224" y="143"/>
                          <a:pt x="233" y="132"/>
                          <a:pt x="223" y="125"/>
                        </a:cubicBezTo>
                        <a:cubicBezTo>
                          <a:pt x="213" y="118"/>
                          <a:pt x="196" y="120"/>
                          <a:pt x="160" y="129"/>
                        </a:cubicBezTo>
                        <a:cubicBezTo>
                          <a:pt x="108" y="142"/>
                          <a:pt x="62" y="146"/>
                          <a:pt x="29" y="123"/>
                        </a:cubicBezTo>
                        <a:cubicBezTo>
                          <a:pt x="0" y="102"/>
                          <a:pt x="0" y="74"/>
                          <a:pt x="35" y="46"/>
                        </a:cubicBezTo>
                        <a:cubicBezTo>
                          <a:pt x="5" y="25"/>
                          <a:pt x="5" y="25"/>
                          <a:pt x="5" y="25"/>
                        </a:cubicBezTo>
                        <a:cubicBezTo>
                          <a:pt x="48" y="3"/>
                          <a:pt x="48" y="3"/>
                          <a:pt x="48" y="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102" y="10"/>
                          <a:pt x="125" y="4"/>
                          <a:pt x="143" y="0"/>
                        </a:cubicBezTo>
                        <a:cubicBezTo>
                          <a:pt x="174" y="37"/>
                          <a:pt x="174" y="37"/>
                          <a:pt x="174" y="37"/>
                        </a:cubicBezTo>
                        <a:cubicBezTo>
                          <a:pt x="161" y="39"/>
                          <a:pt x="135" y="44"/>
                          <a:pt x="106" y="58"/>
                        </a:cubicBezTo>
                        <a:cubicBezTo>
                          <a:pt x="84" y="70"/>
                          <a:pt x="84" y="78"/>
                          <a:pt x="91" y="83"/>
                        </a:cubicBezTo>
                        <a:cubicBezTo>
                          <a:pt x="99" y="89"/>
                          <a:pt x="118" y="86"/>
                          <a:pt x="160" y="77"/>
                        </a:cubicBezTo>
                        <a:cubicBezTo>
                          <a:pt x="221" y="61"/>
                          <a:pt x="257" y="65"/>
                          <a:pt x="286" y="86"/>
                        </a:cubicBezTo>
                        <a:cubicBezTo>
                          <a:pt x="317" y="107"/>
                          <a:pt x="316" y="137"/>
                          <a:pt x="278" y="165"/>
                        </a:cubicBezTo>
                        <a:cubicBezTo>
                          <a:pt x="311" y="188"/>
                          <a:pt x="311" y="188"/>
                          <a:pt x="311" y="188"/>
                        </a:cubicBezTo>
                        <a:lnTo>
                          <a:pt x="268" y="211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189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56" name="Freeform 10">
                    <a:extLst>
                      <a:ext uri="{FF2B5EF4-FFF2-40B4-BE49-F238E27FC236}">
                        <a16:creationId xmlns:a16="http://schemas.microsoft.com/office/drawing/2014/main" id="{BA5EAF82-7E57-4CEF-84DE-7FF158F2BDA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49938" y="1057276"/>
                    <a:ext cx="2789238" cy="1230313"/>
                  </a:xfrm>
                  <a:custGeom>
                    <a:avLst/>
                    <a:gdLst/>
                    <a:ahLst/>
                    <a:cxnLst>
                      <a:cxn ang="0">
                        <a:pos x="741" y="56"/>
                      </a:cxn>
                      <a:cxn ang="0">
                        <a:pos x="741" y="0"/>
                      </a:cxn>
                      <a:cxn ang="0">
                        <a:pos x="733" y="28"/>
                      </a:cxn>
                      <a:cxn ang="0">
                        <a:pos x="614" y="145"/>
                      </a:cxn>
                      <a:cxn ang="0">
                        <a:pos x="91" y="121"/>
                      </a:cxn>
                      <a:cxn ang="0">
                        <a:pos x="11" y="28"/>
                      </a:cxn>
                      <a:cxn ang="0">
                        <a:pos x="3" y="0"/>
                      </a:cxn>
                      <a:cxn ang="0">
                        <a:pos x="3" y="56"/>
                      </a:cxn>
                      <a:cxn ang="0">
                        <a:pos x="3" y="103"/>
                      </a:cxn>
                      <a:cxn ang="0">
                        <a:pos x="91" y="224"/>
                      </a:cxn>
                      <a:cxn ang="0">
                        <a:pos x="614" y="248"/>
                      </a:cxn>
                      <a:cxn ang="0">
                        <a:pos x="741" y="103"/>
                      </a:cxn>
                      <a:cxn ang="0">
                        <a:pos x="741" y="56"/>
                      </a:cxn>
                    </a:cxnLst>
                    <a:rect l="0" t="0" r="r" b="b"/>
                    <a:pathLst>
                      <a:path w="744" h="328">
                        <a:moveTo>
                          <a:pt x="741" y="56"/>
                        </a:moveTo>
                        <a:cubicBezTo>
                          <a:pt x="741" y="0"/>
                          <a:pt x="741" y="0"/>
                          <a:pt x="741" y="0"/>
                        </a:cubicBezTo>
                        <a:cubicBezTo>
                          <a:pt x="739" y="9"/>
                          <a:pt x="737" y="18"/>
                          <a:pt x="733" y="28"/>
                        </a:cubicBezTo>
                        <a:cubicBezTo>
                          <a:pt x="716" y="72"/>
                          <a:pt x="676" y="113"/>
                          <a:pt x="614" y="145"/>
                        </a:cubicBezTo>
                        <a:cubicBezTo>
                          <a:pt x="459" y="225"/>
                          <a:pt x="225" y="214"/>
                          <a:pt x="91" y="121"/>
                        </a:cubicBezTo>
                        <a:cubicBezTo>
                          <a:pt x="51" y="93"/>
                          <a:pt x="24" y="61"/>
                          <a:pt x="11" y="28"/>
                        </a:cubicBezTo>
                        <a:cubicBezTo>
                          <a:pt x="7" y="19"/>
                          <a:pt x="5" y="9"/>
                          <a:pt x="3" y="0"/>
                        </a:cubicBezTo>
                        <a:cubicBezTo>
                          <a:pt x="3" y="56"/>
                          <a:pt x="3" y="56"/>
                          <a:pt x="3" y="56"/>
                        </a:cubicBezTo>
                        <a:cubicBezTo>
                          <a:pt x="0" y="72"/>
                          <a:pt x="0" y="87"/>
                          <a:pt x="3" y="103"/>
                        </a:cubicBezTo>
                        <a:cubicBezTo>
                          <a:pt x="11" y="146"/>
                          <a:pt x="40" y="189"/>
                          <a:pt x="91" y="224"/>
                        </a:cubicBezTo>
                        <a:cubicBezTo>
                          <a:pt x="225" y="317"/>
                          <a:pt x="459" y="328"/>
                          <a:pt x="614" y="248"/>
                        </a:cubicBezTo>
                        <a:cubicBezTo>
                          <a:pt x="689" y="209"/>
                          <a:pt x="731" y="157"/>
                          <a:pt x="741" y="103"/>
                        </a:cubicBezTo>
                        <a:cubicBezTo>
                          <a:pt x="744" y="87"/>
                          <a:pt x="744" y="71"/>
                          <a:pt x="741" y="56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CC6600"/>
                      </a:gs>
                    </a:gsLst>
                    <a:lin ang="162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57" name="Freeform 11">
                    <a:extLst>
                      <a:ext uri="{FF2B5EF4-FFF2-40B4-BE49-F238E27FC236}">
                        <a16:creationId xmlns:a16="http://schemas.microsoft.com/office/drawing/2014/main" id="{F17503B8-6AEB-40CB-9383-9B224AFE3EFE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913438" y="1236663"/>
                    <a:ext cx="2665413" cy="893763"/>
                  </a:xfrm>
                  <a:custGeom>
                    <a:avLst/>
                    <a:gdLst/>
                    <a:ahLst/>
                    <a:cxnLst>
                      <a:cxn ang="0">
                        <a:pos x="569" y="197"/>
                      </a:cxn>
                      <a:cxn ang="0">
                        <a:pos x="541" y="130"/>
                      </a:cxn>
                      <a:cxn ang="0">
                        <a:pos x="486" y="224"/>
                      </a:cxn>
                      <a:cxn ang="0">
                        <a:pos x="517" y="138"/>
                      </a:cxn>
                      <a:cxn ang="0">
                        <a:pos x="486" y="224"/>
                      </a:cxn>
                      <a:cxn ang="0">
                        <a:pos x="592" y="187"/>
                      </a:cxn>
                      <a:cxn ang="0">
                        <a:pos x="618" y="173"/>
                      </a:cxn>
                      <a:cxn ang="0">
                        <a:pos x="597" y="106"/>
                      </a:cxn>
                      <a:cxn ang="0">
                        <a:pos x="367" y="238"/>
                      </a:cxn>
                      <a:cxn ang="0">
                        <a:pos x="402" y="158"/>
                      </a:cxn>
                      <a:cxn ang="0">
                        <a:pos x="367" y="238"/>
                      </a:cxn>
                      <a:cxn ang="0">
                        <a:pos x="461" y="229"/>
                      </a:cxn>
                      <a:cxn ang="0">
                        <a:pos x="428" y="155"/>
                      </a:cxn>
                      <a:cxn ang="0">
                        <a:pos x="690" y="33"/>
                      </a:cxn>
                      <a:cxn ang="0">
                        <a:pos x="711" y="78"/>
                      </a:cxn>
                      <a:cxn ang="0">
                        <a:pos x="690" y="33"/>
                      </a:cxn>
                      <a:cxn ang="0">
                        <a:pos x="668" y="135"/>
                      </a:cxn>
                      <a:cxn ang="0">
                        <a:pos x="645" y="76"/>
                      </a:cxn>
                      <a:cxn ang="0">
                        <a:pos x="310" y="236"/>
                      </a:cxn>
                      <a:cxn ang="0">
                        <a:pos x="345" y="160"/>
                      </a:cxn>
                      <a:cxn ang="0">
                        <a:pos x="310" y="236"/>
                      </a:cxn>
                      <a:cxn ang="0">
                        <a:pos x="170" y="209"/>
                      </a:cxn>
                      <a:cxn ang="0">
                        <a:pos x="142" y="120"/>
                      </a:cxn>
                      <a:cxn ang="0">
                        <a:pos x="0" y="81"/>
                      </a:cxn>
                      <a:cxn ang="0">
                        <a:pos x="21" y="35"/>
                      </a:cxn>
                      <a:cxn ang="0">
                        <a:pos x="0" y="81"/>
                      </a:cxn>
                      <a:cxn ang="0">
                        <a:pos x="67" y="156"/>
                      </a:cxn>
                      <a:cxn ang="0">
                        <a:pos x="43" y="58"/>
                      </a:cxn>
                      <a:cxn ang="0">
                        <a:pos x="251" y="229"/>
                      </a:cxn>
                      <a:cxn ang="0">
                        <a:pos x="284" y="156"/>
                      </a:cxn>
                      <a:cxn ang="0">
                        <a:pos x="251" y="229"/>
                      </a:cxn>
                      <a:cxn ang="0">
                        <a:pos x="120" y="188"/>
                      </a:cxn>
                      <a:cxn ang="0">
                        <a:pos x="94" y="95"/>
                      </a:cxn>
                      <a:cxn ang="0">
                        <a:pos x="195" y="216"/>
                      </a:cxn>
                      <a:cxn ang="0">
                        <a:pos x="225" y="146"/>
                      </a:cxn>
                      <a:cxn ang="0">
                        <a:pos x="195" y="216"/>
                      </a:cxn>
                    </a:cxnLst>
                    <a:rect l="0" t="0" r="r" b="b"/>
                    <a:pathLst>
                      <a:path w="711" h="238">
                        <a:moveTo>
                          <a:pt x="541" y="208"/>
                        </a:moveTo>
                        <a:cubicBezTo>
                          <a:pt x="551" y="205"/>
                          <a:pt x="560" y="201"/>
                          <a:pt x="569" y="197"/>
                        </a:cubicBezTo>
                        <a:cubicBezTo>
                          <a:pt x="569" y="119"/>
                          <a:pt x="569" y="119"/>
                          <a:pt x="569" y="119"/>
                        </a:cubicBezTo>
                        <a:cubicBezTo>
                          <a:pt x="560" y="123"/>
                          <a:pt x="551" y="126"/>
                          <a:pt x="541" y="130"/>
                        </a:cubicBezTo>
                        <a:lnTo>
                          <a:pt x="541" y="208"/>
                        </a:lnTo>
                        <a:close/>
                        <a:moveTo>
                          <a:pt x="486" y="224"/>
                        </a:moveTo>
                        <a:cubicBezTo>
                          <a:pt x="497" y="221"/>
                          <a:pt x="507" y="219"/>
                          <a:pt x="517" y="216"/>
                        </a:cubicBezTo>
                        <a:cubicBezTo>
                          <a:pt x="517" y="138"/>
                          <a:pt x="517" y="138"/>
                          <a:pt x="517" y="138"/>
                        </a:cubicBezTo>
                        <a:cubicBezTo>
                          <a:pt x="507" y="140"/>
                          <a:pt x="497" y="143"/>
                          <a:pt x="486" y="145"/>
                        </a:cubicBezTo>
                        <a:lnTo>
                          <a:pt x="486" y="224"/>
                        </a:lnTo>
                        <a:close/>
                        <a:moveTo>
                          <a:pt x="592" y="109"/>
                        </a:moveTo>
                        <a:cubicBezTo>
                          <a:pt x="592" y="187"/>
                          <a:pt x="592" y="187"/>
                          <a:pt x="592" y="187"/>
                        </a:cubicBezTo>
                        <a:cubicBezTo>
                          <a:pt x="594" y="186"/>
                          <a:pt x="595" y="185"/>
                          <a:pt x="597" y="184"/>
                        </a:cubicBezTo>
                        <a:cubicBezTo>
                          <a:pt x="604" y="180"/>
                          <a:pt x="611" y="177"/>
                          <a:pt x="618" y="173"/>
                        </a:cubicBezTo>
                        <a:cubicBezTo>
                          <a:pt x="618" y="94"/>
                          <a:pt x="618" y="94"/>
                          <a:pt x="618" y="94"/>
                        </a:cubicBezTo>
                        <a:cubicBezTo>
                          <a:pt x="611" y="98"/>
                          <a:pt x="604" y="102"/>
                          <a:pt x="597" y="106"/>
                        </a:cubicBezTo>
                        <a:cubicBezTo>
                          <a:pt x="595" y="107"/>
                          <a:pt x="594" y="108"/>
                          <a:pt x="592" y="109"/>
                        </a:cubicBezTo>
                        <a:close/>
                        <a:moveTo>
                          <a:pt x="367" y="238"/>
                        </a:moveTo>
                        <a:cubicBezTo>
                          <a:pt x="378" y="238"/>
                          <a:pt x="390" y="237"/>
                          <a:pt x="402" y="236"/>
                        </a:cubicBezTo>
                        <a:cubicBezTo>
                          <a:pt x="402" y="158"/>
                          <a:pt x="402" y="158"/>
                          <a:pt x="402" y="158"/>
                        </a:cubicBezTo>
                        <a:cubicBezTo>
                          <a:pt x="390" y="159"/>
                          <a:pt x="378" y="159"/>
                          <a:pt x="367" y="160"/>
                        </a:cubicBezTo>
                        <a:lnTo>
                          <a:pt x="367" y="238"/>
                        </a:lnTo>
                        <a:close/>
                        <a:moveTo>
                          <a:pt x="428" y="234"/>
                        </a:moveTo>
                        <a:cubicBezTo>
                          <a:pt x="439" y="232"/>
                          <a:pt x="450" y="231"/>
                          <a:pt x="461" y="229"/>
                        </a:cubicBezTo>
                        <a:cubicBezTo>
                          <a:pt x="461" y="151"/>
                          <a:pt x="461" y="151"/>
                          <a:pt x="461" y="151"/>
                        </a:cubicBezTo>
                        <a:cubicBezTo>
                          <a:pt x="450" y="153"/>
                          <a:pt x="439" y="154"/>
                          <a:pt x="428" y="155"/>
                        </a:cubicBezTo>
                        <a:lnTo>
                          <a:pt x="428" y="234"/>
                        </a:lnTo>
                        <a:close/>
                        <a:moveTo>
                          <a:pt x="690" y="33"/>
                        </a:moveTo>
                        <a:cubicBezTo>
                          <a:pt x="690" y="111"/>
                          <a:pt x="690" y="111"/>
                          <a:pt x="690" y="111"/>
                        </a:cubicBezTo>
                        <a:cubicBezTo>
                          <a:pt x="699" y="101"/>
                          <a:pt x="706" y="89"/>
                          <a:pt x="711" y="78"/>
                        </a:cubicBezTo>
                        <a:cubicBezTo>
                          <a:pt x="711" y="0"/>
                          <a:pt x="711" y="0"/>
                          <a:pt x="711" y="0"/>
                        </a:cubicBezTo>
                        <a:cubicBezTo>
                          <a:pt x="706" y="11"/>
                          <a:pt x="699" y="22"/>
                          <a:pt x="690" y="33"/>
                        </a:cubicBezTo>
                        <a:close/>
                        <a:moveTo>
                          <a:pt x="645" y="155"/>
                        </a:moveTo>
                        <a:cubicBezTo>
                          <a:pt x="653" y="148"/>
                          <a:pt x="661" y="142"/>
                          <a:pt x="668" y="135"/>
                        </a:cubicBezTo>
                        <a:cubicBezTo>
                          <a:pt x="668" y="57"/>
                          <a:pt x="668" y="57"/>
                          <a:pt x="668" y="57"/>
                        </a:cubicBezTo>
                        <a:cubicBezTo>
                          <a:pt x="661" y="63"/>
                          <a:pt x="653" y="70"/>
                          <a:pt x="645" y="76"/>
                        </a:cubicBezTo>
                        <a:lnTo>
                          <a:pt x="645" y="155"/>
                        </a:lnTo>
                        <a:close/>
                        <a:moveTo>
                          <a:pt x="310" y="236"/>
                        </a:moveTo>
                        <a:cubicBezTo>
                          <a:pt x="321" y="237"/>
                          <a:pt x="333" y="238"/>
                          <a:pt x="345" y="238"/>
                        </a:cubicBezTo>
                        <a:cubicBezTo>
                          <a:pt x="345" y="160"/>
                          <a:pt x="345" y="160"/>
                          <a:pt x="345" y="160"/>
                        </a:cubicBezTo>
                        <a:cubicBezTo>
                          <a:pt x="333" y="159"/>
                          <a:pt x="321" y="159"/>
                          <a:pt x="310" y="158"/>
                        </a:cubicBezTo>
                        <a:lnTo>
                          <a:pt x="310" y="236"/>
                        </a:lnTo>
                        <a:close/>
                        <a:moveTo>
                          <a:pt x="142" y="198"/>
                        </a:moveTo>
                        <a:cubicBezTo>
                          <a:pt x="151" y="202"/>
                          <a:pt x="161" y="205"/>
                          <a:pt x="170" y="209"/>
                        </a:cubicBezTo>
                        <a:cubicBezTo>
                          <a:pt x="170" y="130"/>
                          <a:pt x="170" y="130"/>
                          <a:pt x="170" y="130"/>
                        </a:cubicBezTo>
                        <a:cubicBezTo>
                          <a:pt x="161" y="127"/>
                          <a:pt x="151" y="123"/>
                          <a:pt x="142" y="120"/>
                        </a:cubicBezTo>
                        <a:lnTo>
                          <a:pt x="142" y="198"/>
                        </a:lnTo>
                        <a:close/>
                        <a:moveTo>
                          <a:pt x="0" y="81"/>
                        </a:moveTo>
                        <a:cubicBezTo>
                          <a:pt x="6" y="92"/>
                          <a:pt x="13" y="103"/>
                          <a:pt x="21" y="113"/>
                        </a:cubicBezTo>
                        <a:cubicBezTo>
                          <a:pt x="21" y="35"/>
                          <a:pt x="21" y="35"/>
                          <a:pt x="21" y="35"/>
                        </a:cubicBezTo>
                        <a:cubicBezTo>
                          <a:pt x="13" y="25"/>
                          <a:pt x="6" y="14"/>
                          <a:pt x="0" y="3"/>
                        </a:cubicBezTo>
                        <a:lnTo>
                          <a:pt x="0" y="81"/>
                        </a:lnTo>
                        <a:close/>
                        <a:moveTo>
                          <a:pt x="43" y="136"/>
                        </a:moveTo>
                        <a:cubicBezTo>
                          <a:pt x="50" y="143"/>
                          <a:pt x="58" y="149"/>
                          <a:pt x="67" y="156"/>
                        </a:cubicBezTo>
                        <a:cubicBezTo>
                          <a:pt x="67" y="77"/>
                          <a:pt x="67" y="77"/>
                          <a:pt x="67" y="77"/>
                        </a:cubicBezTo>
                        <a:cubicBezTo>
                          <a:pt x="58" y="71"/>
                          <a:pt x="50" y="65"/>
                          <a:pt x="43" y="58"/>
                        </a:cubicBezTo>
                        <a:lnTo>
                          <a:pt x="43" y="136"/>
                        </a:lnTo>
                        <a:close/>
                        <a:moveTo>
                          <a:pt x="251" y="229"/>
                        </a:moveTo>
                        <a:cubicBezTo>
                          <a:pt x="262" y="231"/>
                          <a:pt x="273" y="233"/>
                          <a:pt x="284" y="234"/>
                        </a:cubicBezTo>
                        <a:cubicBezTo>
                          <a:pt x="284" y="156"/>
                          <a:pt x="284" y="156"/>
                          <a:pt x="284" y="156"/>
                        </a:cubicBezTo>
                        <a:cubicBezTo>
                          <a:pt x="273" y="154"/>
                          <a:pt x="262" y="153"/>
                          <a:pt x="251" y="151"/>
                        </a:cubicBezTo>
                        <a:lnTo>
                          <a:pt x="251" y="229"/>
                        </a:lnTo>
                        <a:close/>
                        <a:moveTo>
                          <a:pt x="94" y="174"/>
                        </a:moveTo>
                        <a:cubicBezTo>
                          <a:pt x="102" y="179"/>
                          <a:pt x="111" y="183"/>
                          <a:pt x="120" y="188"/>
                        </a:cubicBezTo>
                        <a:cubicBezTo>
                          <a:pt x="120" y="109"/>
                          <a:pt x="120" y="109"/>
                          <a:pt x="120" y="109"/>
                        </a:cubicBezTo>
                        <a:cubicBezTo>
                          <a:pt x="111" y="105"/>
                          <a:pt x="102" y="100"/>
                          <a:pt x="94" y="95"/>
                        </a:cubicBezTo>
                        <a:lnTo>
                          <a:pt x="94" y="174"/>
                        </a:lnTo>
                        <a:close/>
                        <a:moveTo>
                          <a:pt x="195" y="216"/>
                        </a:moveTo>
                        <a:cubicBezTo>
                          <a:pt x="205" y="219"/>
                          <a:pt x="215" y="222"/>
                          <a:pt x="225" y="224"/>
                        </a:cubicBezTo>
                        <a:cubicBezTo>
                          <a:pt x="225" y="146"/>
                          <a:pt x="225" y="146"/>
                          <a:pt x="225" y="146"/>
                        </a:cubicBezTo>
                        <a:cubicBezTo>
                          <a:pt x="215" y="143"/>
                          <a:pt x="205" y="141"/>
                          <a:pt x="195" y="138"/>
                        </a:cubicBezTo>
                        <a:lnTo>
                          <a:pt x="195" y="216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54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</p:grpSp>
          </p:grpSp>
          <p:grpSp>
            <p:nvGrpSpPr>
              <p:cNvPr id="35" name="Gruppieren 88">
                <a:extLst>
                  <a:ext uri="{FF2B5EF4-FFF2-40B4-BE49-F238E27FC236}">
                    <a16:creationId xmlns:a16="http://schemas.microsoft.com/office/drawing/2014/main" id="{4B58D66D-1E4F-45A4-BFD2-56DA3593724E}"/>
                  </a:ext>
                </a:extLst>
              </p:cNvPr>
              <p:cNvGrpSpPr/>
              <p:nvPr/>
            </p:nvGrpSpPr>
            <p:grpSpPr>
              <a:xfrm>
                <a:off x="2694424" y="2489659"/>
                <a:ext cx="781440" cy="559766"/>
                <a:chOff x="5688013" y="58738"/>
                <a:chExt cx="3111500" cy="2228851"/>
              </a:xfrm>
            </p:grpSpPr>
            <p:sp>
              <p:nvSpPr>
                <p:cNvPr id="44" name="Freeform 6">
                  <a:extLst>
                    <a:ext uri="{FF2B5EF4-FFF2-40B4-BE49-F238E27FC236}">
                      <a16:creationId xmlns:a16="http://schemas.microsoft.com/office/drawing/2014/main" id="{ED257767-DC93-4032-92D7-0E7EACE6B8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88013" y="58738"/>
                  <a:ext cx="3111500" cy="1865313"/>
                </a:xfrm>
                <a:custGeom>
                  <a:avLst/>
                  <a:gdLst/>
                  <a:ahLst/>
                  <a:cxnLst>
                    <a:cxn ang="0">
                      <a:pos x="134" y="393"/>
                    </a:cxn>
                    <a:cxn ang="0">
                      <a:pos x="173" y="80"/>
                    </a:cxn>
                    <a:cxn ang="0">
                      <a:pos x="696" y="104"/>
                    </a:cxn>
                    <a:cxn ang="0">
                      <a:pos x="657" y="417"/>
                    </a:cxn>
                    <a:cxn ang="0">
                      <a:pos x="134" y="393"/>
                    </a:cxn>
                  </a:cxnLst>
                  <a:rect l="0" t="0" r="r" b="b"/>
                  <a:pathLst>
                    <a:path w="830" h="497">
                      <a:moveTo>
                        <a:pt x="134" y="393"/>
                      </a:moveTo>
                      <a:cubicBezTo>
                        <a:pt x="0" y="300"/>
                        <a:pt x="18" y="160"/>
                        <a:pt x="173" y="80"/>
                      </a:cubicBezTo>
                      <a:cubicBezTo>
                        <a:pt x="328" y="0"/>
                        <a:pt x="563" y="11"/>
                        <a:pt x="696" y="104"/>
                      </a:cubicBezTo>
                      <a:cubicBezTo>
                        <a:pt x="830" y="197"/>
                        <a:pt x="812" y="337"/>
                        <a:pt x="657" y="417"/>
                      </a:cubicBezTo>
                      <a:cubicBezTo>
                        <a:pt x="502" y="497"/>
                        <a:pt x="268" y="486"/>
                        <a:pt x="134" y="39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0810E"/>
                    </a:gs>
                    <a:gs pos="100000">
                      <a:srgbClr val="FFC000"/>
                    </a:gs>
                  </a:gsLst>
                  <a:lin ang="0" scaled="1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1615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GB" sz="1575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endParaRPr>
                </a:p>
              </p:txBody>
            </p:sp>
            <p:grpSp>
              <p:nvGrpSpPr>
                <p:cNvPr id="45" name="Gruppieren 62">
                  <a:extLst>
                    <a:ext uri="{FF2B5EF4-FFF2-40B4-BE49-F238E27FC236}">
                      <a16:creationId xmlns:a16="http://schemas.microsoft.com/office/drawing/2014/main" id="{08A551A2-BF52-44B9-BF96-36BB85DB87FF}"/>
                    </a:ext>
                  </a:extLst>
                </p:cNvPr>
                <p:cNvGrpSpPr/>
                <p:nvPr/>
              </p:nvGrpSpPr>
              <p:grpSpPr>
                <a:xfrm>
                  <a:off x="5849938" y="157163"/>
                  <a:ext cx="2789238" cy="2130426"/>
                  <a:chOff x="5849938" y="157163"/>
                  <a:chExt cx="2789238" cy="2130426"/>
                </a:xfrm>
              </p:grpSpPr>
              <p:sp>
                <p:nvSpPr>
                  <p:cNvPr id="46" name="Freeform 7">
                    <a:extLst>
                      <a:ext uri="{FF2B5EF4-FFF2-40B4-BE49-F238E27FC236}">
                        <a16:creationId xmlns:a16="http://schemas.microsoft.com/office/drawing/2014/main" id="{6EA9BE46-6CB3-4338-B80C-FE072FCEC89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56288" y="157163"/>
                    <a:ext cx="2774950" cy="1662113"/>
                  </a:xfrm>
                  <a:custGeom>
                    <a:avLst/>
                    <a:gdLst/>
                    <a:ahLst/>
                    <a:cxnLst>
                      <a:cxn ang="0">
                        <a:pos x="154" y="72"/>
                      </a:cxn>
                      <a:cxn ang="0">
                        <a:pos x="621" y="92"/>
                      </a:cxn>
                      <a:cxn ang="0">
                        <a:pos x="586" y="372"/>
                      </a:cxn>
                      <a:cxn ang="0">
                        <a:pos x="119" y="351"/>
                      </a:cxn>
                      <a:cxn ang="0">
                        <a:pos x="154" y="72"/>
                      </a:cxn>
                    </a:cxnLst>
                    <a:rect l="0" t="0" r="r" b="b"/>
                    <a:pathLst>
                      <a:path w="740" h="443">
                        <a:moveTo>
                          <a:pt x="154" y="72"/>
                        </a:moveTo>
                        <a:cubicBezTo>
                          <a:pt x="293" y="0"/>
                          <a:pt x="501" y="10"/>
                          <a:pt x="621" y="92"/>
                        </a:cubicBezTo>
                        <a:cubicBezTo>
                          <a:pt x="740" y="175"/>
                          <a:pt x="724" y="300"/>
                          <a:pt x="586" y="372"/>
                        </a:cubicBezTo>
                        <a:cubicBezTo>
                          <a:pt x="447" y="443"/>
                          <a:pt x="239" y="433"/>
                          <a:pt x="119" y="351"/>
                        </a:cubicBezTo>
                        <a:cubicBezTo>
                          <a:pt x="0" y="268"/>
                          <a:pt x="16" y="143"/>
                          <a:pt x="154" y="72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135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47" name="Freeform 8">
                    <a:extLst>
                      <a:ext uri="{FF2B5EF4-FFF2-40B4-BE49-F238E27FC236}">
                        <a16:creationId xmlns:a16="http://schemas.microsoft.com/office/drawing/2014/main" id="{2220FD7E-D073-45B5-A4DD-2D5B2A657E0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908676" y="187326"/>
                    <a:ext cx="2670175" cy="1601788"/>
                  </a:xfrm>
                  <a:custGeom>
                    <a:avLst/>
                    <a:gdLst/>
                    <a:ahLst/>
                    <a:cxnLst>
                      <a:cxn ang="0">
                        <a:pos x="148" y="69"/>
                      </a:cxn>
                      <a:cxn ang="0">
                        <a:pos x="597" y="89"/>
                      </a:cxn>
                      <a:cxn ang="0">
                        <a:pos x="564" y="358"/>
                      </a:cxn>
                      <a:cxn ang="0">
                        <a:pos x="115" y="338"/>
                      </a:cxn>
                      <a:cxn ang="0">
                        <a:pos x="148" y="69"/>
                      </a:cxn>
                    </a:cxnLst>
                    <a:rect l="0" t="0" r="r" b="b"/>
                    <a:pathLst>
                      <a:path w="712" h="427">
                        <a:moveTo>
                          <a:pt x="148" y="69"/>
                        </a:moveTo>
                        <a:cubicBezTo>
                          <a:pt x="282" y="0"/>
                          <a:pt x="483" y="9"/>
                          <a:pt x="597" y="89"/>
                        </a:cubicBezTo>
                        <a:cubicBezTo>
                          <a:pt x="712" y="169"/>
                          <a:pt x="697" y="289"/>
                          <a:pt x="564" y="358"/>
                        </a:cubicBezTo>
                        <a:cubicBezTo>
                          <a:pt x="431" y="427"/>
                          <a:pt x="229" y="418"/>
                          <a:pt x="115" y="338"/>
                        </a:cubicBezTo>
                        <a:cubicBezTo>
                          <a:pt x="0" y="258"/>
                          <a:pt x="15" y="138"/>
                          <a:pt x="148" y="69"/>
                        </a:cubicBezTo>
                        <a:close/>
                      </a:path>
                    </a:pathLst>
                  </a:custGeom>
                  <a:solidFill>
                    <a:srgbClr val="FDD284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48" name="Freeform 9">
                    <a:extLst>
                      <a:ext uri="{FF2B5EF4-FFF2-40B4-BE49-F238E27FC236}">
                        <a16:creationId xmlns:a16="http://schemas.microsoft.com/office/drawing/2014/main" id="{8E96668F-73D1-40AD-8FCD-DC44A0F8BFA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648451" y="588963"/>
                    <a:ext cx="1187450" cy="801688"/>
                  </a:xfrm>
                  <a:custGeom>
                    <a:avLst/>
                    <a:gdLst/>
                    <a:ahLst/>
                    <a:cxnLst>
                      <a:cxn ang="0">
                        <a:pos x="268" y="211"/>
                      </a:cxn>
                      <a:cxn ang="0">
                        <a:pos x="238" y="190"/>
                      </a:cxn>
                      <a:cxn ang="0">
                        <a:pos x="157" y="214"/>
                      </a:cxn>
                      <a:cxn ang="0">
                        <a:pos x="124" y="177"/>
                      </a:cxn>
                      <a:cxn ang="0">
                        <a:pos x="205" y="153"/>
                      </a:cxn>
                      <a:cxn ang="0">
                        <a:pos x="223" y="125"/>
                      </a:cxn>
                      <a:cxn ang="0">
                        <a:pos x="160" y="129"/>
                      </a:cxn>
                      <a:cxn ang="0">
                        <a:pos x="29" y="123"/>
                      </a:cxn>
                      <a:cxn ang="0">
                        <a:pos x="35" y="46"/>
                      </a:cxn>
                      <a:cxn ang="0">
                        <a:pos x="5" y="25"/>
                      </a:cxn>
                      <a:cxn ang="0">
                        <a:pos x="48" y="3"/>
                      </a:cxn>
                      <a:cxn ang="0">
                        <a:pos x="76" y="23"/>
                      </a:cxn>
                      <a:cxn ang="0">
                        <a:pos x="143" y="0"/>
                      </a:cxn>
                      <a:cxn ang="0">
                        <a:pos x="174" y="37"/>
                      </a:cxn>
                      <a:cxn ang="0">
                        <a:pos x="106" y="58"/>
                      </a:cxn>
                      <a:cxn ang="0">
                        <a:pos x="91" y="83"/>
                      </a:cxn>
                      <a:cxn ang="0">
                        <a:pos x="160" y="77"/>
                      </a:cxn>
                      <a:cxn ang="0">
                        <a:pos x="286" y="86"/>
                      </a:cxn>
                      <a:cxn ang="0">
                        <a:pos x="278" y="165"/>
                      </a:cxn>
                      <a:cxn ang="0">
                        <a:pos x="311" y="188"/>
                      </a:cxn>
                      <a:cxn ang="0">
                        <a:pos x="268" y="211"/>
                      </a:cxn>
                    </a:cxnLst>
                    <a:rect l="0" t="0" r="r" b="b"/>
                    <a:pathLst>
                      <a:path w="317" h="214">
                        <a:moveTo>
                          <a:pt x="268" y="211"/>
                        </a:moveTo>
                        <a:cubicBezTo>
                          <a:pt x="238" y="190"/>
                          <a:pt x="238" y="190"/>
                          <a:pt x="238" y="190"/>
                        </a:cubicBezTo>
                        <a:cubicBezTo>
                          <a:pt x="210" y="202"/>
                          <a:pt x="178" y="211"/>
                          <a:pt x="157" y="214"/>
                        </a:cubicBezTo>
                        <a:cubicBezTo>
                          <a:pt x="124" y="177"/>
                          <a:pt x="124" y="177"/>
                          <a:pt x="124" y="177"/>
                        </a:cubicBezTo>
                        <a:cubicBezTo>
                          <a:pt x="149" y="173"/>
                          <a:pt x="179" y="166"/>
                          <a:pt x="205" y="153"/>
                        </a:cubicBezTo>
                        <a:cubicBezTo>
                          <a:pt x="224" y="143"/>
                          <a:pt x="233" y="132"/>
                          <a:pt x="223" y="125"/>
                        </a:cubicBezTo>
                        <a:cubicBezTo>
                          <a:pt x="213" y="118"/>
                          <a:pt x="196" y="120"/>
                          <a:pt x="160" y="129"/>
                        </a:cubicBezTo>
                        <a:cubicBezTo>
                          <a:pt x="108" y="142"/>
                          <a:pt x="62" y="146"/>
                          <a:pt x="29" y="123"/>
                        </a:cubicBezTo>
                        <a:cubicBezTo>
                          <a:pt x="0" y="102"/>
                          <a:pt x="0" y="74"/>
                          <a:pt x="35" y="46"/>
                        </a:cubicBezTo>
                        <a:cubicBezTo>
                          <a:pt x="5" y="25"/>
                          <a:pt x="5" y="25"/>
                          <a:pt x="5" y="25"/>
                        </a:cubicBezTo>
                        <a:cubicBezTo>
                          <a:pt x="48" y="3"/>
                          <a:pt x="48" y="3"/>
                          <a:pt x="48" y="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102" y="10"/>
                          <a:pt x="125" y="4"/>
                          <a:pt x="143" y="0"/>
                        </a:cubicBezTo>
                        <a:cubicBezTo>
                          <a:pt x="174" y="37"/>
                          <a:pt x="174" y="37"/>
                          <a:pt x="174" y="37"/>
                        </a:cubicBezTo>
                        <a:cubicBezTo>
                          <a:pt x="161" y="39"/>
                          <a:pt x="135" y="44"/>
                          <a:pt x="106" y="58"/>
                        </a:cubicBezTo>
                        <a:cubicBezTo>
                          <a:pt x="84" y="70"/>
                          <a:pt x="84" y="78"/>
                          <a:pt x="91" y="83"/>
                        </a:cubicBezTo>
                        <a:cubicBezTo>
                          <a:pt x="99" y="89"/>
                          <a:pt x="118" y="86"/>
                          <a:pt x="160" y="77"/>
                        </a:cubicBezTo>
                        <a:cubicBezTo>
                          <a:pt x="221" y="61"/>
                          <a:pt x="257" y="65"/>
                          <a:pt x="286" y="86"/>
                        </a:cubicBezTo>
                        <a:cubicBezTo>
                          <a:pt x="317" y="107"/>
                          <a:pt x="316" y="137"/>
                          <a:pt x="278" y="165"/>
                        </a:cubicBezTo>
                        <a:cubicBezTo>
                          <a:pt x="311" y="188"/>
                          <a:pt x="311" y="188"/>
                          <a:pt x="311" y="188"/>
                        </a:cubicBezTo>
                        <a:lnTo>
                          <a:pt x="268" y="211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189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49" name="Freeform 10">
                    <a:extLst>
                      <a:ext uri="{FF2B5EF4-FFF2-40B4-BE49-F238E27FC236}">
                        <a16:creationId xmlns:a16="http://schemas.microsoft.com/office/drawing/2014/main" id="{424F49B4-B0AA-420A-95FD-1112E9BF502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49938" y="1057276"/>
                    <a:ext cx="2789238" cy="1230313"/>
                  </a:xfrm>
                  <a:custGeom>
                    <a:avLst/>
                    <a:gdLst/>
                    <a:ahLst/>
                    <a:cxnLst>
                      <a:cxn ang="0">
                        <a:pos x="741" y="56"/>
                      </a:cxn>
                      <a:cxn ang="0">
                        <a:pos x="741" y="0"/>
                      </a:cxn>
                      <a:cxn ang="0">
                        <a:pos x="733" y="28"/>
                      </a:cxn>
                      <a:cxn ang="0">
                        <a:pos x="614" y="145"/>
                      </a:cxn>
                      <a:cxn ang="0">
                        <a:pos x="91" y="121"/>
                      </a:cxn>
                      <a:cxn ang="0">
                        <a:pos x="11" y="28"/>
                      </a:cxn>
                      <a:cxn ang="0">
                        <a:pos x="3" y="0"/>
                      </a:cxn>
                      <a:cxn ang="0">
                        <a:pos x="3" y="56"/>
                      </a:cxn>
                      <a:cxn ang="0">
                        <a:pos x="3" y="103"/>
                      </a:cxn>
                      <a:cxn ang="0">
                        <a:pos x="91" y="224"/>
                      </a:cxn>
                      <a:cxn ang="0">
                        <a:pos x="614" y="248"/>
                      </a:cxn>
                      <a:cxn ang="0">
                        <a:pos x="741" y="103"/>
                      </a:cxn>
                      <a:cxn ang="0">
                        <a:pos x="741" y="56"/>
                      </a:cxn>
                    </a:cxnLst>
                    <a:rect l="0" t="0" r="r" b="b"/>
                    <a:pathLst>
                      <a:path w="744" h="328">
                        <a:moveTo>
                          <a:pt x="741" y="56"/>
                        </a:moveTo>
                        <a:cubicBezTo>
                          <a:pt x="741" y="0"/>
                          <a:pt x="741" y="0"/>
                          <a:pt x="741" y="0"/>
                        </a:cubicBezTo>
                        <a:cubicBezTo>
                          <a:pt x="739" y="9"/>
                          <a:pt x="737" y="18"/>
                          <a:pt x="733" y="28"/>
                        </a:cubicBezTo>
                        <a:cubicBezTo>
                          <a:pt x="716" y="72"/>
                          <a:pt x="676" y="113"/>
                          <a:pt x="614" y="145"/>
                        </a:cubicBezTo>
                        <a:cubicBezTo>
                          <a:pt x="459" y="225"/>
                          <a:pt x="225" y="214"/>
                          <a:pt x="91" y="121"/>
                        </a:cubicBezTo>
                        <a:cubicBezTo>
                          <a:pt x="51" y="93"/>
                          <a:pt x="24" y="61"/>
                          <a:pt x="11" y="28"/>
                        </a:cubicBezTo>
                        <a:cubicBezTo>
                          <a:pt x="7" y="19"/>
                          <a:pt x="5" y="9"/>
                          <a:pt x="3" y="0"/>
                        </a:cubicBezTo>
                        <a:cubicBezTo>
                          <a:pt x="3" y="56"/>
                          <a:pt x="3" y="56"/>
                          <a:pt x="3" y="56"/>
                        </a:cubicBezTo>
                        <a:cubicBezTo>
                          <a:pt x="0" y="72"/>
                          <a:pt x="0" y="87"/>
                          <a:pt x="3" y="103"/>
                        </a:cubicBezTo>
                        <a:cubicBezTo>
                          <a:pt x="11" y="146"/>
                          <a:pt x="40" y="189"/>
                          <a:pt x="91" y="224"/>
                        </a:cubicBezTo>
                        <a:cubicBezTo>
                          <a:pt x="225" y="317"/>
                          <a:pt x="459" y="328"/>
                          <a:pt x="614" y="248"/>
                        </a:cubicBezTo>
                        <a:cubicBezTo>
                          <a:pt x="689" y="209"/>
                          <a:pt x="731" y="157"/>
                          <a:pt x="741" y="103"/>
                        </a:cubicBezTo>
                        <a:cubicBezTo>
                          <a:pt x="744" y="87"/>
                          <a:pt x="744" y="71"/>
                          <a:pt x="741" y="56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CC6600"/>
                      </a:gs>
                    </a:gsLst>
                    <a:lin ang="162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50" name="Freeform 11">
                    <a:extLst>
                      <a:ext uri="{FF2B5EF4-FFF2-40B4-BE49-F238E27FC236}">
                        <a16:creationId xmlns:a16="http://schemas.microsoft.com/office/drawing/2014/main" id="{5256869E-789A-4A42-BEE6-15CA058709A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913438" y="1236663"/>
                    <a:ext cx="2665413" cy="893763"/>
                  </a:xfrm>
                  <a:custGeom>
                    <a:avLst/>
                    <a:gdLst/>
                    <a:ahLst/>
                    <a:cxnLst>
                      <a:cxn ang="0">
                        <a:pos x="569" y="197"/>
                      </a:cxn>
                      <a:cxn ang="0">
                        <a:pos x="541" y="130"/>
                      </a:cxn>
                      <a:cxn ang="0">
                        <a:pos x="486" y="224"/>
                      </a:cxn>
                      <a:cxn ang="0">
                        <a:pos x="517" y="138"/>
                      </a:cxn>
                      <a:cxn ang="0">
                        <a:pos x="486" y="224"/>
                      </a:cxn>
                      <a:cxn ang="0">
                        <a:pos x="592" y="187"/>
                      </a:cxn>
                      <a:cxn ang="0">
                        <a:pos x="618" y="173"/>
                      </a:cxn>
                      <a:cxn ang="0">
                        <a:pos x="597" y="106"/>
                      </a:cxn>
                      <a:cxn ang="0">
                        <a:pos x="367" y="238"/>
                      </a:cxn>
                      <a:cxn ang="0">
                        <a:pos x="402" y="158"/>
                      </a:cxn>
                      <a:cxn ang="0">
                        <a:pos x="367" y="238"/>
                      </a:cxn>
                      <a:cxn ang="0">
                        <a:pos x="461" y="229"/>
                      </a:cxn>
                      <a:cxn ang="0">
                        <a:pos x="428" y="155"/>
                      </a:cxn>
                      <a:cxn ang="0">
                        <a:pos x="690" y="33"/>
                      </a:cxn>
                      <a:cxn ang="0">
                        <a:pos x="711" y="78"/>
                      </a:cxn>
                      <a:cxn ang="0">
                        <a:pos x="690" y="33"/>
                      </a:cxn>
                      <a:cxn ang="0">
                        <a:pos x="668" y="135"/>
                      </a:cxn>
                      <a:cxn ang="0">
                        <a:pos x="645" y="76"/>
                      </a:cxn>
                      <a:cxn ang="0">
                        <a:pos x="310" y="236"/>
                      </a:cxn>
                      <a:cxn ang="0">
                        <a:pos x="345" y="160"/>
                      </a:cxn>
                      <a:cxn ang="0">
                        <a:pos x="310" y="236"/>
                      </a:cxn>
                      <a:cxn ang="0">
                        <a:pos x="170" y="209"/>
                      </a:cxn>
                      <a:cxn ang="0">
                        <a:pos x="142" y="120"/>
                      </a:cxn>
                      <a:cxn ang="0">
                        <a:pos x="0" y="81"/>
                      </a:cxn>
                      <a:cxn ang="0">
                        <a:pos x="21" y="35"/>
                      </a:cxn>
                      <a:cxn ang="0">
                        <a:pos x="0" y="81"/>
                      </a:cxn>
                      <a:cxn ang="0">
                        <a:pos x="67" y="156"/>
                      </a:cxn>
                      <a:cxn ang="0">
                        <a:pos x="43" y="58"/>
                      </a:cxn>
                      <a:cxn ang="0">
                        <a:pos x="251" y="229"/>
                      </a:cxn>
                      <a:cxn ang="0">
                        <a:pos x="284" y="156"/>
                      </a:cxn>
                      <a:cxn ang="0">
                        <a:pos x="251" y="229"/>
                      </a:cxn>
                      <a:cxn ang="0">
                        <a:pos x="120" y="188"/>
                      </a:cxn>
                      <a:cxn ang="0">
                        <a:pos x="94" y="95"/>
                      </a:cxn>
                      <a:cxn ang="0">
                        <a:pos x="195" y="216"/>
                      </a:cxn>
                      <a:cxn ang="0">
                        <a:pos x="225" y="146"/>
                      </a:cxn>
                      <a:cxn ang="0">
                        <a:pos x="195" y="216"/>
                      </a:cxn>
                    </a:cxnLst>
                    <a:rect l="0" t="0" r="r" b="b"/>
                    <a:pathLst>
                      <a:path w="711" h="238">
                        <a:moveTo>
                          <a:pt x="541" y="208"/>
                        </a:moveTo>
                        <a:cubicBezTo>
                          <a:pt x="551" y="205"/>
                          <a:pt x="560" y="201"/>
                          <a:pt x="569" y="197"/>
                        </a:cubicBezTo>
                        <a:cubicBezTo>
                          <a:pt x="569" y="119"/>
                          <a:pt x="569" y="119"/>
                          <a:pt x="569" y="119"/>
                        </a:cubicBezTo>
                        <a:cubicBezTo>
                          <a:pt x="560" y="123"/>
                          <a:pt x="551" y="126"/>
                          <a:pt x="541" y="130"/>
                        </a:cubicBezTo>
                        <a:lnTo>
                          <a:pt x="541" y="208"/>
                        </a:lnTo>
                        <a:close/>
                        <a:moveTo>
                          <a:pt x="486" y="224"/>
                        </a:moveTo>
                        <a:cubicBezTo>
                          <a:pt x="497" y="221"/>
                          <a:pt x="507" y="219"/>
                          <a:pt x="517" y="216"/>
                        </a:cubicBezTo>
                        <a:cubicBezTo>
                          <a:pt x="517" y="138"/>
                          <a:pt x="517" y="138"/>
                          <a:pt x="517" y="138"/>
                        </a:cubicBezTo>
                        <a:cubicBezTo>
                          <a:pt x="507" y="140"/>
                          <a:pt x="497" y="143"/>
                          <a:pt x="486" y="145"/>
                        </a:cubicBezTo>
                        <a:lnTo>
                          <a:pt x="486" y="224"/>
                        </a:lnTo>
                        <a:close/>
                        <a:moveTo>
                          <a:pt x="592" y="109"/>
                        </a:moveTo>
                        <a:cubicBezTo>
                          <a:pt x="592" y="187"/>
                          <a:pt x="592" y="187"/>
                          <a:pt x="592" y="187"/>
                        </a:cubicBezTo>
                        <a:cubicBezTo>
                          <a:pt x="594" y="186"/>
                          <a:pt x="595" y="185"/>
                          <a:pt x="597" y="184"/>
                        </a:cubicBezTo>
                        <a:cubicBezTo>
                          <a:pt x="604" y="180"/>
                          <a:pt x="611" y="177"/>
                          <a:pt x="618" y="173"/>
                        </a:cubicBezTo>
                        <a:cubicBezTo>
                          <a:pt x="618" y="94"/>
                          <a:pt x="618" y="94"/>
                          <a:pt x="618" y="94"/>
                        </a:cubicBezTo>
                        <a:cubicBezTo>
                          <a:pt x="611" y="98"/>
                          <a:pt x="604" y="102"/>
                          <a:pt x="597" y="106"/>
                        </a:cubicBezTo>
                        <a:cubicBezTo>
                          <a:pt x="595" y="107"/>
                          <a:pt x="594" y="108"/>
                          <a:pt x="592" y="109"/>
                        </a:cubicBezTo>
                        <a:close/>
                        <a:moveTo>
                          <a:pt x="367" y="238"/>
                        </a:moveTo>
                        <a:cubicBezTo>
                          <a:pt x="378" y="238"/>
                          <a:pt x="390" y="237"/>
                          <a:pt x="402" y="236"/>
                        </a:cubicBezTo>
                        <a:cubicBezTo>
                          <a:pt x="402" y="158"/>
                          <a:pt x="402" y="158"/>
                          <a:pt x="402" y="158"/>
                        </a:cubicBezTo>
                        <a:cubicBezTo>
                          <a:pt x="390" y="159"/>
                          <a:pt x="378" y="159"/>
                          <a:pt x="367" y="160"/>
                        </a:cubicBezTo>
                        <a:lnTo>
                          <a:pt x="367" y="238"/>
                        </a:lnTo>
                        <a:close/>
                        <a:moveTo>
                          <a:pt x="428" y="234"/>
                        </a:moveTo>
                        <a:cubicBezTo>
                          <a:pt x="439" y="232"/>
                          <a:pt x="450" y="231"/>
                          <a:pt x="461" y="229"/>
                        </a:cubicBezTo>
                        <a:cubicBezTo>
                          <a:pt x="461" y="151"/>
                          <a:pt x="461" y="151"/>
                          <a:pt x="461" y="151"/>
                        </a:cubicBezTo>
                        <a:cubicBezTo>
                          <a:pt x="450" y="153"/>
                          <a:pt x="439" y="154"/>
                          <a:pt x="428" y="155"/>
                        </a:cubicBezTo>
                        <a:lnTo>
                          <a:pt x="428" y="234"/>
                        </a:lnTo>
                        <a:close/>
                        <a:moveTo>
                          <a:pt x="690" y="33"/>
                        </a:moveTo>
                        <a:cubicBezTo>
                          <a:pt x="690" y="111"/>
                          <a:pt x="690" y="111"/>
                          <a:pt x="690" y="111"/>
                        </a:cubicBezTo>
                        <a:cubicBezTo>
                          <a:pt x="699" y="101"/>
                          <a:pt x="706" y="89"/>
                          <a:pt x="711" y="78"/>
                        </a:cubicBezTo>
                        <a:cubicBezTo>
                          <a:pt x="711" y="0"/>
                          <a:pt x="711" y="0"/>
                          <a:pt x="711" y="0"/>
                        </a:cubicBezTo>
                        <a:cubicBezTo>
                          <a:pt x="706" y="11"/>
                          <a:pt x="699" y="22"/>
                          <a:pt x="690" y="33"/>
                        </a:cubicBezTo>
                        <a:close/>
                        <a:moveTo>
                          <a:pt x="645" y="155"/>
                        </a:moveTo>
                        <a:cubicBezTo>
                          <a:pt x="653" y="148"/>
                          <a:pt x="661" y="142"/>
                          <a:pt x="668" y="135"/>
                        </a:cubicBezTo>
                        <a:cubicBezTo>
                          <a:pt x="668" y="57"/>
                          <a:pt x="668" y="57"/>
                          <a:pt x="668" y="57"/>
                        </a:cubicBezTo>
                        <a:cubicBezTo>
                          <a:pt x="661" y="63"/>
                          <a:pt x="653" y="70"/>
                          <a:pt x="645" y="76"/>
                        </a:cubicBezTo>
                        <a:lnTo>
                          <a:pt x="645" y="155"/>
                        </a:lnTo>
                        <a:close/>
                        <a:moveTo>
                          <a:pt x="310" y="236"/>
                        </a:moveTo>
                        <a:cubicBezTo>
                          <a:pt x="321" y="237"/>
                          <a:pt x="333" y="238"/>
                          <a:pt x="345" y="238"/>
                        </a:cubicBezTo>
                        <a:cubicBezTo>
                          <a:pt x="345" y="160"/>
                          <a:pt x="345" y="160"/>
                          <a:pt x="345" y="160"/>
                        </a:cubicBezTo>
                        <a:cubicBezTo>
                          <a:pt x="333" y="159"/>
                          <a:pt x="321" y="159"/>
                          <a:pt x="310" y="158"/>
                        </a:cubicBezTo>
                        <a:lnTo>
                          <a:pt x="310" y="236"/>
                        </a:lnTo>
                        <a:close/>
                        <a:moveTo>
                          <a:pt x="142" y="198"/>
                        </a:moveTo>
                        <a:cubicBezTo>
                          <a:pt x="151" y="202"/>
                          <a:pt x="161" y="205"/>
                          <a:pt x="170" y="209"/>
                        </a:cubicBezTo>
                        <a:cubicBezTo>
                          <a:pt x="170" y="130"/>
                          <a:pt x="170" y="130"/>
                          <a:pt x="170" y="130"/>
                        </a:cubicBezTo>
                        <a:cubicBezTo>
                          <a:pt x="161" y="127"/>
                          <a:pt x="151" y="123"/>
                          <a:pt x="142" y="120"/>
                        </a:cubicBezTo>
                        <a:lnTo>
                          <a:pt x="142" y="198"/>
                        </a:lnTo>
                        <a:close/>
                        <a:moveTo>
                          <a:pt x="0" y="81"/>
                        </a:moveTo>
                        <a:cubicBezTo>
                          <a:pt x="6" y="92"/>
                          <a:pt x="13" y="103"/>
                          <a:pt x="21" y="113"/>
                        </a:cubicBezTo>
                        <a:cubicBezTo>
                          <a:pt x="21" y="35"/>
                          <a:pt x="21" y="35"/>
                          <a:pt x="21" y="35"/>
                        </a:cubicBezTo>
                        <a:cubicBezTo>
                          <a:pt x="13" y="25"/>
                          <a:pt x="6" y="14"/>
                          <a:pt x="0" y="3"/>
                        </a:cubicBezTo>
                        <a:lnTo>
                          <a:pt x="0" y="81"/>
                        </a:lnTo>
                        <a:close/>
                        <a:moveTo>
                          <a:pt x="43" y="136"/>
                        </a:moveTo>
                        <a:cubicBezTo>
                          <a:pt x="50" y="143"/>
                          <a:pt x="58" y="149"/>
                          <a:pt x="67" y="156"/>
                        </a:cubicBezTo>
                        <a:cubicBezTo>
                          <a:pt x="67" y="77"/>
                          <a:pt x="67" y="77"/>
                          <a:pt x="67" y="77"/>
                        </a:cubicBezTo>
                        <a:cubicBezTo>
                          <a:pt x="58" y="71"/>
                          <a:pt x="50" y="65"/>
                          <a:pt x="43" y="58"/>
                        </a:cubicBezTo>
                        <a:lnTo>
                          <a:pt x="43" y="136"/>
                        </a:lnTo>
                        <a:close/>
                        <a:moveTo>
                          <a:pt x="251" y="229"/>
                        </a:moveTo>
                        <a:cubicBezTo>
                          <a:pt x="262" y="231"/>
                          <a:pt x="273" y="233"/>
                          <a:pt x="284" y="234"/>
                        </a:cubicBezTo>
                        <a:cubicBezTo>
                          <a:pt x="284" y="156"/>
                          <a:pt x="284" y="156"/>
                          <a:pt x="284" y="156"/>
                        </a:cubicBezTo>
                        <a:cubicBezTo>
                          <a:pt x="273" y="154"/>
                          <a:pt x="262" y="153"/>
                          <a:pt x="251" y="151"/>
                        </a:cubicBezTo>
                        <a:lnTo>
                          <a:pt x="251" y="229"/>
                        </a:lnTo>
                        <a:close/>
                        <a:moveTo>
                          <a:pt x="94" y="174"/>
                        </a:moveTo>
                        <a:cubicBezTo>
                          <a:pt x="102" y="179"/>
                          <a:pt x="111" y="183"/>
                          <a:pt x="120" y="188"/>
                        </a:cubicBezTo>
                        <a:cubicBezTo>
                          <a:pt x="120" y="109"/>
                          <a:pt x="120" y="109"/>
                          <a:pt x="120" y="109"/>
                        </a:cubicBezTo>
                        <a:cubicBezTo>
                          <a:pt x="111" y="105"/>
                          <a:pt x="102" y="100"/>
                          <a:pt x="94" y="95"/>
                        </a:cubicBezTo>
                        <a:lnTo>
                          <a:pt x="94" y="174"/>
                        </a:lnTo>
                        <a:close/>
                        <a:moveTo>
                          <a:pt x="195" y="216"/>
                        </a:moveTo>
                        <a:cubicBezTo>
                          <a:pt x="205" y="219"/>
                          <a:pt x="215" y="222"/>
                          <a:pt x="225" y="224"/>
                        </a:cubicBezTo>
                        <a:cubicBezTo>
                          <a:pt x="225" y="146"/>
                          <a:pt x="225" y="146"/>
                          <a:pt x="225" y="146"/>
                        </a:cubicBezTo>
                        <a:cubicBezTo>
                          <a:pt x="215" y="143"/>
                          <a:pt x="205" y="141"/>
                          <a:pt x="195" y="138"/>
                        </a:cubicBezTo>
                        <a:lnTo>
                          <a:pt x="195" y="216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54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</p:grpSp>
          </p:grpSp>
          <p:grpSp>
            <p:nvGrpSpPr>
              <p:cNvPr id="36" name="Gruppieren 96">
                <a:extLst>
                  <a:ext uri="{FF2B5EF4-FFF2-40B4-BE49-F238E27FC236}">
                    <a16:creationId xmlns:a16="http://schemas.microsoft.com/office/drawing/2014/main" id="{0856D9AD-C345-4B55-B1C9-7F4C4A6643C2}"/>
                  </a:ext>
                </a:extLst>
              </p:cNvPr>
              <p:cNvGrpSpPr/>
              <p:nvPr/>
            </p:nvGrpSpPr>
            <p:grpSpPr>
              <a:xfrm>
                <a:off x="2708710" y="2354945"/>
                <a:ext cx="781440" cy="559766"/>
                <a:chOff x="5688013" y="58738"/>
                <a:chExt cx="3111500" cy="2228851"/>
              </a:xfrm>
            </p:grpSpPr>
            <p:sp>
              <p:nvSpPr>
                <p:cNvPr id="37" name="Freeform 6">
                  <a:extLst>
                    <a:ext uri="{FF2B5EF4-FFF2-40B4-BE49-F238E27FC236}">
                      <a16:creationId xmlns:a16="http://schemas.microsoft.com/office/drawing/2014/main" id="{CA7AE2A4-B947-4452-8CB6-FD675F8871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88013" y="58738"/>
                  <a:ext cx="3111500" cy="1865313"/>
                </a:xfrm>
                <a:custGeom>
                  <a:avLst/>
                  <a:gdLst/>
                  <a:ahLst/>
                  <a:cxnLst>
                    <a:cxn ang="0">
                      <a:pos x="134" y="393"/>
                    </a:cxn>
                    <a:cxn ang="0">
                      <a:pos x="173" y="80"/>
                    </a:cxn>
                    <a:cxn ang="0">
                      <a:pos x="696" y="104"/>
                    </a:cxn>
                    <a:cxn ang="0">
                      <a:pos x="657" y="417"/>
                    </a:cxn>
                    <a:cxn ang="0">
                      <a:pos x="134" y="393"/>
                    </a:cxn>
                  </a:cxnLst>
                  <a:rect l="0" t="0" r="r" b="b"/>
                  <a:pathLst>
                    <a:path w="830" h="497">
                      <a:moveTo>
                        <a:pt x="134" y="393"/>
                      </a:moveTo>
                      <a:cubicBezTo>
                        <a:pt x="0" y="300"/>
                        <a:pt x="18" y="160"/>
                        <a:pt x="173" y="80"/>
                      </a:cubicBezTo>
                      <a:cubicBezTo>
                        <a:pt x="328" y="0"/>
                        <a:pt x="563" y="11"/>
                        <a:pt x="696" y="104"/>
                      </a:cubicBezTo>
                      <a:cubicBezTo>
                        <a:pt x="830" y="197"/>
                        <a:pt x="812" y="337"/>
                        <a:pt x="657" y="417"/>
                      </a:cubicBezTo>
                      <a:cubicBezTo>
                        <a:pt x="502" y="497"/>
                        <a:pt x="268" y="486"/>
                        <a:pt x="134" y="39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0810E"/>
                    </a:gs>
                    <a:gs pos="100000">
                      <a:srgbClr val="FFC000"/>
                    </a:gs>
                  </a:gsLst>
                  <a:lin ang="0" scaled="1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1615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GB" sz="1575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endParaRPr>
                </a:p>
              </p:txBody>
            </p:sp>
            <p:grpSp>
              <p:nvGrpSpPr>
                <p:cNvPr id="38" name="Gruppieren 62">
                  <a:extLst>
                    <a:ext uri="{FF2B5EF4-FFF2-40B4-BE49-F238E27FC236}">
                      <a16:creationId xmlns:a16="http://schemas.microsoft.com/office/drawing/2014/main" id="{70B267AF-9E95-4A53-9516-BB5D52DABFAE}"/>
                    </a:ext>
                  </a:extLst>
                </p:cNvPr>
                <p:cNvGrpSpPr/>
                <p:nvPr/>
              </p:nvGrpSpPr>
              <p:grpSpPr>
                <a:xfrm>
                  <a:off x="5849938" y="157163"/>
                  <a:ext cx="2789238" cy="2130426"/>
                  <a:chOff x="5849938" y="157163"/>
                  <a:chExt cx="2789238" cy="2130426"/>
                </a:xfrm>
              </p:grpSpPr>
              <p:sp>
                <p:nvSpPr>
                  <p:cNvPr id="39" name="Freeform 7">
                    <a:extLst>
                      <a:ext uri="{FF2B5EF4-FFF2-40B4-BE49-F238E27FC236}">
                        <a16:creationId xmlns:a16="http://schemas.microsoft.com/office/drawing/2014/main" id="{4CBB32A8-22E8-4A9C-B19E-FF8E374233A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56288" y="157163"/>
                    <a:ext cx="2774950" cy="1662113"/>
                  </a:xfrm>
                  <a:custGeom>
                    <a:avLst/>
                    <a:gdLst/>
                    <a:ahLst/>
                    <a:cxnLst>
                      <a:cxn ang="0">
                        <a:pos x="154" y="72"/>
                      </a:cxn>
                      <a:cxn ang="0">
                        <a:pos x="621" y="92"/>
                      </a:cxn>
                      <a:cxn ang="0">
                        <a:pos x="586" y="372"/>
                      </a:cxn>
                      <a:cxn ang="0">
                        <a:pos x="119" y="351"/>
                      </a:cxn>
                      <a:cxn ang="0">
                        <a:pos x="154" y="72"/>
                      </a:cxn>
                    </a:cxnLst>
                    <a:rect l="0" t="0" r="r" b="b"/>
                    <a:pathLst>
                      <a:path w="740" h="443">
                        <a:moveTo>
                          <a:pt x="154" y="72"/>
                        </a:moveTo>
                        <a:cubicBezTo>
                          <a:pt x="293" y="0"/>
                          <a:pt x="501" y="10"/>
                          <a:pt x="621" y="92"/>
                        </a:cubicBezTo>
                        <a:cubicBezTo>
                          <a:pt x="740" y="175"/>
                          <a:pt x="724" y="300"/>
                          <a:pt x="586" y="372"/>
                        </a:cubicBezTo>
                        <a:cubicBezTo>
                          <a:pt x="447" y="443"/>
                          <a:pt x="239" y="433"/>
                          <a:pt x="119" y="351"/>
                        </a:cubicBezTo>
                        <a:cubicBezTo>
                          <a:pt x="0" y="268"/>
                          <a:pt x="16" y="143"/>
                          <a:pt x="154" y="72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135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40" name="Freeform 8">
                    <a:extLst>
                      <a:ext uri="{FF2B5EF4-FFF2-40B4-BE49-F238E27FC236}">
                        <a16:creationId xmlns:a16="http://schemas.microsoft.com/office/drawing/2014/main" id="{E63AB837-5796-4455-B274-B18E049FADE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908676" y="187326"/>
                    <a:ext cx="2670175" cy="1601788"/>
                  </a:xfrm>
                  <a:custGeom>
                    <a:avLst/>
                    <a:gdLst/>
                    <a:ahLst/>
                    <a:cxnLst>
                      <a:cxn ang="0">
                        <a:pos x="148" y="69"/>
                      </a:cxn>
                      <a:cxn ang="0">
                        <a:pos x="597" y="89"/>
                      </a:cxn>
                      <a:cxn ang="0">
                        <a:pos x="564" y="358"/>
                      </a:cxn>
                      <a:cxn ang="0">
                        <a:pos x="115" y="338"/>
                      </a:cxn>
                      <a:cxn ang="0">
                        <a:pos x="148" y="69"/>
                      </a:cxn>
                    </a:cxnLst>
                    <a:rect l="0" t="0" r="r" b="b"/>
                    <a:pathLst>
                      <a:path w="712" h="427">
                        <a:moveTo>
                          <a:pt x="148" y="69"/>
                        </a:moveTo>
                        <a:cubicBezTo>
                          <a:pt x="282" y="0"/>
                          <a:pt x="483" y="9"/>
                          <a:pt x="597" y="89"/>
                        </a:cubicBezTo>
                        <a:cubicBezTo>
                          <a:pt x="712" y="169"/>
                          <a:pt x="697" y="289"/>
                          <a:pt x="564" y="358"/>
                        </a:cubicBezTo>
                        <a:cubicBezTo>
                          <a:pt x="431" y="427"/>
                          <a:pt x="229" y="418"/>
                          <a:pt x="115" y="338"/>
                        </a:cubicBezTo>
                        <a:cubicBezTo>
                          <a:pt x="0" y="258"/>
                          <a:pt x="15" y="138"/>
                          <a:pt x="148" y="69"/>
                        </a:cubicBezTo>
                        <a:close/>
                      </a:path>
                    </a:pathLst>
                  </a:custGeom>
                  <a:solidFill>
                    <a:srgbClr val="FDD284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41" name="Freeform 9">
                    <a:extLst>
                      <a:ext uri="{FF2B5EF4-FFF2-40B4-BE49-F238E27FC236}">
                        <a16:creationId xmlns:a16="http://schemas.microsoft.com/office/drawing/2014/main" id="{98DB29EF-D047-4C37-A156-99D633CF76E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648451" y="588963"/>
                    <a:ext cx="1187450" cy="801688"/>
                  </a:xfrm>
                  <a:custGeom>
                    <a:avLst/>
                    <a:gdLst/>
                    <a:ahLst/>
                    <a:cxnLst>
                      <a:cxn ang="0">
                        <a:pos x="268" y="211"/>
                      </a:cxn>
                      <a:cxn ang="0">
                        <a:pos x="238" y="190"/>
                      </a:cxn>
                      <a:cxn ang="0">
                        <a:pos x="157" y="214"/>
                      </a:cxn>
                      <a:cxn ang="0">
                        <a:pos x="124" y="177"/>
                      </a:cxn>
                      <a:cxn ang="0">
                        <a:pos x="205" y="153"/>
                      </a:cxn>
                      <a:cxn ang="0">
                        <a:pos x="223" y="125"/>
                      </a:cxn>
                      <a:cxn ang="0">
                        <a:pos x="160" y="129"/>
                      </a:cxn>
                      <a:cxn ang="0">
                        <a:pos x="29" y="123"/>
                      </a:cxn>
                      <a:cxn ang="0">
                        <a:pos x="35" y="46"/>
                      </a:cxn>
                      <a:cxn ang="0">
                        <a:pos x="5" y="25"/>
                      </a:cxn>
                      <a:cxn ang="0">
                        <a:pos x="48" y="3"/>
                      </a:cxn>
                      <a:cxn ang="0">
                        <a:pos x="76" y="23"/>
                      </a:cxn>
                      <a:cxn ang="0">
                        <a:pos x="143" y="0"/>
                      </a:cxn>
                      <a:cxn ang="0">
                        <a:pos x="174" y="37"/>
                      </a:cxn>
                      <a:cxn ang="0">
                        <a:pos x="106" y="58"/>
                      </a:cxn>
                      <a:cxn ang="0">
                        <a:pos x="91" y="83"/>
                      </a:cxn>
                      <a:cxn ang="0">
                        <a:pos x="160" y="77"/>
                      </a:cxn>
                      <a:cxn ang="0">
                        <a:pos x="286" y="86"/>
                      </a:cxn>
                      <a:cxn ang="0">
                        <a:pos x="278" y="165"/>
                      </a:cxn>
                      <a:cxn ang="0">
                        <a:pos x="311" y="188"/>
                      </a:cxn>
                      <a:cxn ang="0">
                        <a:pos x="268" y="211"/>
                      </a:cxn>
                    </a:cxnLst>
                    <a:rect l="0" t="0" r="r" b="b"/>
                    <a:pathLst>
                      <a:path w="317" h="214">
                        <a:moveTo>
                          <a:pt x="268" y="211"/>
                        </a:moveTo>
                        <a:cubicBezTo>
                          <a:pt x="238" y="190"/>
                          <a:pt x="238" y="190"/>
                          <a:pt x="238" y="190"/>
                        </a:cubicBezTo>
                        <a:cubicBezTo>
                          <a:pt x="210" y="202"/>
                          <a:pt x="178" y="211"/>
                          <a:pt x="157" y="214"/>
                        </a:cubicBezTo>
                        <a:cubicBezTo>
                          <a:pt x="124" y="177"/>
                          <a:pt x="124" y="177"/>
                          <a:pt x="124" y="177"/>
                        </a:cubicBezTo>
                        <a:cubicBezTo>
                          <a:pt x="149" y="173"/>
                          <a:pt x="179" y="166"/>
                          <a:pt x="205" y="153"/>
                        </a:cubicBezTo>
                        <a:cubicBezTo>
                          <a:pt x="224" y="143"/>
                          <a:pt x="233" y="132"/>
                          <a:pt x="223" y="125"/>
                        </a:cubicBezTo>
                        <a:cubicBezTo>
                          <a:pt x="213" y="118"/>
                          <a:pt x="196" y="120"/>
                          <a:pt x="160" y="129"/>
                        </a:cubicBezTo>
                        <a:cubicBezTo>
                          <a:pt x="108" y="142"/>
                          <a:pt x="62" y="146"/>
                          <a:pt x="29" y="123"/>
                        </a:cubicBezTo>
                        <a:cubicBezTo>
                          <a:pt x="0" y="102"/>
                          <a:pt x="0" y="74"/>
                          <a:pt x="35" y="46"/>
                        </a:cubicBezTo>
                        <a:cubicBezTo>
                          <a:pt x="5" y="25"/>
                          <a:pt x="5" y="25"/>
                          <a:pt x="5" y="25"/>
                        </a:cubicBezTo>
                        <a:cubicBezTo>
                          <a:pt x="48" y="3"/>
                          <a:pt x="48" y="3"/>
                          <a:pt x="48" y="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102" y="10"/>
                          <a:pt x="125" y="4"/>
                          <a:pt x="143" y="0"/>
                        </a:cubicBezTo>
                        <a:cubicBezTo>
                          <a:pt x="174" y="37"/>
                          <a:pt x="174" y="37"/>
                          <a:pt x="174" y="37"/>
                        </a:cubicBezTo>
                        <a:cubicBezTo>
                          <a:pt x="161" y="39"/>
                          <a:pt x="135" y="44"/>
                          <a:pt x="106" y="58"/>
                        </a:cubicBezTo>
                        <a:cubicBezTo>
                          <a:pt x="84" y="70"/>
                          <a:pt x="84" y="78"/>
                          <a:pt x="91" y="83"/>
                        </a:cubicBezTo>
                        <a:cubicBezTo>
                          <a:pt x="99" y="89"/>
                          <a:pt x="118" y="86"/>
                          <a:pt x="160" y="77"/>
                        </a:cubicBezTo>
                        <a:cubicBezTo>
                          <a:pt x="221" y="61"/>
                          <a:pt x="257" y="65"/>
                          <a:pt x="286" y="86"/>
                        </a:cubicBezTo>
                        <a:cubicBezTo>
                          <a:pt x="317" y="107"/>
                          <a:pt x="316" y="137"/>
                          <a:pt x="278" y="165"/>
                        </a:cubicBezTo>
                        <a:cubicBezTo>
                          <a:pt x="311" y="188"/>
                          <a:pt x="311" y="188"/>
                          <a:pt x="311" y="188"/>
                        </a:cubicBezTo>
                        <a:lnTo>
                          <a:pt x="268" y="211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189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42" name="Freeform 10">
                    <a:extLst>
                      <a:ext uri="{FF2B5EF4-FFF2-40B4-BE49-F238E27FC236}">
                        <a16:creationId xmlns:a16="http://schemas.microsoft.com/office/drawing/2014/main" id="{C472BAEA-41D7-4D72-AB54-86BBC3F50C3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49938" y="1057276"/>
                    <a:ext cx="2789238" cy="1230313"/>
                  </a:xfrm>
                  <a:custGeom>
                    <a:avLst/>
                    <a:gdLst/>
                    <a:ahLst/>
                    <a:cxnLst>
                      <a:cxn ang="0">
                        <a:pos x="741" y="56"/>
                      </a:cxn>
                      <a:cxn ang="0">
                        <a:pos x="741" y="0"/>
                      </a:cxn>
                      <a:cxn ang="0">
                        <a:pos x="733" y="28"/>
                      </a:cxn>
                      <a:cxn ang="0">
                        <a:pos x="614" y="145"/>
                      </a:cxn>
                      <a:cxn ang="0">
                        <a:pos x="91" y="121"/>
                      </a:cxn>
                      <a:cxn ang="0">
                        <a:pos x="11" y="28"/>
                      </a:cxn>
                      <a:cxn ang="0">
                        <a:pos x="3" y="0"/>
                      </a:cxn>
                      <a:cxn ang="0">
                        <a:pos x="3" y="56"/>
                      </a:cxn>
                      <a:cxn ang="0">
                        <a:pos x="3" y="103"/>
                      </a:cxn>
                      <a:cxn ang="0">
                        <a:pos x="91" y="224"/>
                      </a:cxn>
                      <a:cxn ang="0">
                        <a:pos x="614" y="248"/>
                      </a:cxn>
                      <a:cxn ang="0">
                        <a:pos x="741" y="103"/>
                      </a:cxn>
                      <a:cxn ang="0">
                        <a:pos x="741" y="56"/>
                      </a:cxn>
                    </a:cxnLst>
                    <a:rect l="0" t="0" r="r" b="b"/>
                    <a:pathLst>
                      <a:path w="744" h="328">
                        <a:moveTo>
                          <a:pt x="741" y="56"/>
                        </a:moveTo>
                        <a:cubicBezTo>
                          <a:pt x="741" y="0"/>
                          <a:pt x="741" y="0"/>
                          <a:pt x="741" y="0"/>
                        </a:cubicBezTo>
                        <a:cubicBezTo>
                          <a:pt x="739" y="9"/>
                          <a:pt x="737" y="18"/>
                          <a:pt x="733" y="28"/>
                        </a:cubicBezTo>
                        <a:cubicBezTo>
                          <a:pt x="716" y="72"/>
                          <a:pt x="676" y="113"/>
                          <a:pt x="614" y="145"/>
                        </a:cubicBezTo>
                        <a:cubicBezTo>
                          <a:pt x="459" y="225"/>
                          <a:pt x="225" y="214"/>
                          <a:pt x="91" y="121"/>
                        </a:cubicBezTo>
                        <a:cubicBezTo>
                          <a:pt x="51" y="93"/>
                          <a:pt x="24" y="61"/>
                          <a:pt x="11" y="28"/>
                        </a:cubicBezTo>
                        <a:cubicBezTo>
                          <a:pt x="7" y="19"/>
                          <a:pt x="5" y="9"/>
                          <a:pt x="3" y="0"/>
                        </a:cubicBezTo>
                        <a:cubicBezTo>
                          <a:pt x="3" y="56"/>
                          <a:pt x="3" y="56"/>
                          <a:pt x="3" y="56"/>
                        </a:cubicBezTo>
                        <a:cubicBezTo>
                          <a:pt x="0" y="72"/>
                          <a:pt x="0" y="87"/>
                          <a:pt x="3" y="103"/>
                        </a:cubicBezTo>
                        <a:cubicBezTo>
                          <a:pt x="11" y="146"/>
                          <a:pt x="40" y="189"/>
                          <a:pt x="91" y="224"/>
                        </a:cubicBezTo>
                        <a:cubicBezTo>
                          <a:pt x="225" y="317"/>
                          <a:pt x="459" y="328"/>
                          <a:pt x="614" y="248"/>
                        </a:cubicBezTo>
                        <a:cubicBezTo>
                          <a:pt x="689" y="209"/>
                          <a:pt x="731" y="157"/>
                          <a:pt x="741" y="103"/>
                        </a:cubicBezTo>
                        <a:cubicBezTo>
                          <a:pt x="744" y="87"/>
                          <a:pt x="744" y="71"/>
                          <a:pt x="741" y="56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CC6600"/>
                      </a:gs>
                    </a:gsLst>
                    <a:lin ang="162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  <p:sp>
                <p:nvSpPr>
                  <p:cNvPr id="43" name="Freeform 11">
                    <a:extLst>
                      <a:ext uri="{FF2B5EF4-FFF2-40B4-BE49-F238E27FC236}">
                        <a16:creationId xmlns:a16="http://schemas.microsoft.com/office/drawing/2014/main" id="{91BDA4C9-F0B9-4852-89F9-1D6546CCDD2A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913438" y="1236663"/>
                    <a:ext cx="2665413" cy="893763"/>
                  </a:xfrm>
                  <a:custGeom>
                    <a:avLst/>
                    <a:gdLst/>
                    <a:ahLst/>
                    <a:cxnLst>
                      <a:cxn ang="0">
                        <a:pos x="569" y="197"/>
                      </a:cxn>
                      <a:cxn ang="0">
                        <a:pos x="541" y="130"/>
                      </a:cxn>
                      <a:cxn ang="0">
                        <a:pos x="486" y="224"/>
                      </a:cxn>
                      <a:cxn ang="0">
                        <a:pos x="517" y="138"/>
                      </a:cxn>
                      <a:cxn ang="0">
                        <a:pos x="486" y="224"/>
                      </a:cxn>
                      <a:cxn ang="0">
                        <a:pos x="592" y="187"/>
                      </a:cxn>
                      <a:cxn ang="0">
                        <a:pos x="618" y="173"/>
                      </a:cxn>
                      <a:cxn ang="0">
                        <a:pos x="597" y="106"/>
                      </a:cxn>
                      <a:cxn ang="0">
                        <a:pos x="367" y="238"/>
                      </a:cxn>
                      <a:cxn ang="0">
                        <a:pos x="402" y="158"/>
                      </a:cxn>
                      <a:cxn ang="0">
                        <a:pos x="367" y="238"/>
                      </a:cxn>
                      <a:cxn ang="0">
                        <a:pos x="461" y="229"/>
                      </a:cxn>
                      <a:cxn ang="0">
                        <a:pos x="428" y="155"/>
                      </a:cxn>
                      <a:cxn ang="0">
                        <a:pos x="690" y="33"/>
                      </a:cxn>
                      <a:cxn ang="0">
                        <a:pos x="711" y="78"/>
                      </a:cxn>
                      <a:cxn ang="0">
                        <a:pos x="690" y="33"/>
                      </a:cxn>
                      <a:cxn ang="0">
                        <a:pos x="668" y="135"/>
                      </a:cxn>
                      <a:cxn ang="0">
                        <a:pos x="645" y="76"/>
                      </a:cxn>
                      <a:cxn ang="0">
                        <a:pos x="310" y="236"/>
                      </a:cxn>
                      <a:cxn ang="0">
                        <a:pos x="345" y="160"/>
                      </a:cxn>
                      <a:cxn ang="0">
                        <a:pos x="310" y="236"/>
                      </a:cxn>
                      <a:cxn ang="0">
                        <a:pos x="170" y="209"/>
                      </a:cxn>
                      <a:cxn ang="0">
                        <a:pos x="142" y="120"/>
                      </a:cxn>
                      <a:cxn ang="0">
                        <a:pos x="0" y="81"/>
                      </a:cxn>
                      <a:cxn ang="0">
                        <a:pos x="21" y="35"/>
                      </a:cxn>
                      <a:cxn ang="0">
                        <a:pos x="0" y="81"/>
                      </a:cxn>
                      <a:cxn ang="0">
                        <a:pos x="67" y="156"/>
                      </a:cxn>
                      <a:cxn ang="0">
                        <a:pos x="43" y="58"/>
                      </a:cxn>
                      <a:cxn ang="0">
                        <a:pos x="251" y="229"/>
                      </a:cxn>
                      <a:cxn ang="0">
                        <a:pos x="284" y="156"/>
                      </a:cxn>
                      <a:cxn ang="0">
                        <a:pos x="251" y="229"/>
                      </a:cxn>
                      <a:cxn ang="0">
                        <a:pos x="120" y="188"/>
                      </a:cxn>
                      <a:cxn ang="0">
                        <a:pos x="94" y="95"/>
                      </a:cxn>
                      <a:cxn ang="0">
                        <a:pos x="195" y="216"/>
                      </a:cxn>
                      <a:cxn ang="0">
                        <a:pos x="225" y="146"/>
                      </a:cxn>
                      <a:cxn ang="0">
                        <a:pos x="195" y="216"/>
                      </a:cxn>
                    </a:cxnLst>
                    <a:rect l="0" t="0" r="r" b="b"/>
                    <a:pathLst>
                      <a:path w="711" h="238">
                        <a:moveTo>
                          <a:pt x="541" y="208"/>
                        </a:moveTo>
                        <a:cubicBezTo>
                          <a:pt x="551" y="205"/>
                          <a:pt x="560" y="201"/>
                          <a:pt x="569" y="197"/>
                        </a:cubicBezTo>
                        <a:cubicBezTo>
                          <a:pt x="569" y="119"/>
                          <a:pt x="569" y="119"/>
                          <a:pt x="569" y="119"/>
                        </a:cubicBezTo>
                        <a:cubicBezTo>
                          <a:pt x="560" y="123"/>
                          <a:pt x="551" y="126"/>
                          <a:pt x="541" y="130"/>
                        </a:cubicBezTo>
                        <a:lnTo>
                          <a:pt x="541" y="208"/>
                        </a:lnTo>
                        <a:close/>
                        <a:moveTo>
                          <a:pt x="486" y="224"/>
                        </a:moveTo>
                        <a:cubicBezTo>
                          <a:pt x="497" y="221"/>
                          <a:pt x="507" y="219"/>
                          <a:pt x="517" y="216"/>
                        </a:cubicBezTo>
                        <a:cubicBezTo>
                          <a:pt x="517" y="138"/>
                          <a:pt x="517" y="138"/>
                          <a:pt x="517" y="138"/>
                        </a:cubicBezTo>
                        <a:cubicBezTo>
                          <a:pt x="507" y="140"/>
                          <a:pt x="497" y="143"/>
                          <a:pt x="486" y="145"/>
                        </a:cubicBezTo>
                        <a:lnTo>
                          <a:pt x="486" y="224"/>
                        </a:lnTo>
                        <a:close/>
                        <a:moveTo>
                          <a:pt x="592" y="109"/>
                        </a:moveTo>
                        <a:cubicBezTo>
                          <a:pt x="592" y="187"/>
                          <a:pt x="592" y="187"/>
                          <a:pt x="592" y="187"/>
                        </a:cubicBezTo>
                        <a:cubicBezTo>
                          <a:pt x="594" y="186"/>
                          <a:pt x="595" y="185"/>
                          <a:pt x="597" y="184"/>
                        </a:cubicBezTo>
                        <a:cubicBezTo>
                          <a:pt x="604" y="180"/>
                          <a:pt x="611" y="177"/>
                          <a:pt x="618" y="173"/>
                        </a:cubicBezTo>
                        <a:cubicBezTo>
                          <a:pt x="618" y="94"/>
                          <a:pt x="618" y="94"/>
                          <a:pt x="618" y="94"/>
                        </a:cubicBezTo>
                        <a:cubicBezTo>
                          <a:pt x="611" y="98"/>
                          <a:pt x="604" y="102"/>
                          <a:pt x="597" y="106"/>
                        </a:cubicBezTo>
                        <a:cubicBezTo>
                          <a:pt x="595" y="107"/>
                          <a:pt x="594" y="108"/>
                          <a:pt x="592" y="109"/>
                        </a:cubicBezTo>
                        <a:close/>
                        <a:moveTo>
                          <a:pt x="367" y="238"/>
                        </a:moveTo>
                        <a:cubicBezTo>
                          <a:pt x="378" y="238"/>
                          <a:pt x="390" y="237"/>
                          <a:pt x="402" y="236"/>
                        </a:cubicBezTo>
                        <a:cubicBezTo>
                          <a:pt x="402" y="158"/>
                          <a:pt x="402" y="158"/>
                          <a:pt x="402" y="158"/>
                        </a:cubicBezTo>
                        <a:cubicBezTo>
                          <a:pt x="390" y="159"/>
                          <a:pt x="378" y="159"/>
                          <a:pt x="367" y="160"/>
                        </a:cubicBezTo>
                        <a:lnTo>
                          <a:pt x="367" y="238"/>
                        </a:lnTo>
                        <a:close/>
                        <a:moveTo>
                          <a:pt x="428" y="234"/>
                        </a:moveTo>
                        <a:cubicBezTo>
                          <a:pt x="439" y="232"/>
                          <a:pt x="450" y="231"/>
                          <a:pt x="461" y="229"/>
                        </a:cubicBezTo>
                        <a:cubicBezTo>
                          <a:pt x="461" y="151"/>
                          <a:pt x="461" y="151"/>
                          <a:pt x="461" y="151"/>
                        </a:cubicBezTo>
                        <a:cubicBezTo>
                          <a:pt x="450" y="153"/>
                          <a:pt x="439" y="154"/>
                          <a:pt x="428" y="155"/>
                        </a:cubicBezTo>
                        <a:lnTo>
                          <a:pt x="428" y="234"/>
                        </a:lnTo>
                        <a:close/>
                        <a:moveTo>
                          <a:pt x="690" y="33"/>
                        </a:moveTo>
                        <a:cubicBezTo>
                          <a:pt x="690" y="111"/>
                          <a:pt x="690" y="111"/>
                          <a:pt x="690" y="111"/>
                        </a:cubicBezTo>
                        <a:cubicBezTo>
                          <a:pt x="699" y="101"/>
                          <a:pt x="706" y="89"/>
                          <a:pt x="711" y="78"/>
                        </a:cubicBezTo>
                        <a:cubicBezTo>
                          <a:pt x="711" y="0"/>
                          <a:pt x="711" y="0"/>
                          <a:pt x="711" y="0"/>
                        </a:cubicBezTo>
                        <a:cubicBezTo>
                          <a:pt x="706" y="11"/>
                          <a:pt x="699" y="22"/>
                          <a:pt x="690" y="33"/>
                        </a:cubicBezTo>
                        <a:close/>
                        <a:moveTo>
                          <a:pt x="645" y="155"/>
                        </a:moveTo>
                        <a:cubicBezTo>
                          <a:pt x="653" y="148"/>
                          <a:pt x="661" y="142"/>
                          <a:pt x="668" y="135"/>
                        </a:cubicBezTo>
                        <a:cubicBezTo>
                          <a:pt x="668" y="57"/>
                          <a:pt x="668" y="57"/>
                          <a:pt x="668" y="57"/>
                        </a:cubicBezTo>
                        <a:cubicBezTo>
                          <a:pt x="661" y="63"/>
                          <a:pt x="653" y="70"/>
                          <a:pt x="645" y="76"/>
                        </a:cubicBezTo>
                        <a:lnTo>
                          <a:pt x="645" y="155"/>
                        </a:lnTo>
                        <a:close/>
                        <a:moveTo>
                          <a:pt x="310" y="236"/>
                        </a:moveTo>
                        <a:cubicBezTo>
                          <a:pt x="321" y="237"/>
                          <a:pt x="333" y="238"/>
                          <a:pt x="345" y="238"/>
                        </a:cubicBezTo>
                        <a:cubicBezTo>
                          <a:pt x="345" y="160"/>
                          <a:pt x="345" y="160"/>
                          <a:pt x="345" y="160"/>
                        </a:cubicBezTo>
                        <a:cubicBezTo>
                          <a:pt x="333" y="159"/>
                          <a:pt x="321" y="159"/>
                          <a:pt x="310" y="158"/>
                        </a:cubicBezTo>
                        <a:lnTo>
                          <a:pt x="310" y="236"/>
                        </a:lnTo>
                        <a:close/>
                        <a:moveTo>
                          <a:pt x="142" y="198"/>
                        </a:moveTo>
                        <a:cubicBezTo>
                          <a:pt x="151" y="202"/>
                          <a:pt x="161" y="205"/>
                          <a:pt x="170" y="209"/>
                        </a:cubicBezTo>
                        <a:cubicBezTo>
                          <a:pt x="170" y="130"/>
                          <a:pt x="170" y="130"/>
                          <a:pt x="170" y="130"/>
                        </a:cubicBezTo>
                        <a:cubicBezTo>
                          <a:pt x="161" y="127"/>
                          <a:pt x="151" y="123"/>
                          <a:pt x="142" y="120"/>
                        </a:cubicBezTo>
                        <a:lnTo>
                          <a:pt x="142" y="198"/>
                        </a:lnTo>
                        <a:close/>
                        <a:moveTo>
                          <a:pt x="0" y="81"/>
                        </a:moveTo>
                        <a:cubicBezTo>
                          <a:pt x="6" y="92"/>
                          <a:pt x="13" y="103"/>
                          <a:pt x="21" y="113"/>
                        </a:cubicBezTo>
                        <a:cubicBezTo>
                          <a:pt x="21" y="35"/>
                          <a:pt x="21" y="35"/>
                          <a:pt x="21" y="35"/>
                        </a:cubicBezTo>
                        <a:cubicBezTo>
                          <a:pt x="13" y="25"/>
                          <a:pt x="6" y="14"/>
                          <a:pt x="0" y="3"/>
                        </a:cubicBezTo>
                        <a:lnTo>
                          <a:pt x="0" y="81"/>
                        </a:lnTo>
                        <a:close/>
                        <a:moveTo>
                          <a:pt x="43" y="136"/>
                        </a:moveTo>
                        <a:cubicBezTo>
                          <a:pt x="50" y="143"/>
                          <a:pt x="58" y="149"/>
                          <a:pt x="67" y="156"/>
                        </a:cubicBezTo>
                        <a:cubicBezTo>
                          <a:pt x="67" y="77"/>
                          <a:pt x="67" y="77"/>
                          <a:pt x="67" y="77"/>
                        </a:cubicBezTo>
                        <a:cubicBezTo>
                          <a:pt x="58" y="71"/>
                          <a:pt x="50" y="65"/>
                          <a:pt x="43" y="58"/>
                        </a:cubicBezTo>
                        <a:lnTo>
                          <a:pt x="43" y="136"/>
                        </a:lnTo>
                        <a:close/>
                        <a:moveTo>
                          <a:pt x="251" y="229"/>
                        </a:moveTo>
                        <a:cubicBezTo>
                          <a:pt x="262" y="231"/>
                          <a:pt x="273" y="233"/>
                          <a:pt x="284" y="234"/>
                        </a:cubicBezTo>
                        <a:cubicBezTo>
                          <a:pt x="284" y="156"/>
                          <a:pt x="284" y="156"/>
                          <a:pt x="284" y="156"/>
                        </a:cubicBezTo>
                        <a:cubicBezTo>
                          <a:pt x="273" y="154"/>
                          <a:pt x="262" y="153"/>
                          <a:pt x="251" y="151"/>
                        </a:cubicBezTo>
                        <a:lnTo>
                          <a:pt x="251" y="229"/>
                        </a:lnTo>
                        <a:close/>
                        <a:moveTo>
                          <a:pt x="94" y="174"/>
                        </a:moveTo>
                        <a:cubicBezTo>
                          <a:pt x="102" y="179"/>
                          <a:pt x="111" y="183"/>
                          <a:pt x="120" y="188"/>
                        </a:cubicBezTo>
                        <a:cubicBezTo>
                          <a:pt x="120" y="109"/>
                          <a:pt x="120" y="109"/>
                          <a:pt x="120" y="109"/>
                        </a:cubicBezTo>
                        <a:cubicBezTo>
                          <a:pt x="111" y="105"/>
                          <a:pt x="102" y="100"/>
                          <a:pt x="94" y="95"/>
                        </a:cubicBezTo>
                        <a:lnTo>
                          <a:pt x="94" y="174"/>
                        </a:lnTo>
                        <a:close/>
                        <a:moveTo>
                          <a:pt x="195" y="216"/>
                        </a:moveTo>
                        <a:cubicBezTo>
                          <a:pt x="205" y="219"/>
                          <a:pt x="215" y="222"/>
                          <a:pt x="225" y="224"/>
                        </a:cubicBezTo>
                        <a:cubicBezTo>
                          <a:pt x="225" y="146"/>
                          <a:pt x="225" y="146"/>
                          <a:pt x="225" y="146"/>
                        </a:cubicBezTo>
                        <a:cubicBezTo>
                          <a:pt x="215" y="143"/>
                          <a:pt x="205" y="141"/>
                          <a:pt x="195" y="138"/>
                        </a:cubicBezTo>
                        <a:lnTo>
                          <a:pt x="195" y="216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0810E"/>
                      </a:gs>
                      <a:gs pos="100000">
                        <a:srgbClr val="FFC000"/>
                      </a:gs>
                    </a:gsLst>
                    <a:lin ang="54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68564" tIns="34282" rIns="68564" bIns="342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1615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/>
                      <a:buNone/>
                      <a:tabLst/>
                      <a:defRPr/>
                    </a:pPr>
                    <a:endParaRPr kumimoji="0" lang="en-GB" sz="15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Titillium Web" panose="00000500000000000000" pitchFamily="2" charset="0"/>
                      <a:ea typeface="+mn-ea"/>
                      <a:sym typeface="Arial"/>
                    </a:endParaRPr>
                  </a:p>
                </p:txBody>
              </p:sp>
            </p:grpSp>
          </p:grpSp>
        </p:grpSp>
      </p:grpSp>
      <p:sp>
        <p:nvSpPr>
          <p:cNvPr id="112" name="TextBox 16">
            <a:extLst>
              <a:ext uri="{FF2B5EF4-FFF2-40B4-BE49-F238E27FC236}">
                <a16:creationId xmlns:a16="http://schemas.microsoft.com/office/drawing/2014/main" id="{65220A5E-8AF1-4285-9989-86CB60B77569}"/>
              </a:ext>
            </a:extLst>
          </p:cNvPr>
          <p:cNvSpPr txBox="1"/>
          <p:nvPr/>
        </p:nvSpPr>
        <p:spPr>
          <a:xfrm rot="19482631">
            <a:off x="3658833" y="2111189"/>
            <a:ext cx="888385" cy="3347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75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Produce</a:t>
            </a:r>
          </a:p>
        </p:txBody>
      </p:sp>
      <p:sp>
        <p:nvSpPr>
          <p:cNvPr id="113" name="TextBox 744">
            <a:extLst>
              <a:ext uri="{FF2B5EF4-FFF2-40B4-BE49-F238E27FC236}">
                <a16:creationId xmlns:a16="http://schemas.microsoft.com/office/drawing/2014/main" id="{42BA1E53-9713-4FF7-97BE-DB2A69B39A5F}"/>
              </a:ext>
            </a:extLst>
          </p:cNvPr>
          <p:cNvSpPr txBox="1"/>
          <p:nvPr/>
        </p:nvSpPr>
        <p:spPr>
          <a:xfrm rot="3076695">
            <a:off x="3439703" y="3584559"/>
            <a:ext cx="577402" cy="3347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75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Earn</a:t>
            </a:r>
          </a:p>
        </p:txBody>
      </p:sp>
      <p:sp>
        <p:nvSpPr>
          <p:cNvPr id="114" name="TextBox 745">
            <a:extLst>
              <a:ext uri="{FF2B5EF4-FFF2-40B4-BE49-F238E27FC236}">
                <a16:creationId xmlns:a16="http://schemas.microsoft.com/office/drawing/2014/main" id="{81AC7A52-D410-4E75-BB18-9744E3B4B718}"/>
              </a:ext>
            </a:extLst>
          </p:cNvPr>
          <p:cNvSpPr txBox="1"/>
          <p:nvPr/>
        </p:nvSpPr>
        <p:spPr>
          <a:xfrm rot="2434509">
            <a:off x="5163623" y="2099891"/>
            <a:ext cx="853119" cy="3347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75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Capture</a:t>
            </a:r>
          </a:p>
        </p:txBody>
      </p:sp>
      <p:sp>
        <p:nvSpPr>
          <p:cNvPr id="115" name="TextBox 746">
            <a:extLst>
              <a:ext uri="{FF2B5EF4-FFF2-40B4-BE49-F238E27FC236}">
                <a16:creationId xmlns:a16="http://schemas.microsoft.com/office/drawing/2014/main" id="{5CC42D43-6214-4698-9433-BAD445C650C0}"/>
              </a:ext>
            </a:extLst>
          </p:cNvPr>
          <p:cNvSpPr txBox="1"/>
          <p:nvPr/>
        </p:nvSpPr>
        <p:spPr>
          <a:xfrm rot="19482631">
            <a:off x="4985989" y="3619811"/>
            <a:ext cx="779381" cy="3347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75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Deliver</a:t>
            </a:r>
          </a:p>
        </p:txBody>
      </p:sp>
      <p:sp>
        <p:nvSpPr>
          <p:cNvPr id="3" name="Freeform 7">
            <a:extLst>
              <a:ext uri="{FF2B5EF4-FFF2-40B4-BE49-F238E27FC236}">
                <a16:creationId xmlns:a16="http://schemas.microsoft.com/office/drawing/2014/main" id="{E67DD1EA-AF3E-EED1-6772-336ECC45EB01}"/>
              </a:ext>
            </a:extLst>
          </p:cNvPr>
          <p:cNvSpPr/>
          <p:nvPr/>
        </p:nvSpPr>
        <p:spPr>
          <a:xfrm>
            <a:off x="6110909" y="460258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62402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23;p32">
            <a:extLst>
              <a:ext uri="{FF2B5EF4-FFF2-40B4-BE49-F238E27FC236}">
                <a16:creationId xmlns:a16="http://schemas.microsoft.com/office/drawing/2014/main" id="{B855D884-7FE5-438D-816C-C8863676789B}"/>
              </a:ext>
            </a:extLst>
          </p:cNvPr>
          <p:cNvSpPr txBox="1">
            <a:spLocks/>
          </p:cNvSpPr>
          <p:nvPr/>
        </p:nvSpPr>
        <p:spPr>
          <a:xfrm>
            <a:off x="0" y="8878"/>
            <a:ext cx="9143999" cy="11630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indent="0" algn="ctr">
              <a:buFont typeface="Titillium Web"/>
              <a:buNone/>
            </a:pPr>
            <a:r>
              <a:rPr lang="en-US" sz="2400" b="1" dirty="0">
                <a:solidFill>
                  <a:schemeClr val="tx1"/>
                </a:solidFill>
                <a:latin typeface="Titillium Web" panose="00000500000000000000" pitchFamily="2" charset="0"/>
              </a:rPr>
              <a:t>Multiple types of start-ups based on the main goals of their founders</a:t>
            </a:r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DE2D58D2-A6E6-42B0-81B1-3C5A4C6C1C85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sp>
        <p:nvSpPr>
          <p:cNvPr id="6" name="Rectangle 12">
            <a:extLst>
              <a:ext uri="{FF2B5EF4-FFF2-40B4-BE49-F238E27FC236}">
                <a16:creationId xmlns:a16="http://schemas.microsoft.com/office/drawing/2014/main" id="{7FD05413-12B6-43FF-BB88-17F9FB533024}"/>
              </a:ext>
            </a:extLst>
          </p:cNvPr>
          <p:cNvSpPr/>
          <p:nvPr/>
        </p:nvSpPr>
        <p:spPr>
          <a:xfrm>
            <a:off x="1030514" y="918158"/>
            <a:ext cx="2328623" cy="5831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9EA460BD-9810-4A1F-9619-A60BD694CE5C}"/>
              </a:ext>
            </a:extLst>
          </p:cNvPr>
          <p:cNvSpPr/>
          <p:nvPr/>
        </p:nvSpPr>
        <p:spPr>
          <a:xfrm>
            <a:off x="1030514" y="1507158"/>
            <a:ext cx="2328623" cy="5831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8" name="Rectangle 14">
            <a:extLst>
              <a:ext uri="{FF2B5EF4-FFF2-40B4-BE49-F238E27FC236}">
                <a16:creationId xmlns:a16="http://schemas.microsoft.com/office/drawing/2014/main" id="{A7575AAC-B5DD-44FD-9502-F0F2AEC98380}"/>
              </a:ext>
            </a:extLst>
          </p:cNvPr>
          <p:cNvSpPr/>
          <p:nvPr/>
        </p:nvSpPr>
        <p:spPr>
          <a:xfrm>
            <a:off x="1030514" y="2092271"/>
            <a:ext cx="2328623" cy="5831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9" name="Rectangle 15">
            <a:extLst>
              <a:ext uri="{FF2B5EF4-FFF2-40B4-BE49-F238E27FC236}">
                <a16:creationId xmlns:a16="http://schemas.microsoft.com/office/drawing/2014/main" id="{CEF02918-C77F-46F5-B422-D68262961D18}"/>
              </a:ext>
            </a:extLst>
          </p:cNvPr>
          <p:cNvSpPr/>
          <p:nvPr/>
        </p:nvSpPr>
        <p:spPr>
          <a:xfrm>
            <a:off x="1030514" y="2677384"/>
            <a:ext cx="2328623" cy="5831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10" name="Rectangle 16">
            <a:extLst>
              <a:ext uri="{FF2B5EF4-FFF2-40B4-BE49-F238E27FC236}">
                <a16:creationId xmlns:a16="http://schemas.microsoft.com/office/drawing/2014/main" id="{F58FBB59-6BC3-4A91-93E4-AD272056FE61}"/>
              </a:ext>
            </a:extLst>
          </p:cNvPr>
          <p:cNvSpPr/>
          <p:nvPr/>
        </p:nvSpPr>
        <p:spPr>
          <a:xfrm>
            <a:off x="1030514" y="3262497"/>
            <a:ext cx="2328623" cy="5831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11" name="Rectangle 17">
            <a:extLst>
              <a:ext uri="{FF2B5EF4-FFF2-40B4-BE49-F238E27FC236}">
                <a16:creationId xmlns:a16="http://schemas.microsoft.com/office/drawing/2014/main" id="{3780875D-ED67-40C9-86C4-2CDD0C362753}"/>
              </a:ext>
            </a:extLst>
          </p:cNvPr>
          <p:cNvSpPr/>
          <p:nvPr/>
        </p:nvSpPr>
        <p:spPr>
          <a:xfrm>
            <a:off x="1030515" y="3847611"/>
            <a:ext cx="2299634" cy="5831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64C8BD7E-FD6A-4440-8A0D-BDE821896A38}"/>
              </a:ext>
            </a:extLst>
          </p:cNvPr>
          <p:cNvSpPr/>
          <p:nvPr/>
        </p:nvSpPr>
        <p:spPr>
          <a:xfrm>
            <a:off x="1008429" y="922046"/>
            <a:ext cx="1718740" cy="3347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75" b="1" i="0" u="none" strike="noStrike" kern="1200" cap="none" spc="0" normalizeH="0" baseline="0" noProof="0" dirty="0">
                <a:ln>
                  <a:noFill/>
                </a:ln>
                <a:solidFill>
                  <a:srgbClr val="0A73B4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Lifestyle</a:t>
            </a:r>
            <a:r>
              <a:rPr kumimoji="0" lang="en-GB" sz="1575" b="1" i="1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 </a:t>
            </a:r>
            <a:r>
              <a:rPr kumimoji="0" lang="en-GB" sz="1575" b="1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Start-up</a:t>
            </a: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69DFC10C-4BF5-400A-820A-8840DD86C670}"/>
              </a:ext>
            </a:extLst>
          </p:cNvPr>
          <p:cNvSpPr/>
          <p:nvPr/>
        </p:nvSpPr>
        <p:spPr>
          <a:xfrm>
            <a:off x="1008429" y="1505175"/>
            <a:ext cx="2300630" cy="3347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75" b="1" i="0" u="none" strike="noStrike" kern="1200" cap="none" spc="0" normalizeH="0" baseline="0" noProof="0" dirty="0">
                <a:ln>
                  <a:noFill/>
                </a:ln>
                <a:solidFill>
                  <a:srgbClr val="0A73B4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Small company</a:t>
            </a:r>
            <a:r>
              <a:rPr kumimoji="0" lang="en-GB" sz="1575" b="1" i="1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 </a:t>
            </a:r>
            <a:r>
              <a:rPr kumimoji="0" lang="en-GB" sz="1575" b="1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Start-up</a:t>
            </a: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CB93FD35-27C1-4973-AD8E-3D409985BAAD}"/>
              </a:ext>
            </a:extLst>
          </p:cNvPr>
          <p:cNvSpPr/>
          <p:nvPr/>
        </p:nvSpPr>
        <p:spPr>
          <a:xfrm>
            <a:off x="1008429" y="2088305"/>
            <a:ext cx="2550698" cy="3347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75" b="1" i="0" u="none" strike="noStrike" kern="1200" cap="none" spc="0" normalizeH="0" baseline="0" noProof="0" dirty="0">
                <a:ln>
                  <a:noFill/>
                </a:ln>
                <a:solidFill>
                  <a:srgbClr val="0A73B4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Scalable</a:t>
            </a:r>
            <a:r>
              <a:rPr kumimoji="0" lang="en-GB" sz="1575" b="1" i="1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 </a:t>
            </a:r>
            <a:r>
              <a:rPr kumimoji="0" lang="en-GB" sz="1575" b="1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Start-up (Scaleup)</a:t>
            </a: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17" name="Rectangle 7">
            <a:extLst>
              <a:ext uri="{FF2B5EF4-FFF2-40B4-BE49-F238E27FC236}">
                <a16:creationId xmlns:a16="http://schemas.microsoft.com/office/drawing/2014/main" id="{23CDE864-8ED5-4771-9014-902D04A9B5B3}"/>
              </a:ext>
            </a:extLst>
          </p:cNvPr>
          <p:cNvSpPr/>
          <p:nvPr/>
        </p:nvSpPr>
        <p:spPr>
          <a:xfrm>
            <a:off x="1008429" y="2671435"/>
            <a:ext cx="1662635" cy="3347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75" b="1" i="0" u="none" strike="noStrike" kern="1200" cap="none" spc="0" normalizeH="0" baseline="0" noProof="0" dirty="0">
                <a:ln>
                  <a:noFill/>
                </a:ln>
                <a:solidFill>
                  <a:srgbClr val="0A73B4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Sellable</a:t>
            </a:r>
            <a:r>
              <a:rPr kumimoji="0" lang="en-GB" sz="1575" b="1" i="1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 </a:t>
            </a:r>
            <a:r>
              <a:rPr kumimoji="0" lang="en-GB" sz="1575" b="1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Start-up</a:t>
            </a: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0A551DA2-8A1F-4E01-A6B2-1B9B1A05435C}"/>
              </a:ext>
            </a:extLst>
          </p:cNvPr>
          <p:cNvSpPr/>
          <p:nvPr/>
        </p:nvSpPr>
        <p:spPr>
          <a:xfrm>
            <a:off x="1008429" y="3837695"/>
            <a:ext cx="1487908" cy="3347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75" b="1" i="0" u="none" strike="noStrike" kern="1200" cap="none" spc="0" normalizeH="0" baseline="0" noProof="0" dirty="0">
                <a:ln>
                  <a:noFill/>
                </a:ln>
                <a:solidFill>
                  <a:srgbClr val="0A73B4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Social</a:t>
            </a:r>
            <a:r>
              <a:rPr kumimoji="0" lang="en-GB" sz="1575" b="1" i="1" u="none" strike="noStrike" kern="1200" cap="none" spc="0" normalizeH="0" baseline="0" noProof="0" dirty="0">
                <a:ln>
                  <a:noFill/>
                </a:ln>
                <a:solidFill>
                  <a:srgbClr val="0A73B4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 </a:t>
            </a:r>
            <a:r>
              <a:rPr kumimoji="0" lang="en-GB" sz="1575" b="1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Start-up</a:t>
            </a: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19" name="Rectangle 9">
            <a:extLst>
              <a:ext uri="{FF2B5EF4-FFF2-40B4-BE49-F238E27FC236}">
                <a16:creationId xmlns:a16="http://schemas.microsoft.com/office/drawing/2014/main" id="{D10C87BC-0938-4254-B53A-3F53AD311396}"/>
              </a:ext>
            </a:extLst>
          </p:cNvPr>
          <p:cNvSpPr/>
          <p:nvPr/>
        </p:nvSpPr>
        <p:spPr>
          <a:xfrm>
            <a:off x="1008429" y="3254564"/>
            <a:ext cx="1879041" cy="3347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75" b="1" i="0" u="none" strike="noStrike" kern="1200" cap="none" spc="0" normalizeH="0" baseline="0" noProof="0" dirty="0">
                <a:ln>
                  <a:noFill/>
                </a:ln>
                <a:solidFill>
                  <a:srgbClr val="0A73B4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Corporate</a:t>
            </a:r>
            <a:r>
              <a:rPr kumimoji="0" lang="en-GB" sz="1575" b="1" i="1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 </a:t>
            </a:r>
            <a:r>
              <a:rPr kumimoji="0" lang="en-GB" sz="1575" b="1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Start-up </a:t>
            </a: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20" name="Rectangle 18">
            <a:extLst>
              <a:ext uri="{FF2B5EF4-FFF2-40B4-BE49-F238E27FC236}">
                <a16:creationId xmlns:a16="http://schemas.microsoft.com/office/drawing/2014/main" id="{79985C22-2A97-4E39-A6F9-077725BDA3FE}"/>
              </a:ext>
            </a:extLst>
          </p:cNvPr>
          <p:cNvSpPr/>
          <p:nvPr/>
        </p:nvSpPr>
        <p:spPr>
          <a:xfrm>
            <a:off x="3330149" y="918158"/>
            <a:ext cx="4272387" cy="5831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21" name="Rectangle 19">
            <a:extLst>
              <a:ext uri="{FF2B5EF4-FFF2-40B4-BE49-F238E27FC236}">
                <a16:creationId xmlns:a16="http://schemas.microsoft.com/office/drawing/2014/main" id="{947F8028-6287-4703-9456-AB2B555835FE}"/>
              </a:ext>
            </a:extLst>
          </p:cNvPr>
          <p:cNvSpPr/>
          <p:nvPr/>
        </p:nvSpPr>
        <p:spPr>
          <a:xfrm>
            <a:off x="3330149" y="1507158"/>
            <a:ext cx="4272387" cy="5831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22" name="Rectangle 20">
            <a:extLst>
              <a:ext uri="{FF2B5EF4-FFF2-40B4-BE49-F238E27FC236}">
                <a16:creationId xmlns:a16="http://schemas.microsoft.com/office/drawing/2014/main" id="{62C930A3-3B6B-4CC2-8BBD-5AFAAD1E8DB7}"/>
              </a:ext>
            </a:extLst>
          </p:cNvPr>
          <p:cNvSpPr/>
          <p:nvPr/>
        </p:nvSpPr>
        <p:spPr>
          <a:xfrm>
            <a:off x="3330149" y="2092271"/>
            <a:ext cx="4272387" cy="5831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23" name="Rectangle 21">
            <a:extLst>
              <a:ext uri="{FF2B5EF4-FFF2-40B4-BE49-F238E27FC236}">
                <a16:creationId xmlns:a16="http://schemas.microsoft.com/office/drawing/2014/main" id="{88AD4A57-B978-4F95-BEDB-A72A0F8C9322}"/>
              </a:ext>
            </a:extLst>
          </p:cNvPr>
          <p:cNvSpPr/>
          <p:nvPr/>
        </p:nvSpPr>
        <p:spPr>
          <a:xfrm>
            <a:off x="3330149" y="2677384"/>
            <a:ext cx="4272387" cy="5831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24" name="Rectangle 22">
            <a:extLst>
              <a:ext uri="{FF2B5EF4-FFF2-40B4-BE49-F238E27FC236}">
                <a16:creationId xmlns:a16="http://schemas.microsoft.com/office/drawing/2014/main" id="{8C82AD56-12B0-4009-A737-960B561BC9BC}"/>
              </a:ext>
            </a:extLst>
          </p:cNvPr>
          <p:cNvSpPr/>
          <p:nvPr/>
        </p:nvSpPr>
        <p:spPr>
          <a:xfrm>
            <a:off x="3330149" y="3262497"/>
            <a:ext cx="4272387" cy="5831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25" name="Rectangle 23">
            <a:extLst>
              <a:ext uri="{FF2B5EF4-FFF2-40B4-BE49-F238E27FC236}">
                <a16:creationId xmlns:a16="http://schemas.microsoft.com/office/drawing/2014/main" id="{EAA04CF6-B2AD-4700-A6C0-3750D8F1653B}"/>
              </a:ext>
            </a:extLst>
          </p:cNvPr>
          <p:cNvSpPr/>
          <p:nvPr/>
        </p:nvSpPr>
        <p:spPr>
          <a:xfrm>
            <a:off x="3330149" y="3847611"/>
            <a:ext cx="4272387" cy="5831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26" name="TextBox 24">
            <a:extLst>
              <a:ext uri="{FF2B5EF4-FFF2-40B4-BE49-F238E27FC236}">
                <a16:creationId xmlns:a16="http://schemas.microsoft.com/office/drawing/2014/main" id="{52C01C83-F787-4320-994C-EA56EFD4A59E}"/>
              </a:ext>
            </a:extLst>
          </p:cNvPr>
          <p:cNvSpPr txBox="1"/>
          <p:nvPr/>
        </p:nvSpPr>
        <p:spPr>
          <a:xfrm>
            <a:off x="1031091" y="1123650"/>
            <a:ext cx="183520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1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„Work for your passions“</a:t>
            </a:r>
          </a:p>
        </p:txBody>
      </p:sp>
      <p:sp>
        <p:nvSpPr>
          <p:cNvPr id="27" name="TextBox 25">
            <a:extLst>
              <a:ext uri="{FF2B5EF4-FFF2-40B4-BE49-F238E27FC236}">
                <a16:creationId xmlns:a16="http://schemas.microsoft.com/office/drawing/2014/main" id="{833E4F81-EB03-40E7-A847-ED5F81200ADF}"/>
              </a:ext>
            </a:extLst>
          </p:cNvPr>
          <p:cNvSpPr txBox="1"/>
          <p:nvPr/>
        </p:nvSpPr>
        <p:spPr>
          <a:xfrm>
            <a:off x="1031091" y="1695980"/>
            <a:ext cx="183520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1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„Work to feed your family“</a:t>
            </a:r>
          </a:p>
        </p:txBody>
      </p:sp>
      <p:sp>
        <p:nvSpPr>
          <p:cNvPr id="28" name="TextBox 26">
            <a:extLst>
              <a:ext uri="{FF2B5EF4-FFF2-40B4-BE49-F238E27FC236}">
                <a16:creationId xmlns:a16="http://schemas.microsoft.com/office/drawing/2014/main" id="{A0642E27-1A76-4C02-B42F-99E6B627928B}"/>
              </a:ext>
            </a:extLst>
          </p:cNvPr>
          <p:cNvSpPr txBox="1"/>
          <p:nvPr/>
        </p:nvSpPr>
        <p:spPr>
          <a:xfrm>
            <a:off x="1031091" y="2285060"/>
            <a:ext cx="183520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1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„Born to be large“</a:t>
            </a:r>
          </a:p>
        </p:txBody>
      </p:sp>
      <p:sp>
        <p:nvSpPr>
          <p:cNvPr id="29" name="TextBox 27">
            <a:extLst>
              <a:ext uri="{FF2B5EF4-FFF2-40B4-BE49-F238E27FC236}">
                <a16:creationId xmlns:a16="http://schemas.microsoft.com/office/drawing/2014/main" id="{8015FBE8-BCC4-4EEB-8871-265F5A839C6E}"/>
              </a:ext>
            </a:extLst>
          </p:cNvPr>
          <p:cNvSpPr txBox="1"/>
          <p:nvPr/>
        </p:nvSpPr>
        <p:spPr>
          <a:xfrm>
            <a:off x="1031091" y="2870173"/>
            <a:ext cx="183520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1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„Born to be sold“</a:t>
            </a:r>
          </a:p>
        </p:txBody>
      </p:sp>
      <p:sp>
        <p:nvSpPr>
          <p:cNvPr id="30" name="TextBox 28">
            <a:extLst>
              <a:ext uri="{FF2B5EF4-FFF2-40B4-BE49-F238E27FC236}">
                <a16:creationId xmlns:a16="http://schemas.microsoft.com/office/drawing/2014/main" id="{7C121A64-EB7A-470D-918E-F51F6645CC82}"/>
              </a:ext>
            </a:extLst>
          </p:cNvPr>
          <p:cNvSpPr txBox="1"/>
          <p:nvPr/>
        </p:nvSpPr>
        <p:spPr>
          <a:xfrm>
            <a:off x="1031091" y="3451253"/>
            <a:ext cx="183520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1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„Space to enable innovation“</a:t>
            </a:r>
          </a:p>
        </p:txBody>
      </p:sp>
      <p:sp>
        <p:nvSpPr>
          <p:cNvPr id="31" name="TextBox 29">
            <a:extLst>
              <a:ext uri="{FF2B5EF4-FFF2-40B4-BE49-F238E27FC236}">
                <a16:creationId xmlns:a16="http://schemas.microsoft.com/office/drawing/2014/main" id="{B3232E5F-53A2-4567-BFAA-15077FAC930A}"/>
              </a:ext>
            </a:extLst>
          </p:cNvPr>
          <p:cNvSpPr txBox="1"/>
          <p:nvPr/>
        </p:nvSpPr>
        <p:spPr>
          <a:xfrm>
            <a:off x="1031091" y="4038416"/>
            <a:ext cx="183520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050" b="0" i="1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„Born to do good things“</a:t>
            </a:r>
          </a:p>
        </p:txBody>
      </p:sp>
      <p:sp>
        <p:nvSpPr>
          <p:cNvPr id="32" name="Rounded Rectangle 30">
            <a:extLst>
              <a:ext uri="{FF2B5EF4-FFF2-40B4-BE49-F238E27FC236}">
                <a16:creationId xmlns:a16="http://schemas.microsoft.com/office/drawing/2014/main" id="{3D3CC70E-835C-4C3A-869A-7CD7E8C38ED2}"/>
              </a:ext>
            </a:extLst>
          </p:cNvPr>
          <p:cNvSpPr/>
          <p:nvPr/>
        </p:nvSpPr>
        <p:spPr>
          <a:xfrm>
            <a:off x="3392965" y="983006"/>
            <a:ext cx="855204" cy="43194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B4C800">
                    <a:lumMod val="5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sym typeface="Arial"/>
              </a:rPr>
              <a:t>Passion</a:t>
            </a:r>
          </a:p>
        </p:txBody>
      </p:sp>
      <p:sp>
        <p:nvSpPr>
          <p:cNvPr id="33" name="Rounded Rectangle 31">
            <a:extLst>
              <a:ext uri="{FF2B5EF4-FFF2-40B4-BE49-F238E27FC236}">
                <a16:creationId xmlns:a16="http://schemas.microsoft.com/office/drawing/2014/main" id="{564AD6C7-DFA7-40FE-8489-210BC831C93B}"/>
              </a:ext>
            </a:extLst>
          </p:cNvPr>
          <p:cNvSpPr/>
          <p:nvPr/>
        </p:nvSpPr>
        <p:spPr>
          <a:xfrm>
            <a:off x="4464013" y="983006"/>
            <a:ext cx="755909" cy="43194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B4C800">
                    <a:lumMod val="5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sym typeface="Arial"/>
              </a:rPr>
              <a:t>Start-up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6BBFB28F-C4AB-4BC5-9F4E-DDA5AA3BD635}"/>
              </a:ext>
            </a:extLst>
          </p:cNvPr>
          <p:cNvCxnSpPr>
            <a:cxnSpLocks/>
            <a:stCxn id="32" idx="3"/>
            <a:endCxn id="33" idx="1"/>
          </p:cNvCxnSpPr>
          <p:nvPr/>
        </p:nvCxnSpPr>
        <p:spPr>
          <a:xfrm>
            <a:off x="4248169" y="1198980"/>
            <a:ext cx="215844" cy="0"/>
          </a:xfrm>
          <a:prstGeom prst="straightConnector1">
            <a:avLst/>
          </a:prstGeom>
          <a:ln w="25400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urved Connector 35">
            <a:extLst>
              <a:ext uri="{FF2B5EF4-FFF2-40B4-BE49-F238E27FC236}">
                <a16:creationId xmlns:a16="http://schemas.microsoft.com/office/drawing/2014/main" id="{6E83ABDD-C9D7-4FD1-809B-EA3721B95F6A}"/>
              </a:ext>
            </a:extLst>
          </p:cNvPr>
          <p:cNvCxnSpPr>
            <a:cxnSpLocks/>
            <a:stCxn id="33" idx="3"/>
          </p:cNvCxnSpPr>
          <p:nvPr/>
        </p:nvCxnSpPr>
        <p:spPr>
          <a:xfrm flipH="1" flipV="1">
            <a:off x="5165928" y="1060513"/>
            <a:ext cx="53994" cy="138467"/>
          </a:xfrm>
          <a:prstGeom prst="curvedConnector4">
            <a:avLst>
              <a:gd name="adj1" fmla="val -317465"/>
              <a:gd name="adj2" fmla="val 172122"/>
            </a:avLst>
          </a:prstGeom>
          <a:ln w="25400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9">
            <a:extLst>
              <a:ext uri="{FF2B5EF4-FFF2-40B4-BE49-F238E27FC236}">
                <a16:creationId xmlns:a16="http://schemas.microsoft.com/office/drawing/2014/main" id="{8062A6E5-D373-4DB6-8CA3-7DC703AAF0B1}"/>
              </a:ext>
            </a:extLst>
          </p:cNvPr>
          <p:cNvSpPr txBox="1"/>
          <p:nvPr/>
        </p:nvSpPr>
        <p:spPr>
          <a:xfrm>
            <a:off x="5227375" y="1185887"/>
            <a:ext cx="53412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B4C800">
                    <a:lumMod val="5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repreat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B4C800">
                  <a:lumMod val="50000"/>
                </a:srgbClr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37" name="TextBox 40">
            <a:extLst>
              <a:ext uri="{FF2B5EF4-FFF2-40B4-BE49-F238E27FC236}">
                <a16:creationId xmlns:a16="http://schemas.microsoft.com/office/drawing/2014/main" id="{DF4B6091-64FB-4C92-B52B-A6EB7A2ED01C}"/>
              </a:ext>
            </a:extLst>
          </p:cNvPr>
          <p:cNvSpPr txBox="1"/>
          <p:nvPr/>
        </p:nvSpPr>
        <p:spPr>
          <a:xfrm>
            <a:off x="6022924" y="922045"/>
            <a:ext cx="157961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Example: Surf shop Start-up, wandering programmer, freelancer, etc.</a:t>
            </a:r>
          </a:p>
        </p:txBody>
      </p:sp>
      <p:sp>
        <p:nvSpPr>
          <p:cNvPr id="38" name="Rounded Rectangle 41">
            <a:extLst>
              <a:ext uri="{FF2B5EF4-FFF2-40B4-BE49-F238E27FC236}">
                <a16:creationId xmlns:a16="http://schemas.microsoft.com/office/drawing/2014/main" id="{94DCD092-A7E0-413C-80C9-350F53DA0979}"/>
              </a:ext>
            </a:extLst>
          </p:cNvPr>
          <p:cNvSpPr/>
          <p:nvPr/>
        </p:nvSpPr>
        <p:spPr>
          <a:xfrm>
            <a:off x="3405723" y="1582749"/>
            <a:ext cx="842446" cy="43194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B4C800">
                    <a:lumMod val="5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sym typeface="Arial"/>
              </a:rPr>
              <a:t>Start-up</a:t>
            </a:r>
          </a:p>
        </p:txBody>
      </p:sp>
      <p:sp>
        <p:nvSpPr>
          <p:cNvPr id="39" name="Rounded Rectangle 42">
            <a:extLst>
              <a:ext uri="{FF2B5EF4-FFF2-40B4-BE49-F238E27FC236}">
                <a16:creationId xmlns:a16="http://schemas.microsoft.com/office/drawing/2014/main" id="{84AF8A47-009C-4827-BCA0-F28E66C252AE}"/>
              </a:ext>
            </a:extLst>
          </p:cNvPr>
          <p:cNvSpPr/>
          <p:nvPr/>
        </p:nvSpPr>
        <p:spPr>
          <a:xfrm>
            <a:off x="4464013" y="1582749"/>
            <a:ext cx="755909" cy="43194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B4C800">
                    <a:lumMod val="5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sym typeface="Arial"/>
              </a:rPr>
              <a:t>SME</a:t>
            </a:r>
          </a:p>
        </p:txBody>
      </p:sp>
      <p:cxnSp>
        <p:nvCxnSpPr>
          <p:cNvPr id="40" name="Straight Arrow Connector 43">
            <a:extLst>
              <a:ext uri="{FF2B5EF4-FFF2-40B4-BE49-F238E27FC236}">
                <a16:creationId xmlns:a16="http://schemas.microsoft.com/office/drawing/2014/main" id="{EA4C12EF-A8D2-440E-8F20-8D1CACE57545}"/>
              </a:ext>
            </a:extLst>
          </p:cNvPr>
          <p:cNvCxnSpPr>
            <a:cxnSpLocks/>
            <a:stCxn id="38" idx="3"/>
            <a:endCxn id="39" idx="1"/>
          </p:cNvCxnSpPr>
          <p:nvPr/>
        </p:nvCxnSpPr>
        <p:spPr>
          <a:xfrm>
            <a:off x="4248169" y="1798723"/>
            <a:ext cx="215844" cy="0"/>
          </a:xfrm>
          <a:prstGeom prst="straightConnector1">
            <a:avLst/>
          </a:prstGeom>
          <a:ln w="25400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4">
            <a:extLst>
              <a:ext uri="{FF2B5EF4-FFF2-40B4-BE49-F238E27FC236}">
                <a16:creationId xmlns:a16="http://schemas.microsoft.com/office/drawing/2014/main" id="{D2F3E460-E922-44FE-93EE-2AA1F56C88CA}"/>
              </a:ext>
            </a:extLst>
          </p:cNvPr>
          <p:cNvSpPr txBox="1"/>
          <p:nvPr/>
        </p:nvSpPr>
        <p:spPr>
          <a:xfrm>
            <a:off x="6022924" y="1507158"/>
            <a:ext cx="15796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Example: Barber, retailer, real estate broker, etc. </a:t>
            </a:r>
          </a:p>
        </p:txBody>
      </p:sp>
      <p:sp>
        <p:nvSpPr>
          <p:cNvPr id="42" name="TextBox 45">
            <a:extLst>
              <a:ext uri="{FF2B5EF4-FFF2-40B4-BE49-F238E27FC236}">
                <a16:creationId xmlns:a16="http://schemas.microsoft.com/office/drawing/2014/main" id="{E976C7DE-7AE3-4B7A-B0FE-2B26B7CCA468}"/>
              </a:ext>
            </a:extLst>
          </p:cNvPr>
          <p:cNvSpPr txBox="1"/>
          <p:nvPr/>
        </p:nvSpPr>
        <p:spPr>
          <a:xfrm>
            <a:off x="5227375" y="1625639"/>
            <a:ext cx="7955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B4C800">
                    <a:lumMod val="5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97% of all Start-ups</a:t>
            </a:r>
          </a:p>
        </p:txBody>
      </p:sp>
      <p:sp>
        <p:nvSpPr>
          <p:cNvPr id="43" name="Rounded Rectangle 46">
            <a:extLst>
              <a:ext uri="{FF2B5EF4-FFF2-40B4-BE49-F238E27FC236}">
                <a16:creationId xmlns:a16="http://schemas.microsoft.com/office/drawing/2014/main" id="{BE4530BE-5103-4DAE-9086-3FA7B7BECE88}"/>
              </a:ext>
            </a:extLst>
          </p:cNvPr>
          <p:cNvSpPr/>
          <p:nvPr/>
        </p:nvSpPr>
        <p:spPr>
          <a:xfrm>
            <a:off x="3392965" y="2167862"/>
            <a:ext cx="855204" cy="43194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B4C800">
                    <a:lumMod val="5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sym typeface="Arial"/>
              </a:rPr>
              <a:t>Start-up</a:t>
            </a:r>
          </a:p>
        </p:txBody>
      </p:sp>
      <p:sp>
        <p:nvSpPr>
          <p:cNvPr id="44" name="Rounded Rectangle 47">
            <a:extLst>
              <a:ext uri="{FF2B5EF4-FFF2-40B4-BE49-F238E27FC236}">
                <a16:creationId xmlns:a16="http://schemas.microsoft.com/office/drawing/2014/main" id="{F394532E-BF1D-4FB3-8371-5A7C63A6E6EC}"/>
              </a:ext>
            </a:extLst>
          </p:cNvPr>
          <p:cNvSpPr/>
          <p:nvPr/>
        </p:nvSpPr>
        <p:spPr>
          <a:xfrm>
            <a:off x="4464013" y="2167862"/>
            <a:ext cx="1002329" cy="43194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B4C800">
                    <a:lumMod val="5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sym typeface="Arial"/>
              </a:rPr>
              <a:t>Corporate</a:t>
            </a:r>
          </a:p>
        </p:txBody>
      </p:sp>
      <p:cxnSp>
        <p:nvCxnSpPr>
          <p:cNvPr id="45" name="Straight Arrow Connector 48">
            <a:extLst>
              <a:ext uri="{FF2B5EF4-FFF2-40B4-BE49-F238E27FC236}">
                <a16:creationId xmlns:a16="http://schemas.microsoft.com/office/drawing/2014/main" id="{09D03723-AEC3-4363-BB9D-BAE70F7A6AD7}"/>
              </a:ext>
            </a:extLst>
          </p:cNvPr>
          <p:cNvCxnSpPr>
            <a:cxnSpLocks/>
            <a:stCxn id="43" idx="3"/>
            <a:endCxn id="44" idx="1"/>
          </p:cNvCxnSpPr>
          <p:nvPr/>
        </p:nvCxnSpPr>
        <p:spPr>
          <a:xfrm>
            <a:off x="4248169" y="2383836"/>
            <a:ext cx="215844" cy="0"/>
          </a:xfrm>
          <a:prstGeom prst="straightConnector1">
            <a:avLst/>
          </a:prstGeom>
          <a:ln w="25400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51">
            <a:extLst>
              <a:ext uri="{FF2B5EF4-FFF2-40B4-BE49-F238E27FC236}">
                <a16:creationId xmlns:a16="http://schemas.microsoft.com/office/drawing/2014/main" id="{E1BE323F-ABE4-458C-AFC6-758F43AD9CED}"/>
              </a:ext>
            </a:extLst>
          </p:cNvPr>
          <p:cNvSpPr txBox="1"/>
          <p:nvPr/>
        </p:nvSpPr>
        <p:spPr>
          <a:xfrm>
            <a:off x="6022924" y="2111975"/>
            <a:ext cx="157961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Example: Google, Facebook,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Zaland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, Salesforce.com, Genentech, etc. </a:t>
            </a:r>
          </a:p>
        </p:txBody>
      </p:sp>
      <p:sp>
        <p:nvSpPr>
          <p:cNvPr id="47" name="Rounded Rectangle 59">
            <a:extLst>
              <a:ext uri="{FF2B5EF4-FFF2-40B4-BE49-F238E27FC236}">
                <a16:creationId xmlns:a16="http://schemas.microsoft.com/office/drawing/2014/main" id="{C3613364-7167-48F6-95DE-D6074BBBCDAA}"/>
              </a:ext>
            </a:extLst>
          </p:cNvPr>
          <p:cNvSpPr/>
          <p:nvPr/>
        </p:nvSpPr>
        <p:spPr>
          <a:xfrm>
            <a:off x="3418101" y="2752975"/>
            <a:ext cx="721952" cy="43194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75" b="0" i="0" u="none" strike="noStrike" kern="1200" cap="none" spc="0" normalizeH="0" baseline="0" noProof="0" dirty="0">
                <a:ln>
                  <a:noFill/>
                </a:ln>
                <a:solidFill>
                  <a:srgbClr val="B4C800">
                    <a:lumMod val="5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sym typeface="Arial"/>
              </a:rPr>
              <a:t>Start-up</a:t>
            </a:r>
          </a:p>
        </p:txBody>
      </p:sp>
      <p:cxnSp>
        <p:nvCxnSpPr>
          <p:cNvPr id="48" name="Straight Arrow Connector 61">
            <a:extLst>
              <a:ext uri="{FF2B5EF4-FFF2-40B4-BE49-F238E27FC236}">
                <a16:creationId xmlns:a16="http://schemas.microsoft.com/office/drawing/2014/main" id="{52B90EF3-F3E0-42E1-9189-691B19DAA48D}"/>
              </a:ext>
            </a:extLst>
          </p:cNvPr>
          <p:cNvCxnSpPr>
            <a:endCxn id="50" idx="1"/>
          </p:cNvCxnSpPr>
          <p:nvPr/>
        </p:nvCxnSpPr>
        <p:spPr>
          <a:xfrm>
            <a:off x="4949824" y="2968949"/>
            <a:ext cx="161488" cy="0"/>
          </a:xfrm>
          <a:prstGeom prst="straightConnector1">
            <a:avLst/>
          </a:prstGeom>
          <a:ln w="25400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64">
            <a:extLst>
              <a:ext uri="{FF2B5EF4-FFF2-40B4-BE49-F238E27FC236}">
                <a16:creationId xmlns:a16="http://schemas.microsoft.com/office/drawing/2014/main" id="{C31EBD73-EF26-43DD-822A-BA42975A5499}"/>
              </a:ext>
            </a:extLst>
          </p:cNvPr>
          <p:cNvSpPr/>
          <p:nvPr/>
        </p:nvSpPr>
        <p:spPr>
          <a:xfrm>
            <a:off x="4302032" y="2752975"/>
            <a:ext cx="647792" cy="43194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B4C800">
                    <a:lumMod val="5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sym typeface="Arial"/>
              </a:rPr>
              <a:t>VC</a:t>
            </a:r>
          </a:p>
        </p:txBody>
      </p:sp>
      <p:sp>
        <p:nvSpPr>
          <p:cNvPr id="50" name="Rounded Rectangle 65">
            <a:extLst>
              <a:ext uri="{FF2B5EF4-FFF2-40B4-BE49-F238E27FC236}">
                <a16:creationId xmlns:a16="http://schemas.microsoft.com/office/drawing/2014/main" id="{1EEE76A0-AFE0-4A13-8F6D-026160361A44}"/>
              </a:ext>
            </a:extLst>
          </p:cNvPr>
          <p:cNvSpPr/>
          <p:nvPr/>
        </p:nvSpPr>
        <p:spPr>
          <a:xfrm>
            <a:off x="5111312" y="2752975"/>
            <a:ext cx="647792" cy="43194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B4C800">
                    <a:lumMod val="5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sym typeface="Arial"/>
              </a:rPr>
              <a:t>Exit</a:t>
            </a:r>
          </a:p>
        </p:txBody>
      </p:sp>
      <p:sp>
        <p:nvSpPr>
          <p:cNvPr id="51" name="TextBox 68">
            <a:extLst>
              <a:ext uri="{FF2B5EF4-FFF2-40B4-BE49-F238E27FC236}">
                <a16:creationId xmlns:a16="http://schemas.microsoft.com/office/drawing/2014/main" id="{B15CF242-90FD-4689-8106-B59C08078C98}"/>
              </a:ext>
            </a:extLst>
          </p:cNvPr>
          <p:cNvSpPr txBox="1"/>
          <p:nvPr/>
        </p:nvSpPr>
        <p:spPr>
          <a:xfrm>
            <a:off x="4094114" y="2795865"/>
            <a:ext cx="3145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B4C800">
                    <a:lumMod val="5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+</a:t>
            </a:r>
          </a:p>
        </p:txBody>
      </p:sp>
      <p:sp>
        <p:nvSpPr>
          <p:cNvPr id="52" name="TextBox 69">
            <a:extLst>
              <a:ext uri="{FF2B5EF4-FFF2-40B4-BE49-F238E27FC236}">
                <a16:creationId xmlns:a16="http://schemas.microsoft.com/office/drawing/2014/main" id="{3D5D2E9B-F927-4162-8D6A-13B97AB7AC3D}"/>
              </a:ext>
            </a:extLst>
          </p:cNvPr>
          <p:cNvSpPr txBox="1"/>
          <p:nvPr/>
        </p:nvSpPr>
        <p:spPr>
          <a:xfrm>
            <a:off x="6022924" y="2677384"/>
            <a:ext cx="157961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Example: WhatsApp, Tumblr, Kayak, Instagram, YouTube, etc.</a:t>
            </a:r>
          </a:p>
        </p:txBody>
      </p:sp>
      <p:sp>
        <p:nvSpPr>
          <p:cNvPr id="53" name="TextBox 70">
            <a:extLst>
              <a:ext uri="{FF2B5EF4-FFF2-40B4-BE49-F238E27FC236}">
                <a16:creationId xmlns:a16="http://schemas.microsoft.com/office/drawing/2014/main" id="{AE3FE59A-BF10-4972-91FA-FB72B800015A}"/>
              </a:ext>
            </a:extLst>
          </p:cNvPr>
          <p:cNvSpPr txBox="1"/>
          <p:nvPr/>
        </p:nvSpPr>
        <p:spPr>
          <a:xfrm>
            <a:off x="6022924" y="3254188"/>
            <a:ext cx="157961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Example: Siemens Corporate Ventures, Bosch Ventures, etc.</a:t>
            </a:r>
          </a:p>
        </p:txBody>
      </p:sp>
      <p:sp>
        <p:nvSpPr>
          <p:cNvPr id="54" name="TextBox 71">
            <a:extLst>
              <a:ext uri="{FF2B5EF4-FFF2-40B4-BE49-F238E27FC236}">
                <a16:creationId xmlns:a16="http://schemas.microsoft.com/office/drawing/2014/main" id="{7D17D6CB-4CC9-4613-BD3D-7FC9F9CF4D44}"/>
              </a:ext>
            </a:extLst>
          </p:cNvPr>
          <p:cNvSpPr txBox="1"/>
          <p:nvPr/>
        </p:nvSpPr>
        <p:spPr>
          <a:xfrm>
            <a:off x="6022924" y="3843577"/>
            <a:ext cx="157961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Example: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Ashoka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,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BioLite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,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Envirofit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,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Milaap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,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TerraCycle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, etc.</a:t>
            </a:r>
          </a:p>
        </p:txBody>
      </p:sp>
      <p:cxnSp>
        <p:nvCxnSpPr>
          <p:cNvPr id="55" name="Straight Connector 73">
            <a:extLst>
              <a:ext uri="{FF2B5EF4-FFF2-40B4-BE49-F238E27FC236}">
                <a16:creationId xmlns:a16="http://schemas.microsoft.com/office/drawing/2014/main" id="{F70E0405-6854-4087-9DAE-04F8C3F001BA}"/>
              </a:ext>
            </a:extLst>
          </p:cNvPr>
          <p:cNvCxnSpPr/>
          <p:nvPr/>
        </p:nvCxnSpPr>
        <p:spPr>
          <a:xfrm flipV="1">
            <a:off x="5168785" y="1020015"/>
            <a:ext cx="84002" cy="24302"/>
          </a:xfrm>
          <a:prstGeom prst="line">
            <a:avLst/>
          </a:prstGeom>
          <a:ln w="254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ounded Rectangle 77">
            <a:extLst>
              <a:ext uri="{FF2B5EF4-FFF2-40B4-BE49-F238E27FC236}">
                <a16:creationId xmlns:a16="http://schemas.microsoft.com/office/drawing/2014/main" id="{78C96141-BDA1-4A6C-8C0D-9271F7033F02}"/>
              </a:ext>
            </a:extLst>
          </p:cNvPr>
          <p:cNvSpPr/>
          <p:nvPr/>
        </p:nvSpPr>
        <p:spPr>
          <a:xfrm>
            <a:off x="3608189" y="3310812"/>
            <a:ext cx="1341635" cy="486499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377913"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B4C800">
                    <a:lumMod val="5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sym typeface="Arial"/>
              </a:rPr>
              <a:t>Corporate</a:t>
            </a:r>
          </a:p>
        </p:txBody>
      </p:sp>
      <p:sp>
        <p:nvSpPr>
          <p:cNvPr id="57" name="Rounded Rectangle 76">
            <a:extLst>
              <a:ext uri="{FF2B5EF4-FFF2-40B4-BE49-F238E27FC236}">
                <a16:creationId xmlns:a16="http://schemas.microsoft.com/office/drawing/2014/main" id="{7674123F-A5C9-4F42-A9E6-DFE8D50C82D0}"/>
              </a:ext>
            </a:extLst>
          </p:cNvPr>
          <p:cNvSpPr/>
          <p:nvPr/>
        </p:nvSpPr>
        <p:spPr>
          <a:xfrm>
            <a:off x="3857313" y="3498858"/>
            <a:ext cx="843384" cy="24294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B4C800">
                    <a:lumMod val="5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sym typeface="Arial"/>
              </a:rPr>
              <a:t>Start-up</a:t>
            </a:r>
          </a:p>
        </p:txBody>
      </p:sp>
      <p:sp>
        <p:nvSpPr>
          <p:cNvPr id="58" name="Rounded Rectangle 78">
            <a:extLst>
              <a:ext uri="{FF2B5EF4-FFF2-40B4-BE49-F238E27FC236}">
                <a16:creationId xmlns:a16="http://schemas.microsoft.com/office/drawing/2014/main" id="{405F4C83-0387-4899-AB7F-ADF1BAB96722}"/>
              </a:ext>
            </a:extLst>
          </p:cNvPr>
          <p:cNvSpPr/>
          <p:nvPr/>
        </p:nvSpPr>
        <p:spPr>
          <a:xfrm>
            <a:off x="3405723" y="3923202"/>
            <a:ext cx="842446" cy="43194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B4C800">
                    <a:lumMod val="50000"/>
                  </a:srgbClr>
                </a:solidFill>
                <a:effectLst/>
                <a:uLnTx/>
                <a:uFillTx/>
                <a:latin typeface="Titillium Web" panose="00000500000000000000" pitchFamily="2" charset="0"/>
                <a:sym typeface="Arial"/>
              </a:rPr>
              <a:t>Start-up</a:t>
            </a:r>
          </a:p>
        </p:txBody>
      </p:sp>
      <p:sp>
        <p:nvSpPr>
          <p:cNvPr id="59" name="Rounded Rectangle 79">
            <a:extLst>
              <a:ext uri="{FF2B5EF4-FFF2-40B4-BE49-F238E27FC236}">
                <a16:creationId xmlns:a16="http://schemas.microsoft.com/office/drawing/2014/main" id="{38974D56-724E-4BDB-B034-549AF37E2727}"/>
              </a:ext>
            </a:extLst>
          </p:cNvPr>
          <p:cNvSpPr/>
          <p:nvPr/>
        </p:nvSpPr>
        <p:spPr>
          <a:xfrm>
            <a:off x="4464013" y="3923202"/>
            <a:ext cx="755909" cy="43194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B4C800">
                  <a:lumMod val="50000"/>
                </a:srgbClr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cxnSp>
        <p:nvCxnSpPr>
          <p:cNvPr id="60" name="Straight Arrow Connector 80">
            <a:extLst>
              <a:ext uri="{FF2B5EF4-FFF2-40B4-BE49-F238E27FC236}">
                <a16:creationId xmlns:a16="http://schemas.microsoft.com/office/drawing/2014/main" id="{86A08E7B-3812-4BA9-A0BF-4C7001E30FE8}"/>
              </a:ext>
            </a:extLst>
          </p:cNvPr>
          <p:cNvCxnSpPr>
            <a:cxnSpLocks/>
            <a:stCxn id="58" idx="3"/>
            <a:endCxn id="59" idx="1"/>
          </p:cNvCxnSpPr>
          <p:nvPr/>
        </p:nvCxnSpPr>
        <p:spPr>
          <a:xfrm>
            <a:off x="4248169" y="4139176"/>
            <a:ext cx="215844" cy="0"/>
          </a:xfrm>
          <a:prstGeom prst="straightConnector1">
            <a:avLst/>
          </a:prstGeom>
          <a:ln w="25400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Heart 81">
            <a:extLst>
              <a:ext uri="{FF2B5EF4-FFF2-40B4-BE49-F238E27FC236}">
                <a16:creationId xmlns:a16="http://schemas.microsoft.com/office/drawing/2014/main" id="{17B8FB3C-BCEE-49D4-BA67-6A5E945ABA15}"/>
              </a:ext>
            </a:extLst>
          </p:cNvPr>
          <p:cNvSpPr>
            <a:spLocks noChangeAspect="1"/>
          </p:cNvSpPr>
          <p:nvPr/>
        </p:nvSpPr>
        <p:spPr>
          <a:xfrm>
            <a:off x="4701567" y="4011463"/>
            <a:ext cx="280801" cy="255428"/>
          </a:xfrm>
          <a:prstGeom prst="heart">
            <a:avLst/>
          </a:prstGeom>
          <a:noFill/>
          <a:ln w="19050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57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3" name="Freeform 7">
            <a:extLst>
              <a:ext uri="{FF2B5EF4-FFF2-40B4-BE49-F238E27FC236}">
                <a16:creationId xmlns:a16="http://schemas.microsoft.com/office/drawing/2014/main" id="{B244464B-1BB6-D39D-7EF9-B6C66BFCE400}"/>
              </a:ext>
            </a:extLst>
          </p:cNvPr>
          <p:cNvSpPr/>
          <p:nvPr/>
        </p:nvSpPr>
        <p:spPr>
          <a:xfrm>
            <a:off x="6110909" y="460258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80570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23;p32">
            <a:extLst>
              <a:ext uri="{FF2B5EF4-FFF2-40B4-BE49-F238E27FC236}">
                <a16:creationId xmlns:a16="http://schemas.microsoft.com/office/drawing/2014/main" id="{B855D884-7FE5-438D-816C-C8863676789B}"/>
              </a:ext>
            </a:extLst>
          </p:cNvPr>
          <p:cNvSpPr txBox="1">
            <a:spLocks/>
          </p:cNvSpPr>
          <p:nvPr/>
        </p:nvSpPr>
        <p:spPr>
          <a:xfrm>
            <a:off x="0" y="-1"/>
            <a:ext cx="9143999" cy="1171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indent="0" algn="ctr">
              <a:buFont typeface="Titillium Web"/>
              <a:buNone/>
            </a:pPr>
            <a:r>
              <a:rPr lang="en-US" sz="3200" b="1" dirty="0">
                <a:solidFill>
                  <a:srgbClr val="282669"/>
                </a:solidFill>
                <a:latin typeface="Titillium Web" panose="00000500000000000000" pitchFamily="2" charset="0"/>
              </a:rPr>
              <a:t>Many things need to go terribly well for a start-up to thrive, a well aligned team is key</a:t>
            </a:r>
            <a:endParaRPr lang="en-GB" sz="3200" b="1" dirty="0">
              <a:solidFill>
                <a:srgbClr val="282669"/>
              </a:solidFill>
              <a:latin typeface="Titillium Web" panose="00000500000000000000" pitchFamily="2" charset="0"/>
            </a:endParaRPr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DE2D58D2-A6E6-42B0-81B1-3C5A4C6C1C85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pic>
        <p:nvPicPr>
          <p:cNvPr id="5" name="Picture 45" descr="Fotolia_3412639_X">
            <a:extLst>
              <a:ext uri="{FF2B5EF4-FFF2-40B4-BE49-F238E27FC236}">
                <a16:creationId xmlns:a16="http://schemas.microsoft.com/office/drawing/2014/main" id="{E55CDB60-D70A-4C34-A3EE-18E204B80C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6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2239"/>
          <a:stretch>
            <a:fillRect/>
          </a:stretch>
        </p:blipFill>
        <p:spPr bwMode="auto">
          <a:xfrm>
            <a:off x="5700723" y="1186562"/>
            <a:ext cx="4011832" cy="3048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platzhalter 2">
            <a:extLst>
              <a:ext uri="{FF2B5EF4-FFF2-40B4-BE49-F238E27FC236}">
                <a16:creationId xmlns:a16="http://schemas.microsoft.com/office/drawing/2014/main" id="{E21A4C4A-BD19-4936-AEFC-2196CCE069E2}"/>
              </a:ext>
            </a:extLst>
          </p:cNvPr>
          <p:cNvSpPr txBox="1">
            <a:spLocks/>
          </p:cNvSpPr>
          <p:nvPr/>
        </p:nvSpPr>
        <p:spPr>
          <a:xfrm>
            <a:off x="277651" y="904515"/>
            <a:ext cx="8352000" cy="243000"/>
          </a:xfrm>
          <a:prstGeom prst="rect">
            <a:avLst/>
          </a:prstGeom>
        </p:spPr>
        <p:txBody>
          <a:bodyPr vert="horz" lIns="81619" tIns="40809" rIns="81619" bIns="40809" rtlCol="0">
            <a:noAutofit/>
          </a:bodyPr>
          <a:lstStyle>
            <a:lvl1pPr marL="161532" indent="-161532" algn="l" defTabSz="816159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500" kern="1200">
                <a:solidFill>
                  <a:srgbClr val="4C4C4C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484594" indent="-161532" algn="l" defTabSz="816159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500" kern="1200">
                <a:solidFill>
                  <a:srgbClr val="4C4C4C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722641" indent="-161532" algn="l" defTabSz="816159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500" kern="1200">
                <a:solidFill>
                  <a:srgbClr val="4C4C4C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60686" indent="-161532" algn="l" defTabSz="816159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500" kern="1200">
                <a:solidFill>
                  <a:srgbClr val="4C4C4C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1198733" indent="-161532" algn="l" defTabSz="816159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1500" kern="1200">
                <a:solidFill>
                  <a:srgbClr val="4C4C4C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2244436" indent="-204039" algn="l" defTabSz="81615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2516" indent="-204039" algn="l" defTabSz="81615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60595" indent="-204039" algn="l" defTabSz="81615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8674" indent="-204039" algn="l" defTabSz="81615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053"/>
              </a:lnSpc>
              <a:buNone/>
            </a:pPr>
            <a:r>
              <a:rPr lang="en-GB" dirty="0">
                <a:solidFill>
                  <a:srgbClr val="282669"/>
                </a:solidFill>
                <a:latin typeface="Titillium Web" panose="00000500000000000000" pitchFamily="2" charset="0"/>
              </a:rPr>
              <a:t>Ingredients for a start-up </a:t>
            </a:r>
          </a:p>
        </p:txBody>
      </p:sp>
      <p:sp>
        <p:nvSpPr>
          <p:cNvPr id="7" name="Line 38">
            <a:extLst>
              <a:ext uri="{FF2B5EF4-FFF2-40B4-BE49-F238E27FC236}">
                <a16:creationId xmlns:a16="http://schemas.microsoft.com/office/drawing/2014/main" id="{08772980-F576-46C5-A1E8-67236D8FFFE3}"/>
              </a:ext>
            </a:extLst>
          </p:cNvPr>
          <p:cNvSpPr>
            <a:spLocks noChangeShapeType="1"/>
          </p:cNvSpPr>
          <p:nvPr/>
        </p:nvSpPr>
        <p:spPr bwMode="auto">
          <a:xfrm>
            <a:off x="568446" y="1687934"/>
            <a:ext cx="6370750" cy="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575" b="0" i="0" u="none" strike="noStrike" kern="1200" cap="none" spc="0" normalizeH="0" baseline="0" noProof="0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8" name="Line 39">
            <a:extLst>
              <a:ext uri="{FF2B5EF4-FFF2-40B4-BE49-F238E27FC236}">
                <a16:creationId xmlns:a16="http://schemas.microsoft.com/office/drawing/2014/main" id="{64870F3F-23EB-48FA-A579-1AAAF92F35D5}"/>
              </a:ext>
            </a:extLst>
          </p:cNvPr>
          <p:cNvSpPr>
            <a:spLocks noChangeShapeType="1"/>
          </p:cNvSpPr>
          <p:nvPr/>
        </p:nvSpPr>
        <p:spPr bwMode="auto">
          <a:xfrm>
            <a:off x="568446" y="4105534"/>
            <a:ext cx="6370750" cy="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575" b="0" i="0" u="none" strike="noStrike" kern="1200" cap="none" spc="0" normalizeH="0" baseline="0" noProof="0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9" name="Line 40">
            <a:extLst>
              <a:ext uri="{FF2B5EF4-FFF2-40B4-BE49-F238E27FC236}">
                <a16:creationId xmlns:a16="http://schemas.microsoft.com/office/drawing/2014/main" id="{66E11D49-3DF9-4DDC-81A5-4FAD28939E35}"/>
              </a:ext>
            </a:extLst>
          </p:cNvPr>
          <p:cNvSpPr>
            <a:spLocks noChangeShapeType="1"/>
          </p:cNvSpPr>
          <p:nvPr/>
        </p:nvSpPr>
        <p:spPr bwMode="auto">
          <a:xfrm>
            <a:off x="568446" y="3702005"/>
            <a:ext cx="6370750" cy="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575" b="0" i="0" u="none" strike="noStrike" kern="1200" cap="none" spc="0" normalizeH="0" baseline="0" noProof="0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10" name="Line 41">
            <a:extLst>
              <a:ext uri="{FF2B5EF4-FFF2-40B4-BE49-F238E27FC236}">
                <a16:creationId xmlns:a16="http://schemas.microsoft.com/office/drawing/2014/main" id="{83B3F03E-3107-4FF9-98D7-4EEAF62DA521}"/>
              </a:ext>
            </a:extLst>
          </p:cNvPr>
          <p:cNvSpPr>
            <a:spLocks noChangeShapeType="1"/>
          </p:cNvSpPr>
          <p:nvPr/>
        </p:nvSpPr>
        <p:spPr bwMode="auto">
          <a:xfrm>
            <a:off x="568446" y="3299667"/>
            <a:ext cx="6370750" cy="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575" b="0" i="0" u="none" strike="noStrike" kern="1200" cap="none" spc="0" normalizeH="0" baseline="0" noProof="0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11" name="Line 42">
            <a:extLst>
              <a:ext uri="{FF2B5EF4-FFF2-40B4-BE49-F238E27FC236}">
                <a16:creationId xmlns:a16="http://schemas.microsoft.com/office/drawing/2014/main" id="{18141EC4-A2A7-49B0-B76C-20B780F11A5E}"/>
              </a:ext>
            </a:extLst>
          </p:cNvPr>
          <p:cNvSpPr>
            <a:spLocks noChangeShapeType="1"/>
          </p:cNvSpPr>
          <p:nvPr/>
        </p:nvSpPr>
        <p:spPr bwMode="auto">
          <a:xfrm>
            <a:off x="568446" y="2896139"/>
            <a:ext cx="6370750" cy="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575" b="0" i="0" u="none" strike="noStrike" kern="1200" cap="none" spc="0" normalizeH="0" baseline="0" noProof="0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13" name="Line 43">
            <a:extLst>
              <a:ext uri="{FF2B5EF4-FFF2-40B4-BE49-F238E27FC236}">
                <a16:creationId xmlns:a16="http://schemas.microsoft.com/office/drawing/2014/main" id="{D4B09991-AA1A-4621-8480-E6C11291D57D}"/>
              </a:ext>
            </a:extLst>
          </p:cNvPr>
          <p:cNvSpPr>
            <a:spLocks noChangeShapeType="1"/>
          </p:cNvSpPr>
          <p:nvPr/>
        </p:nvSpPr>
        <p:spPr bwMode="auto">
          <a:xfrm>
            <a:off x="568446" y="2493801"/>
            <a:ext cx="6370750" cy="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575" b="0" i="0" u="none" strike="noStrike" kern="1200" cap="none" spc="0" normalizeH="0" baseline="0" noProof="0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15" name="Line 44">
            <a:extLst>
              <a:ext uri="{FF2B5EF4-FFF2-40B4-BE49-F238E27FC236}">
                <a16:creationId xmlns:a16="http://schemas.microsoft.com/office/drawing/2014/main" id="{86B6BDFF-0A2D-460E-80F5-5CD1E32D5240}"/>
              </a:ext>
            </a:extLst>
          </p:cNvPr>
          <p:cNvSpPr>
            <a:spLocks noChangeShapeType="1"/>
          </p:cNvSpPr>
          <p:nvPr/>
        </p:nvSpPr>
        <p:spPr bwMode="auto">
          <a:xfrm>
            <a:off x="568446" y="2090272"/>
            <a:ext cx="6370750" cy="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575" b="0" i="0" u="none" strike="noStrike" kern="1200" cap="none" spc="0" normalizeH="0" baseline="0" noProof="0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9088ED6A-8A35-47BA-BCAF-670D8B1BBBFE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8645" y="1754594"/>
            <a:ext cx="6000551" cy="261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EAEAEA"/>
                    </a:gs>
                    <a:gs pos="100000">
                      <a:srgbClr val="EAEAEA">
                        <a:gamma/>
                        <a:tint val="0"/>
                        <a:invGamma/>
                      </a:srgbClr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DDDDD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134969" tIns="26994" rIns="26994" bIns="26994" anchor="ctr"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200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altLang="de-DE" sz="1575" b="0" i="0" u="none" strike="noStrike" kern="1200" cap="none" spc="0" normalizeH="0" baseline="0" noProof="1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An idea for a business based on a market need</a:t>
            </a:r>
          </a:p>
        </p:txBody>
      </p:sp>
      <p:sp>
        <p:nvSpPr>
          <p:cNvPr id="17" name="Rectangle 7">
            <a:extLst>
              <a:ext uri="{FF2B5EF4-FFF2-40B4-BE49-F238E27FC236}">
                <a16:creationId xmlns:a16="http://schemas.microsoft.com/office/drawing/2014/main" id="{8C193929-9BF9-4E56-9C2F-79F2B25D338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8645" y="2156932"/>
            <a:ext cx="6000551" cy="261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EAEAEA"/>
                    </a:gs>
                    <a:gs pos="100000">
                      <a:srgbClr val="EAEAEA">
                        <a:gamma/>
                        <a:tint val="0"/>
                        <a:invGamma/>
                      </a:srgbClr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DDDDD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134969" tIns="26994" rIns="26994" bIns="26994" anchor="ctr"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200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altLang="de-DE" sz="1575" b="0" i="0" u="none" strike="noStrike" kern="1200" cap="none" spc="0" normalizeH="0" baseline="0" noProof="1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Enough resources (€) to demonstrate feasibility</a:t>
            </a: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51227EB4-AA8F-495F-ADA5-2F0942312846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8645" y="2559270"/>
            <a:ext cx="6000551" cy="261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EAEAEA"/>
                    </a:gs>
                    <a:gs pos="100000">
                      <a:srgbClr val="EAEAEA">
                        <a:gamma/>
                        <a:tint val="0"/>
                        <a:invGamma/>
                      </a:srgbClr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DDDDD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134969" tIns="26994" rIns="26994" bIns="26994" anchor="ctr"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575" b="0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“Nerves of steel”</a:t>
            </a:r>
          </a:p>
        </p:txBody>
      </p:sp>
      <p:sp>
        <p:nvSpPr>
          <p:cNvPr id="19" name="Rectangle 11">
            <a:extLst>
              <a:ext uri="{FF2B5EF4-FFF2-40B4-BE49-F238E27FC236}">
                <a16:creationId xmlns:a16="http://schemas.microsoft.com/office/drawing/2014/main" id="{6E57B07F-7197-4BD2-B0EF-36FE74B4629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8645" y="2961608"/>
            <a:ext cx="6000551" cy="261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EAEAEA"/>
                    </a:gs>
                    <a:gs pos="100000">
                      <a:srgbClr val="EAEAEA">
                        <a:gamma/>
                        <a:tint val="0"/>
                        <a:invGamma/>
                      </a:srgbClr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DDDDD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134969" tIns="26994" rIns="26994" bIns="26994" anchor="ctr"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altLang="de-DE" sz="1575" b="0" i="0" u="none" strike="noStrike" kern="1200" cap="none" spc="0" normalizeH="0" baseline="0" noProof="1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Good timing and positive market trends</a:t>
            </a:r>
          </a:p>
        </p:txBody>
      </p:sp>
      <p:sp>
        <p:nvSpPr>
          <p:cNvPr id="20" name="Rectangle 13">
            <a:extLst>
              <a:ext uri="{FF2B5EF4-FFF2-40B4-BE49-F238E27FC236}">
                <a16:creationId xmlns:a16="http://schemas.microsoft.com/office/drawing/2014/main" id="{DC062E6B-5BB9-4F36-ADAD-99F54B8E8B08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8645" y="3363946"/>
            <a:ext cx="6000551" cy="261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EAEAEA"/>
                    </a:gs>
                    <a:gs pos="100000">
                      <a:srgbClr val="EAEAEA">
                        <a:gamma/>
                        <a:tint val="0"/>
                        <a:invGamma/>
                      </a:srgbClr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DDDDD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134969" tIns="26994" rIns="26994" bIns="26994" anchor="ctr"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200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de-DE" altLang="de-DE" sz="1575" b="0" i="0" u="none" strike="noStrike" kern="1200" cap="none" spc="0" normalizeH="0" baseline="0" noProof="1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Superior features than alternatives</a:t>
            </a:r>
          </a:p>
        </p:txBody>
      </p:sp>
      <p:sp>
        <p:nvSpPr>
          <p:cNvPr id="21" name="Rectangle 15">
            <a:extLst>
              <a:ext uri="{FF2B5EF4-FFF2-40B4-BE49-F238E27FC236}">
                <a16:creationId xmlns:a16="http://schemas.microsoft.com/office/drawing/2014/main" id="{E5E3FD45-1E90-4B07-9F6C-C9A6D664B3DB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8645" y="3766284"/>
            <a:ext cx="6000551" cy="261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EAEAEA"/>
                    </a:gs>
                    <a:gs pos="100000">
                      <a:srgbClr val="EAEAEA">
                        <a:gamma/>
                        <a:tint val="0"/>
                        <a:invGamma/>
                      </a:srgbClr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DDDDD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134969" tIns="26994" rIns="26994" bIns="26994" anchor="ctr"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200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altLang="de-DE" sz="1575" b="0" i="0" u="none" strike="noStrike" kern="1200" cap="none" spc="0" normalizeH="0" baseline="0" noProof="1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…</a:t>
            </a: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0A9C5EC4-3C85-47E2-836A-D483A9B81671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8645" y="4168622"/>
            <a:ext cx="6000551" cy="261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EAEAEA"/>
                    </a:gs>
                    <a:gs pos="100000">
                      <a:srgbClr val="EAEAEA">
                        <a:gamma/>
                        <a:tint val="0"/>
                        <a:invGamma/>
                      </a:srgbClr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DDDDD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134969" tIns="26994" rIns="26994" bIns="26994" anchor="ctr"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2000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500" b="0" i="0" u="none" strike="noStrike" kern="1200" cap="none" spc="0" normalizeH="0" baseline="0" noProof="1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23" name="Rectangle 19">
            <a:extLst>
              <a:ext uri="{FF2B5EF4-FFF2-40B4-BE49-F238E27FC236}">
                <a16:creationId xmlns:a16="http://schemas.microsoft.com/office/drawing/2014/main" id="{CFBD5405-DC7D-4369-AFD5-073ADC57EF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8645" y="1352255"/>
            <a:ext cx="6000551" cy="261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EAEAEA"/>
                    </a:gs>
                    <a:gs pos="100000">
                      <a:srgbClr val="EAEAEA">
                        <a:gamma/>
                        <a:tint val="0"/>
                        <a:invGamma/>
                      </a:srgbClr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DDDDD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134969" tIns="26994" rIns="26994" bIns="26994" anchor="ctr"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200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altLang="de-DE" sz="1575" b="0" i="0" u="none" strike="noStrike" kern="1200" cap="none" spc="0" normalizeH="0" baseline="0" noProof="1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A good, well aligned team</a:t>
            </a:r>
          </a:p>
        </p:txBody>
      </p:sp>
      <p:sp>
        <p:nvSpPr>
          <p:cNvPr id="24" name="Rectangle 22">
            <a:extLst>
              <a:ext uri="{FF2B5EF4-FFF2-40B4-BE49-F238E27FC236}">
                <a16:creationId xmlns:a16="http://schemas.microsoft.com/office/drawing/2014/main" id="{DCDA4BF9-712E-44EB-819E-2DD030C1A0B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5746" y="1767294"/>
            <a:ext cx="261877" cy="261877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C6C7C8">
                  <a:gamma/>
                  <a:tint val="10196"/>
                  <a:invGamma/>
                </a:srgbClr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575" b="1" i="0" u="none" strike="noStrike" kern="1200" cap="none" spc="0" normalizeH="0" baseline="0" noProof="0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25" name="Rectangle 23">
            <a:extLst>
              <a:ext uri="{FF2B5EF4-FFF2-40B4-BE49-F238E27FC236}">
                <a16:creationId xmlns:a16="http://schemas.microsoft.com/office/drawing/2014/main" id="{936B0CB3-A9AB-4E81-B941-7E0525869AD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5746" y="2169632"/>
            <a:ext cx="261877" cy="261877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C6C7C8">
                  <a:gamma/>
                  <a:tint val="10196"/>
                  <a:invGamma/>
                </a:srgbClr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575" b="1" i="0" u="none" strike="noStrike" kern="1200" cap="none" spc="0" normalizeH="0" baseline="0" noProof="0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26" name="Rectangle 24">
            <a:extLst>
              <a:ext uri="{FF2B5EF4-FFF2-40B4-BE49-F238E27FC236}">
                <a16:creationId xmlns:a16="http://schemas.microsoft.com/office/drawing/2014/main" id="{FFE5C49C-ADB8-4306-9089-2AFB8C5B32F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5746" y="2571970"/>
            <a:ext cx="261877" cy="261877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C6C7C8">
                  <a:gamma/>
                  <a:tint val="10196"/>
                  <a:invGamma/>
                </a:srgbClr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575" b="1" i="0" u="none" strike="noStrike" kern="1200" cap="none" spc="0" normalizeH="0" baseline="0" noProof="0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27" name="Rectangle 25">
            <a:extLst>
              <a:ext uri="{FF2B5EF4-FFF2-40B4-BE49-F238E27FC236}">
                <a16:creationId xmlns:a16="http://schemas.microsoft.com/office/drawing/2014/main" id="{097E0920-83B2-453B-A9F2-D10160FB76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5746" y="2974308"/>
            <a:ext cx="261877" cy="261877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C6C7C8">
                  <a:gamma/>
                  <a:tint val="10196"/>
                  <a:invGamma/>
                </a:srgbClr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575" b="1" i="0" u="none" strike="noStrike" kern="1200" cap="none" spc="0" normalizeH="0" baseline="0" noProof="0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28" name="Rectangle 26">
            <a:extLst>
              <a:ext uri="{FF2B5EF4-FFF2-40B4-BE49-F238E27FC236}">
                <a16:creationId xmlns:a16="http://schemas.microsoft.com/office/drawing/2014/main" id="{37ED67A2-2F1A-45C3-99D1-EA808B6D5073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5746" y="3376646"/>
            <a:ext cx="261877" cy="261877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C6C7C8">
                  <a:gamma/>
                  <a:tint val="10196"/>
                  <a:invGamma/>
                </a:srgbClr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575" b="1" i="0" u="none" strike="noStrike" kern="1200" cap="none" spc="0" normalizeH="0" baseline="0" noProof="0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29" name="Rectangle 27">
            <a:extLst>
              <a:ext uri="{FF2B5EF4-FFF2-40B4-BE49-F238E27FC236}">
                <a16:creationId xmlns:a16="http://schemas.microsoft.com/office/drawing/2014/main" id="{E5E242D5-A484-4A53-BCA3-284CF36D27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5746" y="3778984"/>
            <a:ext cx="261877" cy="261877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C6C7C8">
                  <a:gamma/>
                  <a:tint val="10196"/>
                  <a:invGamma/>
                </a:srgbClr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575" b="1" i="0" u="none" strike="noStrike" kern="1200" cap="none" spc="0" normalizeH="0" baseline="0" noProof="0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30" name="Rectangle 28">
            <a:extLst>
              <a:ext uri="{FF2B5EF4-FFF2-40B4-BE49-F238E27FC236}">
                <a16:creationId xmlns:a16="http://schemas.microsoft.com/office/drawing/2014/main" id="{7ED4C255-F130-4FC1-A0C5-D8D495286352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5746" y="4181322"/>
            <a:ext cx="261877" cy="261877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C6C7C8">
                  <a:gamma/>
                  <a:tint val="10196"/>
                  <a:invGamma/>
                </a:srgbClr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575" b="1" i="0" u="none" strike="noStrike" kern="1200" cap="none" spc="0" normalizeH="0" baseline="0" noProof="0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31" name="Rectangle 29">
            <a:extLst>
              <a:ext uri="{FF2B5EF4-FFF2-40B4-BE49-F238E27FC236}">
                <a16:creationId xmlns:a16="http://schemas.microsoft.com/office/drawing/2014/main" id="{50D986C7-01F3-469A-99F3-2A0BAEA0CCE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5746" y="1364955"/>
            <a:ext cx="261877" cy="261877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C6C7C8">
                  <a:gamma/>
                  <a:tint val="10196"/>
                  <a:invGamma/>
                </a:srgbClr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575" b="1" i="0" u="none" strike="noStrike" kern="1200" cap="none" spc="0" normalizeH="0" baseline="0" noProof="0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32" name="WordArt 68">
            <a:extLst>
              <a:ext uri="{FF2B5EF4-FFF2-40B4-BE49-F238E27FC236}">
                <a16:creationId xmlns:a16="http://schemas.microsoft.com/office/drawing/2014/main" id="{2E80F84E-AD8C-455E-8910-0E4E2CF6B4C4}"/>
              </a:ext>
            </a:extLst>
          </p:cNvPr>
          <p:cNvSpPr>
            <a:spLocks noChangeAspect="1" noChangeArrowheads="1" noChangeShapeType="1" noTextEdit="1"/>
          </p:cNvSpPr>
          <p:nvPr/>
        </p:nvSpPr>
        <p:spPr bwMode="gray">
          <a:xfrm>
            <a:off x="555746" y="1234017"/>
            <a:ext cx="395686" cy="361716"/>
          </a:xfrm>
          <a:prstGeom prst="rect">
            <a:avLst/>
          </a:prstGeom>
        </p:spPr>
        <p:txBody>
          <a:bodyPr wrap="none" numCol="1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de-DE" sz="2699" b="0" i="0" u="none" strike="noStrike" kern="10" cap="none" spc="0" normalizeH="0" baseline="0" noProof="0" dirty="0">
                <a:ln w="19050">
                  <a:solidFill>
                    <a:srgbClr val="4C7013"/>
                  </a:solidFill>
                  <a:round/>
                  <a:headEnd/>
                  <a:tailEnd/>
                </a:ln>
                <a:solidFill>
                  <a:srgbClr val="282669"/>
                </a:solidFill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</a:t>
            </a:r>
          </a:p>
        </p:txBody>
      </p:sp>
      <p:sp>
        <p:nvSpPr>
          <p:cNvPr id="33" name="WordArt 68">
            <a:extLst>
              <a:ext uri="{FF2B5EF4-FFF2-40B4-BE49-F238E27FC236}">
                <a16:creationId xmlns:a16="http://schemas.microsoft.com/office/drawing/2014/main" id="{C36B4354-0C8D-45B6-8994-EBD0CBCD48F9}"/>
              </a:ext>
            </a:extLst>
          </p:cNvPr>
          <p:cNvSpPr>
            <a:spLocks noChangeAspect="1" noChangeArrowheads="1" noChangeShapeType="1" noTextEdit="1"/>
          </p:cNvSpPr>
          <p:nvPr/>
        </p:nvSpPr>
        <p:spPr bwMode="gray">
          <a:xfrm>
            <a:off x="555746" y="1636547"/>
            <a:ext cx="395686" cy="361716"/>
          </a:xfrm>
          <a:prstGeom prst="rect">
            <a:avLst/>
          </a:prstGeom>
        </p:spPr>
        <p:txBody>
          <a:bodyPr wrap="none" numCol="1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de-DE" sz="2699" b="0" i="0" u="none" strike="noStrike" kern="10" cap="none" spc="0" normalizeH="0" baseline="0" noProof="0" dirty="0">
                <a:ln w="19050">
                  <a:solidFill>
                    <a:srgbClr val="4C7013"/>
                  </a:solidFill>
                  <a:round/>
                  <a:headEnd/>
                  <a:tailEnd/>
                </a:ln>
                <a:solidFill>
                  <a:srgbClr val="282669"/>
                </a:solidFill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</a:t>
            </a:r>
          </a:p>
        </p:txBody>
      </p:sp>
      <p:sp>
        <p:nvSpPr>
          <p:cNvPr id="34" name="WordArt 68">
            <a:extLst>
              <a:ext uri="{FF2B5EF4-FFF2-40B4-BE49-F238E27FC236}">
                <a16:creationId xmlns:a16="http://schemas.microsoft.com/office/drawing/2014/main" id="{2E388B91-09BE-40FB-B39D-9ADFDBBBC337}"/>
              </a:ext>
            </a:extLst>
          </p:cNvPr>
          <p:cNvSpPr>
            <a:spLocks noChangeAspect="1" noChangeArrowheads="1" noChangeShapeType="1" noTextEdit="1"/>
          </p:cNvSpPr>
          <p:nvPr/>
        </p:nvSpPr>
        <p:spPr bwMode="gray">
          <a:xfrm>
            <a:off x="555746" y="2039076"/>
            <a:ext cx="395686" cy="361716"/>
          </a:xfrm>
          <a:prstGeom prst="rect">
            <a:avLst/>
          </a:prstGeom>
        </p:spPr>
        <p:txBody>
          <a:bodyPr wrap="none" numCol="1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de-DE" sz="2699" b="0" i="0" u="none" strike="noStrike" kern="10" cap="none" spc="0" normalizeH="0" baseline="0" noProof="0" dirty="0">
                <a:ln w="19050">
                  <a:solidFill>
                    <a:srgbClr val="4C7013"/>
                  </a:solidFill>
                  <a:round/>
                  <a:headEnd/>
                  <a:tailEnd/>
                </a:ln>
                <a:solidFill>
                  <a:srgbClr val="282669"/>
                </a:solidFill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</a:t>
            </a:r>
          </a:p>
        </p:txBody>
      </p:sp>
      <p:sp>
        <p:nvSpPr>
          <p:cNvPr id="35" name="WordArt 68">
            <a:extLst>
              <a:ext uri="{FF2B5EF4-FFF2-40B4-BE49-F238E27FC236}">
                <a16:creationId xmlns:a16="http://schemas.microsoft.com/office/drawing/2014/main" id="{1D439827-068C-4B61-88B3-4FD9F2186A26}"/>
              </a:ext>
            </a:extLst>
          </p:cNvPr>
          <p:cNvSpPr>
            <a:spLocks noChangeAspect="1" noChangeArrowheads="1" noChangeShapeType="1" noTextEdit="1"/>
          </p:cNvSpPr>
          <p:nvPr/>
        </p:nvSpPr>
        <p:spPr bwMode="gray">
          <a:xfrm>
            <a:off x="555746" y="2441605"/>
            <a:ext cx="395686" cy="361716"/>
          </a:xfrm>
          <a:prstGeom prst="rect">
            <a:avLst/>
          </a:prstGeom>
        </p:spPr>
        <p:txBody>
          <a:bodyPr wrap="none" numCol="1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de-DE" sz="2699" b="0" i="0" u="none" strike="noStrike" kern="10" cap="none" spc="0" normalizeH="0" baseline="0" noProof="0" dirty="0">
                <a:ln w="19050">
                  <a:solidFill>
                    <a:srgbClr val="4C7013"/>
                  </a:solidFill>
                  <a:round/>
                  <a:headEnd/>
                  <a:tailEnd/>
                </a:ln>
                <a:solidFill>
                  <a:srgbClr val="282669"/>
                </a:solidFill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</a:t>
            </a:r>
          </a:p>
        </p:txBody>
      </p:sp>
      <p:sp>
        <p:nvSpPr>
          <p:cNvPr id="36" name="WordArt 68">
            <a:extLst>
              <a:ext uri="{FF2B5EF4-FFF2-40B4-BE49-F238E27FC236}">
                <a16:creationId xmlns:a16="http://schemas.microsoft.com/office/drawing/2014/main" id="{47FEBEF3-DD3A-4AF5-AE04-2364597AD1A3}"/>
              </a:ext>
            </a:extLst>
          </p:cNvPr>
          <p:cNvSpPr>
            <a:spLocks noChangeAspect="1" noChangeArrowheads="1" noChangeShapeType="1" noTextEdit="1"/>
          </p:cNvSpPr>
          <p:nvPr/>
        </p:nvSpPr>
        <p:spPr bwMode="gray">
          <a:xfrm>
            <a:off x="555746" y="2844135"/>
            <a:ext cx="395686" cy="361716"/>
          </a:xfrm>
          <a:prstGeom prst="rect">
            <a:avLst/>
          </a:prstGeom>
        </p:spPr>
        <p:txBody>
          <a:bodyPr wrap="none" numCol="1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de-DE" sz="2699" b="0" i="0" u="none" strike="noStrike" kern="10" cap="none" spc="0" normalizeH="0" baseline="0" noProof="0" dirty="0">
                <a:ln w="19050">
                  <a:solidFill>
                    <a:srgbClr val="4C7013"/>
                  </a:solidFill>
                  <a:round/>
                  <a:headEnd/>
                  <a:tailEnd/>
                </a:ln>
                <a:solidFill>
                  <a:srgbClr val="282669"/>
                </a:solidFill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</a:t>
            </a:r>
          </a:p>
        </p:txBody>
      </p:sp>
      <p:sp>
        <p:nvSpPr>
          <p:cNvPr id="37" name="WordArt 68">
            <a:extLst>
              <a:ext uri="{FF2B5EF4-FFF2-40B4-BE49-F238E27FC236}">
                <a16:creationId xmlns:a16="http://schemas.microsoft.com/office/drawing/2014/main" id="{2F5E49D0-DB6B-4D22-A2D9-42F02C757117}"/>
              </a:ext>
            </a:extLst>
          </p:cNvPr>
          <p:cNvSpPr>
            <a:spLocks noChangeAspect="1" noChangeArrowheads="1" noChangeShapeType="1" noTextEdit="1"/>
          </p:cNvSpPr>
          <p:nvPr/>
        </p:nvSpPr>
        <p:spPr bwMode="gray">
          <a:xfrm>
            <a:off x="555746" y="3246664"/>
            <a:ext cx="395686" cy="361716"/>
          </a:xfrm>
          <a:prstGeom prst="rect">
            <a:avLst/>
          </a:prstGeom>
        </p:spPr>
        <p:txBody>
          <a:bodyPr wrap="none" numCol="1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de-DE" sz="2699" b="0" i="0" u="none" strike="noStrike" kern="10" cap="none" spc="0" normalizeH="0" baseline="0" noProof="0" dirty="0">
                <a:ln w="19050">
                  <a:solidFill>
                    <a:srgbClr val="4C7013"/>
                  </a:solidFill>
                  <a:round/>
                  <a:headEnd/>
                  <a:tailEnd/>
                </a:ln>
                <a:solidFill>
                  <a:srgbClr val="282669"/>
                </a:solidFill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</a:t>
            </a:r>
          </a:p>
        </p:txBody>
      </p:sp>
      <p:sp>
        <p:nvSpPr>
          <p:cNvPr id="38" name="WordArt 68">
            <a:extLst>
              <a:ext uri="{FF2B5EF4-FFF2-40B4-BE49-F238E27FC236}">
                <a16:creationId xmlns:a16="http://schemas.microsoft.com/office/drawing/2014/main" id="{9D3D7903-E7DE-4932-844F-E28D987A92DA}"/>
              </a:ext>
            </a:extLst>
          </p:cNvPr>
          <p:cNvSpPr>
            <a:spLocks noChangeAspect="1" noChangeArrowheads="1" noChangeShapeType="1" noTextEdit="1"/>
          </p:cNvSpPr>
          <p:nvPr/>
        </p:nvSpPr>
        <p:spPr bwMode="gray">
          <a:xfrm>
            <a:off x="555746" y="3649193"/>
            <a:ext cx="395686" cy="361716"/>
          </a:xfrm>
          <a:prstGeom prst="rect">
            <a:avLst/>
          </a:prstGeom>
        </p:spPr>
        <p:txBody>
          <a:bodyPr wrap="none" numCol="1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de-DE" sz="2699" b="0" i="0" u="none" strike="noStrike" kern="10" cap="none" spc="0" normalizeH="0" baseline="0" noProof="0" dirty="0">
                <a:ln w="19050">
                  <a:solidFill>
                    <a:srgbClr val="4C7013"/>
                  </a:solidFill>
                  <a:round/>
                  <a:headEnd/>
                  <a:tailEnd/>
                </a:ln>
                <a:solidFill>
                  <a:srgbClr val="282669"/>
                </a:solidFill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</a:t>
            </a:r>
          </a:p>
        </p:txBody>
      </p:sp>
      <p:sp>
        <p:nvSpPr>
          <p:cNvPr id="39" name="WordArt 68">
            <a:extLst>
              <a:ext uri="{FF2B5EF4-FFF2-40B4-BE49-F238E27FC236}">
                <a16:creationId xmlns:a16="http://schemas.microsoft.com/office/drawing/2014/main" id="{9AB183A5-1268-4898-BB01-FD98CC4723CC}"/>
              </a:ext>
            </a:extLst>
          </p:cNvPr>
          <p:cNvSpPr>
            <a:spLocks noChangeAspect="1" noChangeArrowheads="1" noChangeShapeType="1" noTextEdit="1"/>
          </p:cNvSpPr>
          <p:nvPr/>
        </p:nvSpPr>
        <p:spPr bwMode="gray">
          <a:xfrm>
            <a:off x="555746" y="4051725"/>
            <a:ext cx="395686" cy="361716"/>
          </a:xfrm>
          <a:prstGeom prst="rect">
            <a:avLst/>
          </a:prstGeom>
        </p:spPr>
        <p:txBody>
          <a:bodyPr wrap="none" numCol="1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de-DE" sz="2699" b="0" i="0" u="none" strike="noStrike" kern="10" cap="none" spc="0" normalizeH="0" baseline="0" noProof="0" dirty="0">
                <a:ln w="19050">
                  <a:solidFill>
                    <a:srgbClr val="4C7013"/>
                  </a:solidFill>
                  <a:round/>
                  <a:headEnd/>
                  <a:tailEnd/>
                </a:ln>
                <a:solidFill>
                  <a:srgbClr val="282669"/>
                </a:solidFill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</a:t>
            </a:r>
          </a:p>
        </p:txBody>
      </p:sp>
      <p:sp>
        <p:nvSpPr>
          <p:cNvPr id="40" name="Rectangle 13">
            <a:extLst>
              <a:ext uri="{FF2B5EF4-FFF2-40B4-BE49-F238E27FC236}">
                <a16:creationId xmlns:a16="http://schemas.microsoft.com/office/drawing/2014/main" id="{9162C24A-380A-4630-8EC6-0156801F092C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8645" y="4175321"/>
            <a:ext cx="6000551" cy="261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EAEAEA"/>
                    </a:gs>
                    <a:gs pos="100000">
                      <a:srgbClr val="EAEAEA">
                        <a:gamma/>
                        <a:tint val="0"/>
                        <a:invGamma/>
                      </a:srgbClr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DDDDD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134969" tIns="26994" rIns="26994" bIns="26994" anchor="ctr"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20000"/>
              </a:spcAft>
              <a:buClrTx/>
              <a:buSzTx/>
              <a:buFont typeface="Arial"/>
              <a:buNone/>
              <a:tabLst/>
              <a:defRPr/>
            </a:pPr>
            <a:endParaRPr kumimoji="0" lang="en-US" altLang="de-DE" sz="1575" b="0" i="0" u="none" strike="noStrike" kern="1200" cap="none" spc="0" normalizeH="0" baseline="0" noProof="1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sym typeface="Arial"/>
            </a:endParaRPr>
          </a:p>
        </p:txBody>
      </p:sp>
      <p:sp>
        <p:nvSpPr>
          <p:cNvPr id="41" name="Rectangle 15">
            <a:extLst>
              <a:ext uri="{FF2B5EF4-FFF2-40B4-BE49-F238E27FC236}">
                <a16:creationId xmlns:a16="http://schemas.microsoft.com/office/drawing/2014/main" id="{0AFDE242-1D60-4675-88C1-A742FABBC9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16241" y="4189957"/>
            <a:ext cx="4702023" cy="3300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EAEAEA"/>
                    </a:gs>
                    <a:gs pos="100000">
                      <a:srgbClr val="EAEAEA">
                        <a:gamma/>
                        <a:tint val="0"/>
                        <a:invGamma/>
                      </a:srgbClr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DDDDD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134969" tIns="26994" rIns="26994" bIns="26994" anchor="ctr"/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200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altLang="de-DE" sz="1575" b="0" i="0" u="none" strike="noStrike" kern="1200" cap="none" spc="0" normalizeH="0" baseline="0" noProof="1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And of course, some luck</a:t>
            </a:r>
          </a:p>
        </p:txBody>
      </p:sp>
      <p:sp>
        <p:nvSpPr>
          <p:cNvPr id="3" name="Freeform 7">
            <a:extLst>
              <a:ext uri="{FF2B5EF4-FFF2-40B4-BE49-F238E27FC236}">
                <a16:creationId xmlns:a16="http://schemas.microsoft.com/office/drawing/2014/main" id="{F241EC3A-BE50-B9B2-1D24-2AFC1CC4035B}"/>
              </a:ext>
            </a:extLst>
          </p:cNvPr>
          <p:cNvSpPr/>
          <p:nvPr/>
        </p:nvSpPr>
        <p:spPr>
          <a:xfrm>
            <a:off x="6110909" y="460258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25001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3906136"/>
              </p:ext>
            </p:extLst>
          </p:nvPr>
        </p:nvGraphicFramePr>
        <p:xfrm>
          <a:off x="2844" y="119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1" imgH="298" progId="TCLayout.ActiveDocument.1">
                  <p:embed/>
                </p:oleObj>
              </mc:Choice>
              <mc:Fallback>
                <p:oleObj name="think-cell Folie" r:id="rId4" imgW="301" imgH="29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44" y="119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 vert="horz" lIns="81619" tIns="40809" rIns="81619" bIns="40809" rtlCol="0" anchor="ctr" anchorCtr="0">
            <a:noAutofit/>
          </a:bodyPr>
          <a:lstStyle/>
          <a:p>
            <a:r>
              <a:rPr lang="en-GB" sz="2400" dirty="0">
                <a:solidFill>
                  <a:srgbClr val="282669"/>
                </a:solidFill>
                <a:latin typeface="Titillium Web" panose="00000500000000000000" pitchFamily="2" charset="0"/>
              </a:rPr>
              <a:t>Business modelling (I) </a:t>
            </a:r>
            <a:br>
              <a:rPr lang="en-GB" sz="2400" dirty="0">
                <a:solidFill>
                  <a:srgbClr val="282669"/>
                </a:solidFill>
                <a:latin typeface="Titillium Web" panose="00000500000000000000" pitchFamily="2" charset="0"/>
              </a:rPr>
            </a:br>
            <a:r>
              <a:rPr lang="en-GB" sz="2400" dirty="0">
                <a:solidFill>
                  <a:srgbClr val="282669"/>
                </a:solidFill>
                <a:latin typeface="Titillium Web" panose="00000500000000000000" pitchFamily="2" charset="0"/>
              </a:rPr>
              <a:t>– customers and value proposition</a:t>
            </a:r>
          </a:p>
        </p:txBody>
      </p:sp>
      <p:grpSp>
        <p:nvGrpSpPr>
          <p:cNvPr id="7" name="Gruppieren 3">
            <a:extLst>
              <a:ext uri="{FF2B5EF4-FFF2-40B4-BE49-F238E27FC236}">
                <a16:creationId xmlns:a16="http://schemas.microsoft.com/office/drawing/2014/main" id="{2998ECC9-6620-0DF6-9458-F552575E687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52520" y="951945"/>
            <a:ext cx="8457909" cy="3642387"/>
            <a:chOff x="540001" y="1520825"/>
            <a:chExt cx="11109600" cy="4291189"/>
          </a:xfrm>
        </p:grpSpPr>
        <p:grpSp>
          <p:nvGrpSpPr>
            <p:cNvPr id="8" name="Gruppieren 42">
              <a:extLst>
                <a:ext uri="{FF2B5EF4-FFF2-40B4-BE49-F238E27FC236}">
                  <a16:creationId xmlns:a16="http://schemas.microsoft.com/office/drawing/2014/main" id="{BB61760B-2FE6-E903-AC4F-3F35416B8C7B}"/>
                </a:ext>
              </a:extLst>
            </p:cNvPr>
            <p:cNvGrpSpPr/>
            <p:nvPr/>
          </p:nvGrpSpPr>
          <p:grpSpPr bwMode="gray">
            <a:xfrm>
              <a:off x="540001" y="1520825"/>
              <a:ext cx="11109600" cy="4291189"/>
              <a:chOff x="540001" y="1520825"/>
              <a:chExt cx="11109600" cy="4291189"/>
            </a:xfrm>
          </p:grpSpPr>
          <p:sp>
            <p:nvSpPr>
              <p:cNvPr id="245" name="Rechteck 5">
                <a:extLst>
                  <a:ext uri="{FF2B5EF4-FFF2-40B4-BE49-F238E27FC236}">
                    <a16:creationId xmlns:a16="http://schemas.microsoft.com/office/drawing/2014/main" id="{29B99679-6A38-D2C8-6F13-A59B8E004371}"/>
                  </a:ext>
                </a:extLst>
              </p:cNvPr>
              <p:cNvSpPr/>
              <p:nvPr/>
            </p:nvSpPr>
            <p:spPr bwMode="gray">
              <a:xfrm>
                <a:off x="540001" y="1520827"/>
                <a:ext cx="2221920" cy="311584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6" name="Rechteck 6">
                <a:extLst>
                  <a:ext uri="{FF2B5EF4-FFF2-40B4-BE49-F238E27FC236}">
                    <a16:creationId xmlns:a16="http://schemas.microsoft.com/office/drawing/2014/main" id="{4543FDA3-43A9-4963-1214-E1AF0BB60BAC}"/>
                  </a:ext>
                </a:extLst>
              </p:cNvPr>
              <p:cNvSpPr/>
              <p:nvPr/>
            </p:nvSpPr>
            <p:spPr bwMode="gray">
              <a:xfrm>
                <a:off x="2761921" y="1520825"/>
                <a:ext cx="2221920" cy="1561497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7" name="Rechteck 7">
                <a:extLst>
                  <a:ext uri="{FF2B5EF4-FFF2-40B4-BE49-F238E27FC236}">
                    <a16:creationId xmlns:a16="http://schemas.microsoft.com/office/drawing/2014/main" id="{A4D87EF9-57A9-A2CF-205A-687EAEB1FA6A}"/>
                  </a:ext>
                </a:extLst>
              </p:cNvPr>
              <p:cNvSpPr/>
              <p:nvPr/>
            </p:nvSpPr>
            <p:spPr bwMode="gray">
              <a:xfrm>
                <a:off x="4983841" y="1520827"/>
                <a:ext cx="2221920" cy="3122991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8" name="Rechteck 8">
                <a:extLst>
                  <a:ext uri="{FF2B5EF4-FFF2-40B4-BE49-F238E27FC236}">
                    <a16:creationId xmlns:a16="http://schemas.microsoft.com/office/drawing/2014/main" id="{334A4B3B-E0C1-04DD-A956-1444910D32F5}"/>
                  </a:ext>
                </a:extLst>
              </p:cNvPr>
              <p:cNvSpPr/>
              <p:nvPr/>
            </p:nvSpPr>
            <p:spPr bwMode="gray">
              <a:xfrm>
                <a:off x="7205761" y="1520826"/>
                <a:ext cx="2221920" cy="156149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9" name="Rechteck 9">
                <a:extLst>
                  <a:ext uri="{FF2B5EF4-FFF2-40B4-BE49-F238E27FC236}">
                    <a16:creationId xmlns:a16="http://schemas.microsoft.com/office/drawing/2014/main" id="{3D3F8EA2-E5FE-4937-9CCB-55F416702B35}"/>
                  </a:ext>
                </a:extLst>
              </p:cNvPr>
              <p:cNvSpPr/>
              <p:nvPr/>
            </p:nvSpPr>
            <p:spPr bwMode="gray">
              <a:xfrm>
                <a:off x="2761918" y="3075176"/>
                <a:ext cx="2221920" cy="15686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0" name="Rechteck 10">
                <a:extLst>
                  <a:ext uri="{FF2B5EF4-FFF2-40B4-BE49-F238E27FC236}">
                    <a16:creationId xmlns:a16="http://schemas.microsoft.com/office/drawing/2014/main" id="{D5A5CD0C-5BDC-8846-EFD0-303083E4BEBD}"/>
                  </a:ext>
                </a:extLst>
              </p:cNvPr>
              <p:cNvSpPr/>
              <p:nvPr/>
            </p:nvSpPr>
            <p:spPr bwMode="gray">
              <a:xfrm>
                <a:off x="7205758" y="3075177"/>
                <a:ext cx="2221920" cy="1568641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b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7D7D7D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+mn-ea"/>
                    <a:sym typeface="Arial"/>
                  </a:rPr>
                </a:b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1" name="Rechteck 11">
                <a:extLst>
                  <a:ext uri="{FF2B5EF4-FFF2-40B4-BE49-F238E27FC236}">
                    <a16:creationId xmlns:a16="http://schemas.microsoft.com/office/drawing/2014/main" id="{B89F1EBA-0A30-A68B-30F0-B588955E310F}"/>
                  </a:ext>
                </a:extLst>
              </p:cNvPr>
              <p:cNvSpPr/>
              <p:nvPr/>
            </p:nvSpPr>
            <p:spPr bwMode="gray">
              <a:xfrm>
                <a:off x="540001" y="4636672"/>
                <a:ext cx="5554796" cy="11753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2" name="Rechteck 12">
                <a:extLst>
                  <a:ext uri="{FF2B5EF4-FFF2-40B4-BE49-F238E27FC236}">
                    <a16:creationId xmlns:a16="http://schemas.microsoft.com/office/drawing/2014/main" id="{75FF3B54-D1D2-F839-F9BD-73BADFC07F04}"/>
                  </a:ext>
                </a:extLst>
              </p:cNvPr>
              <p:cNvSpPr/>
              <p:nvPr/>
            </p:nvSpPr>
            <p:spPr bwMode="gray">
              <a:xfrm>
                <a:off x="6094797" y="4636672"/>
                <a:ext cx="5554801" cy="117534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53" name="Rechteck 13">
                <a:extLst>
                  <a:ext uri="{FF2B5EF4-FFF2-40B4-BE49-F238E27FC236}">
                    <a16:creationId xmlns:a16="http://schemas.microsoft.com/office/drawing/2014/main" id="{2194A16D-8AE3-E215-1ADA-0B10D563845B}"/>
                  </a:ext>
                </a:extLst>
              </p:cNvPr>
              <p:cNvSpPr/>
              <p:nvPr/>
            </p:nvSpPr>
            <p:spPr bwMode="gray">
              <a:xfrm>
                <a:off x="9427681" y="1520825"/>
                <a:ext cx="2221920" cy="311584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60736" tIns="182208" rIns="60736" bIns="404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37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 dirty="0">
                  <a:ln>
                    <a:noFill/>
                  </a:ln>
                  <a:solidFill>
                    <a:srgbClr val="7D7D7D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sp>
          <p:nvSpPr>
            <p:cNvPr id="9" name="Rechteck 14">
              <a:extLst>
                <a:ext uri="{FF2B5EF4-FFF2-40B4-BE49-F238E27FC236}">
                  <a16:creationId xmlns:a16="http://schemas.microsoft.com/office/drawing/2014/main" id="{BD079CB0-E2A2-DA0B-5EB1-B95D100BAA82}"/>
                </a:ext>
              </a:extLst>
            </p:cNvPr>
            <p:cNvSpPr/>
            <p:nvPr/>
          </p:nvSpPr>
          <p:spPr bwMode="gray">
            <a:xfrm>
              <a:off x="2761918" y="3145019"/>
              <a:ext cx="14490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sources</a:t>
              </a:r>
            </a:p>
          </p:txBody>
        </p:sp>
        <p:sp>
          <p:nvSpPr>
            <p:cNvPr id="10" name="Rechteck 15">
              <a:extLst>
                <a:ext uri="{FF2B5EF4-FFF2-40B4-BE49-F238E27FC236}">
                  <a16:creationId xmlns:a16="http://schemas.microsoft.com/office/drawing/2014/main" id="{7BA8856D-5420-C368-7DD9-C47ADEAA5B1D}"/>
                </a:ext>
              </a:extLst>
            </p:cNvPr>
            <p:cNvSpPr/>
            <p:nvPr/>
          </p:nvSpPr>
          <p:spPr bwMode="gray">
            <a:xfrm>
              <a:off x="7205761" y="3145019"/>
              <a:ext cx="22219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hannels</a:t>
              </a:r>
            </a:p>
          </p:txBody>
        </p:sp>
        <p:sp>
          <p:nvSpPr>
            <p:cNvPr id="11" name="Rechteck 16">
              <a:extLst>
                <a:ext uri="{FF2B5EF4-FFF2-40B4-BE49-F238E27FC236}">
                  <a16:creationId xmlns:a16="http://schemas.microsoft.com/office/drawing/2014/main" id="{86F38D2B-FEF3-2625-8B0C-03A629D8C28F}"/>
                </a:ext>
              </a:extLst>
            </p:cNvPr>
            <p:cNvSpPr/>
            <p:nvPr/>
          </p:nvSpPr>
          <p:spPr bwMode="gray">
            <a:xfrm>
              <a:off x="540001" y="4699369"/>
              <a:ext cx="3940021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ost Structure</a:t>
              </a:r>
            </a:p>
          </p:txBody>
        </p:sp>
        <p:sp>
          <p:nvSpPr>
            <p:cNvPr id="12" name="Rechteck 17">
              <a:extLst>
                <a:ext uri="{FF2B5EF4-FFF2-40B4-BE49-F238E27FC236}">
                  <a16:creationId xmlns:a16="http://schemas.microsoft.com/office/drawing/2014/main" id="{8ED892FD-4591-51FB-E3F1-417C2404E242}"/>
                </a:ext>
              </a:extLst>
            </p:cNvPr>
            <p:cNvSpPr/>
            <p:nvPr/>
          </p:nvSpPr>
          <p:spPr bwMode="gray">
            <a:xfrm>
              <a:off x="540002" y="1681114"/>
              <a:ext cx="2221916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Partners</a:t>
              </a:r>
            </a:p>
          </p:txBody>
        </p:sp>
        <p:sp>
          <p:nvSpPr>
            <p:cNvPr id="13" name="Rechteck 18">
              <a:extLst>
                <a:ext uri="{FF2B5EF4-FFF2-40B4-BE49-F238E27FC236}">
                  <a16:creationId xmlns:a16="http://schemas.microsoft.com/office/drawing/2014/main" id="{AF3E3F5C-930B-B240-F48A-D0CA0A93C48A}"/>
                </a:ext>
              </a:extLst>
            </p:cNvPr>
            <p:cNvSpPr/>
            <p:nvPr/>
          </p:nvSpPr>
          <p:spPr bwMode="gray">
            <a:xfrm>
              <a:off x="2761922" y="1583524"/>
              <a:ext cx="171810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Key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Activities</a:t>
              </a:r>
            </a:p>
          </p:txBody>
        </p:sp>
        <p:sp>
          <p:nvSpPr>
            <p:cNvPr id="14" name="Rechteck 36">
              <a:extLst>
                <a:ext uri="{FF2B5EF4-FFF2-40B4-BE49-F238E27FC236}">
                  <a16:creationId xmlns:a16="http://schemas.microsoft.com/office/drawing/2014/main" id="{3CDFEA71-8802-F28D-E415-258278335315}"/>
                </a:ext>
              </a:extLst>
            </p:cNvPr>
            <p:cNvSpPr/>
            <p:nvPr/>
          </p:nvSpPr>
          <p:spPr bwMode="gray">
            <a:xfrm>
              <a:off x="4983841" y="1583524"/>
              <a:ext cx="2221920" cy="42387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Value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Proposition</a:t>
              </a:r>
            </a:p>
          </p:txBody>
        </p:sp>
        <p:sp>
          <p:nvSpPr>
            <p:cNvPr id="15" name="Rechteck 37">
              <a:extLst>
                <a:ext uri="{FF2B5EF4-FFF2-40B4-BE49-F238E27FC236}">
                  <a16:creationId xmlns:a16="http://schemas.microsoft.com/office/drawing/2014/main" id="{CB0FA039-C2BC-0F6A-B730-E151A08EB6C0}"/>
                </a:ext>
              </a:extLst>
            </p:cNvPr>
            <p:cNvSpPr/>
            <p:nvPr/>
          </p:nvSpPr>
          <p:spPr bwMode="gray">
            <a:xfrm>
              <a:off x="7205756" y="1593050"/>
              <a:ext cx="1870749" cy="425427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ustomer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lationships</a:t>
              </a:r>
            </a:p>
          </p:txBody>
        </p:sp>
        <p:sp>
          <p:nvSpPr>
            <p:cNvPr id="17" name="Rechteck 38">
              <a:extLst>
                <a:ext uri="{FF2B5EF4-FFF2-40B4-BE49-F238E27FC236}">
                  <a16:creationId xmlns:a16="http://schemas.microsoft.com/office/drawing/2014/main" id="{4C0631B0-48F3-EA53-7C65-99A10796C55A}"/>
                </a:ext>
              </a:extLst>
            </p:cNvPr>
            <p:cNvSpPr/>
            <p:nvPr/>
          </p:nvSpPr>
          <p:spPr bwMode="gray">
            <a:xfrm>
              <a:off x="9427677" y="1583525"/>
              <a:ext cx="1726278" cy="24307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Customer Segments</a:t>
              </a:r>
            </a:p>
          </p:txBody>
        </p:sp>
        <p:sp>
          <p:nvSpPr>
            <p:cNvPr id="18" name="Rechteck 40">
              <a:extLst>
                <a:ext uri="{FF2B5EF4-FFF2-40B4-BE49-F238E27FC236}">
                  <a16:creationId xmlns:a16="http://schemas.microsoft.com/office/drawing/2014/main" id="{2979763C-6329-FFCA-A848-DCF7EDA66F10}"/>
                </a:ext>
              </a:extLst>
            </p:cNvPr>
            <p:cNvSpPr/>
            <p:nvPr/>
          </p:nvSpPr>
          <p:spPr bwMode="gray">
            <a:xfrm>
              <a:off x="6094761" y="4707509"/>
              <a:ext cx="3726112" cy="242770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60736" tIns="60736" rIns="20245" rtlCol="0" anchor="ctr"/>
            <a:lstStyle/>
            <a:p>
              <a:pPr marL="0" marR="0" lvl="0" indent="0" algn="l" defTabSz="514213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C3E50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rPr>
                <a:t>Revenue Streams</a:t>
              </a:r>
            </a:p>
          </p:txBody>
        </p:sp>
        <p:grpSp>
          <p:nvGrpSpPr>
            <p:cNvPr id="19" name="Gruppieren 54">
              <a:extLst>
                <a:ext uri="{FF2B5EF4-FFF2-40B4-BE49-F238E27FC236}">
                  <a16:creationId xmlns:a16="http://schemas.microsoft.com/office/drawing/2014/main" id="{EA356240-292C-A36F-6DE3-38C405B92F5D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192510" y="1676645"/>
              <a:ext cx="364143" cy="363374"/>
              <a:chOff x="14842424" y="9461856"/>
              <a:chExt cx="783304" cy="781651"/>
            </a:xfrm>
          </p:grpSpPr>
          <p:sp>
            <p:nvSpPr>
              <p:cNvPr id="235" name="Freihandform: Form 55">
                <a:extLst>
                  <a:ext uri="{FF2B5EF4-FFF2-40B4-BE49-F238E27FC236}">
                    <a16:creationId xmlns:a16="http://schemas.microsoft.com/office/drawing/2014/main" id="{2E432B0A-F204-4999-11B6-D2AFEA6529A9}"/>
                  </a:ext>
                </a:extLst>
              </p:cNvPr>
              <p:cNvSpPr/>
              <p:nvPr/>
            </p:nvSpPr>
            <p:spPr bwMode="gray">
              <a:xfrm>
                <a:off x="15308630" y="9879019"/>
                <a:ext cx="260348" cy="363277"/>
              </a:xfrm>
              <a:custGeom>
                <a:avLst/>
                <a:gdLst>
                  <a:gd name="connsiteX0" fmla="*/ 338420 w 350230"/>
                  <a:gd name="connsiteY0" fmla="*/ 476883 h 488693"/>
                  <a:gd name="connsiteX1" fmla="*/ 314800 w 350230"/>
                  <a:gd name="connsiteY1" fmla="*/ 278963 h 488693"/>
                  <a:gd name="connsiteX2" fmla="*/ 255342 w 350230"/>
                  <a:gd name="connsiteY2" fmla="*/ 179595 h 488693"/>
                  <a:gd name="connsiteX3" fmla="*/ 197514 w 350230"/>
                  <a:gd name="connsiteY3" fmla="*/ 149459 h 488693"/>
                  <a:gd name="connsiteX4" fmla="*/ 47648 w 350230"/>
                  <a:gd name="connsiteY4" fmla="*/ 105476 h 488693"/>
                  <a:gd name="connsiteX5" fmla="*/ 38688 w 350230"/>
                  <a:gd name="connsiteY5" fmla="*/ 101404 h 488693"/>
                  <a:gd name="connsiteX6" fmla="*/ 24842 w 350230"/>
                  <a:gd name="connsiteY6" fmla="*/ 77784 h 488693"/>
                  <a:gd name="connsiteX7" fmla="*/ 18326 w 350230"/>
                  <a:gd name="connsiteY7" fmla="*/ 18326 h 488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0230" h="488693">
                    <a:moveTo>
                      <a:pt x="338420" y="476883"/>
                    </a:moveTo>
                    <a:lnTo>
                      <a:pt x="314800" y="278963"/>
                    </a:lnTo>
                    <a:cubicBezTo>
                      <a:pt x="306655" y="240681"/>
                      <a:pt x="286293" y="204844"/>
                      <a:pt x="255342" y="179595"/>
                    </a:cubicBezTo>
                    <a:cubicBezTo>
                      <a:pt x="235795" y="163305"/>
                      <a:pt x="216247" y="153532"/>
                      <a:pt x="197514" y="149459"/>
                    </a:cubicBezTo>
                    <a:lnTo>
                      <a:pt x="47648" y="105476"/>
                    </a:lnTo>
                    <a:cubicBezTo>
                      <a:pt x="44390" y="104662"/>
                      <a:pt x="41132" y="103033"/>
                      <a:pt x="38688" y="101404"/>
                    </a:cubicBezTo>
                    <a:cubicBezTo>
                      <a:pt x="30543" y="95702"/>
                      <a:pt x="25656" y="87558"/>
                      <a:pt x="24842" y="77784"/>
                    </a:cubicBez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6" name="Freihandform: Form 56">
                <a:extLst>
                  <a:ext uri="{FF2B5EF4-FFF2-40B4-BE49-F238E27FC236}">
                    <a16:creationId xmlns:a16="http://schemas.microsoft.com/office/drawing/2014/main" id="{9200E83E-A854-6B72-A5C6-5915E44D6FCE}"/>
                  </a:ext>
                </a:extLst>
              </p:cNvPr>
              <p:cNvSpPr/>
              <p:nvPr/>
            </p:nvSpPr>
            <p:spPr bwMode="gray">
              <a:xfrm>
                <a:off x="14896311" y="9674373"/>
                <a:ext cx="260348" cy="569134"/>
              </a:xfrm>
              <a:custGeom>
                <a:avLst/>
                <a:gdLst>
                  <a:gd name="connsiteX0" fmla="*/ 243125 w 350230"/>
                  <a:gd name="connsiteY0" fmla="*/ 18326 h 765619"/>
                  <a:gd name="connsiteX1" fmla="*/ 203215 w 350230"/>
                  <a:gd name="connsiteY1" fmla="*/ 86743 h 765619"/>
                  <a:gd name="connsiteX2" fmla="*/ 250455 w 350230"/>
                  <a:gd name="connsiteY2" fmla="*/ 156789 h 765619"/>
                  <a:gd name="connsiteX3" fmla="*/ 338420 w 350230"/>
                  <a:gd name="connsiteY3" fmla="*/ 295252 h 765619"/>
                  <a:gd name="connsiteX4" fmla="*/ 331904 w 350230"/>
                  <a:gd name="connsiteY4" fmla="*/ 354710 h 765619"/>
                  <a:gd name="connsiteX5" fmla="*/ 318058 w 350230"/>
                  <a:gd name="connsiteY5" fmla="*/ 378330 h 765619"/>
                  <a:gd name="connsiteX6" fmla="*/ 309099 w 350230"/>
                  <a:gd name="connsiteY6" fmla="*/ 382403 h 765619"/>
                  <a:gd name="connsiteX7" fmla="*/ 160047 w 350230"/>
                  <a:gd name="connsiteY7" fmla="*/ 425571 h 765619"/>
                  <a:gd name="connsiteX8" fmla="*/ 101404 w 350230"/>
                  <a:gd name="connsiteY8" fmla="*/ 456521 h 765619"/>
                  <a:gd name="connsiteX9" fmla="*/ 41946 w 350230"/>
                  <a:gd name="connsiteY9" fmla="*/ 555889 h 765619"/>
                  <a:gd name="connsiteX10" fmla="*/ 18326 w 350230"/>
                  <a:gd name="connsiteY10" fmla="*/ 753810 h 76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0230" h="765619">
                    <a:moveTo>
                      <a:pt x="243125" y="18326"/>
                    </a:moveTo>
                    <a:cubicBezTo>
                      <a:pt x="220319" y="24842"/>
                      <a:pt x="203215" y="52535"/>
                      <a:pt x="203215" y="86743"/>
                    </a:cubicBezTo>
                    <a:cubicBezTo>
                      <a:pt x="203215" y="124210"/>
                      <a:pt x="223577" y="154346"/>
                      <a:pt x="250455" y="156789"/>
                    </a:cubicBezTo>
                    <a:cubicBezTo>
                      <a:pt x="265116" y="213803"/>
                      <a:pt x="296067" y="262673"/>
                      <a:pt x="338420" y="295252"/>
                    </a:cubicBezTo>
                    <a:lnTo>
                      <a:pt x="331904" y="354710"/>
                    </a:lnTo>
                    <a:cubicBezTo>
                      <a:pt x="331090" y="364484"/>
                      <a:pt x="325389" y="372629"/>
                      <a:pt x="318058" y="378330"/>
                    </a:cubicBezTo>
                    <a:cubicBezTo>
                      <a:pt x="315615" y="379959"/>
                      <a:pt x="312357" y="381588"/>
                      <a:pt x="309099" y="382403"/>
                    </a:cubicBezTo>
                    <a:lnTo>
                      <a:pt x="160047" y="425571"/>
                    </a:lnTo>
                    <a:cubicBezTo>
                      <a:pt x="140499" y="429643"/>
                      <a:pt x="120952" y="440231"/>
                      <a:pt x="101404" y="456521"/>
                    </a:cubicBezTo>
                    <a:cubicBezTo>
                      <a:pt x="70454" y="481771"/>
                      <a:pt x="50091" y="516794"/>
                      <a:pt x="41946" y="555889"/>
                    </a:cubicBezTo>
                    <a:lnTo>
                      <a:pt x="18326" y="75381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7" name="Freihandform: Form 57">
                <a:extLst>
                  <a:ext uri="{FF2B5EF4-FFF2-40B4-BE49-F238E27FC236}">
                    <a16:creationId xmlns:a16="http://schemas.microsoft.com/office/drawing/2014/main" id="{8CD13A9C-D35C-4AAA-8DAF-99DBD9CE0862}"/>
                  </a:ext>
                </a:extLst>
              </p:cNvPr>
              <p:cNvSpPr/>
              <p:nvPr/>
            </p:nvSpPr>
            <p:spPr bwMode="gray">
              <a:xfrm>
                <a:off x="15308024" y="9674373"/>
                <a:ext cx="260348" cy="569134"/>
              </a:xfrm>
              <a:custGeom>
                <a:avLst/>
                <a:gdLst>
                  <a:gd name="connsiteX0" fmla="*/ 113621 w 350230"/>
                  <a:gd name="connsiteY0" fmla="*/ 18326 h 765619"/>
                  <a:gd name="connsiteX1" fmla="*/ 153531 w 350230"/>
                  <a:gd name="connsiteY1" fmla="*/ 86743 h 765619"/>
                  <a:gd name="connsiteX2" fmla="*/ 106291 w 350230"/>
                  <a:gd name="connsiteY2" fmla="*/ 156789 h 765619"/>
                  <a:gd name="connsiteX3" fmla="*/ 18326 w 350230"/>
                  <a:gd name="connsiteY3" fmla="*/ 295252 h 765619"/>
                  <a:gd name="connsiteX4" fmla="*/ 24842 w 350230"/>
                  <a:gd name="connsiteY4" fmla="*/ 354710 h 765619"/>
                  <a:gd name="connsiteX5" fmla="*/ 38688 w 350230"/>
                  <a:gd name="connsiteY5" fmla="*/ 378330 h 765619"/>
                  <a:gd name="connsiteX6" fmla="*/ 47648 w 350230"/>
                  <a:gd name="connsiteY6" fmla="*/ 382403 h 765619"/>
                  <a:gd name="connsiteX7" fmla="*/ 196699 w 350230"/>
                  <a:gd name="connsiteY7" fmla="*/ 425571 h 765619"/>
                  <a:gd name="connsiteX8" fmla="*/ 255342 w 350230"/>
                  <a:gd name="connsiteY8" fmla="*/ 456521 h 765619"/>
                  <a:gd name="connsiteX9" fmla="*/ 314800 w 350230"/>
                  <a:gd name="connsiteY9" fmla="*/ 555889 h 765619"/>
                  <a:gd name="connsiteX10" fmla="*/ 338420 w 350230"/>
                  <a:gd name="connsiteY10" fmla="*/ 753810 h 76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0230" h="765619">
                    <a:moveTo>
                      <a:pt x="113621" y="18326"/>
                    </a:moveTo>
                    <a:cubicBezTo>
                      <a:pt x="136427" y="24842"/>
                      <a:pt x="153531" y="52535"/>
                      <a:pt x="153531" y="86743"/>
                    </a:cubicBezTo>
                    <a:cubicBezTo>
                      <a:pt x="153531" y="124210"/>
                      <a:pt x="133169" y="154346"/>
                      <a:pt x="106291" y="156789"/>
                    </a:cubicBezTo>
                    <a:cubicBezTo>
                      <a:pt x="91630" y="213803"/>
                      <a:pt x="60680" y="262673"/>
                      <a:pt x="18326" y="295252"/>
                    </a:cubicBezTo>
                    <a:lnTo>
                      <a:pt x="24842" y="354710"/>
                    </a:lnTo>
                    <a:cubicBezTo>
                      <a:pt x="25657" y="364484"/>
                      <a:pt x="31358" y="372629"/>
                      <a:pt x="38688" y="378330"/>
                    </a:cubicBezTo>
                    <a:cubicBezTo>
                      <a:pt x="41132" y="379959"/>
                      <a:pt x="44390" y="381588"/>
                      <a:pt x="47648" y="382403"/>
                    </a:cubicBezTo>
                    <a:lnTo>
                      <a:pt x="196699" y="425571"/>
                    </a:lnTo>
                    <a:cubicBezTo>
                      <a:pt x="216247" y="429643"/>
                      <a:pt x="235795" y="440231"/>
                      <a:pt x="255342" y="456521"/>
                    </a:cubicBezTo>
                    <a:cubicBezTo>
                      <a:pt x="286293" y="481771"/>
                      <a:pt x="306655" y="516794"/>
                      <a:pt x="314800" y="555889"/>
                    </a:cubicBezTo>
                    <a:lnTo>
                      <a:pt x="338420" y="75381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8" name="Freihandform: Form 58">
                <a:extLst>
                  <a:ext uri="{FF2B5EF4-FFF2-40B4-BE49-F238E27FC236}">
                    <a16:creationId xmlns:a16="http://schemas.microsoft.com/office/drawing/2014/main" id="{3EB75069-3DF4-7F81-1426-B40FF4F96889}"/>
                  </a:ext>
                </a:extLst>
              </p:cNvPr>
              <p:cNvSpPr/>
              <p:nvPr/>
            </p:nvSpPr>
            <p:spPr bwMode="gray">
              <a:xfrm>
                <a:off x="15110644" y="9948042"/>
                <a:ext cx="248239" cy="90819"/>
              </a:xfrm>
              <a:custGeom>
                <a:avLst/>
                <a:gdLst>
                  <a:gd name="connsiteX0" fmla="*/ 316429 w 333940"/>
                  <a:gd name="connsiteY0" fmla="*/ 18326 h 122173"/>
                  <a:gd name="connsiteX1" fmla="*/ 258600 w 333940"/>
                  <a:gd name="connsiteY1" fmla="*/ 70453 h 122173"/>
                  <a:gd name="connsiteX2" fmla="*/ 76155 w 333940"/>
                  <a:gd name="connsiteY2" fmla="*/ 70453 h 122173"/>
                  <a:gd name="connsiteX3" fmla="*/ 18326 w 333940"/>
                  <a:gd name="connsiteY3" fmla="*/ 18326 h 122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3940" h="122173">
                    <a:moveTo>
                      <a:pt x="316429" y="18326"/>
                    </a:moveTo>
                    <a:lnTo>
                      <a:pt x="258600" y="70453"/>
                    </a:lnTo>
                    <a:cubicBezTo>
                      <a:pt x="206473" y="116879"/>
                      <a:pt x="128282" y="116879"/>
                      <a:pt x="76155" y="70453"/>
                    </a:cubicBez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9" name="Freihandform: Form 59">
                <a:extLst>
                  <a:ext uri="{FF2B5EF4-FFF2-40B4-BE49-F238E27FC236}">
                    <a16:creationId xmlns:a16="http://schemas.microsoft.com/office/drawing/2014/main" id="{EC1ADFB6-427F-7932-BBED-2347C79E7F89}"/>
                  </a:ext>
                </a:extLst>
              </p:cNvPr>
              <p:cNvSpPr/>
              <p:nvPr/>
            </p:nvSpPr>
            <p:spPr bwMode="gray">
              <a:xfrm>
                <a:off x="15062965" y="9461856"/>
                <a:ext cx="339058" cy="236130"/>
              </a:xfrm>
              <a:custGeom>
                <a:avLst/>
                <a:gdLst>
                  <a:gd name="connsiteX0" fmla="*/ 18935 w 456113"/>
                  <a:gd name="connsiteY0" fmla="*/ 304212 h 317650"/>
                  <a:gd name="connsiteX1" fmla="*/ 31967 w 456113"/>
                  <a:gd name="connsiteY1" fmla="*/ 179595 h 317650"/>
                  <a:gd name="connsiteX2" fmla="*/ 230702 w 456113"/>
                  <a:gd name="connsiteY2" fmla="*/ 18326 h 317650"/>
                  <a:gd name="connsiteX3" fmla="*/ 429437 w 456113"/>
                  <a:gd name="connsiteY3" fmla="*/ 179595 h 317650"/>
                  <a:gd name="connsiteX4" fmla="*/ 442469 w 456113"/>
                  <a:gd name="connsiteY4" fmla="*/ 304212 h 31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6113" h="317650">
                    <a:moveTo>
                      <a:pt x="18935" y="304212"/>
                    </a:moveTo>
                    <a:cubicBezTo>
                      <a:pt x="18935" y="304212"/>
                      <a:pt x="14048" y="236609"/>
                      <a:pt x="31967" y="179595"/>
                    </a:cubicBezTo>
                    <a:cubicBezTo>
                      <a:pt x="31967" y="179595"/>
                      <a:pt x="73506" y="18326"/>
                      <a:pt x="230702" y="18326"/>
                    </a:cubicBezTo>
                    <a:cubicBezTo>
                      <a:pt x="387899" y="18326"/>
                      <a:pt x="429437" y="179595"/>
                      <a:pt x="429437" y="179595"/>
                    </a:cubicBezTo>
                    <a:cubicBezTo>
                      <a:pt x="447356" y="235794"/>
                      <a:pt x="442469" y="304212"/>
                      <a:pt x="442469" y="30421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0" name="Freihandform: Form 60">
                <a:extLst>
                  <a:ext uri="{FF2B5EF4-FFF2-40B4-BE49-F238E27FC236}">
                    <a16:creationId xmlns:a16="http://schemas.microsoft.com/office/drawing/2014/main" id="{ECBC1AA2-6DDC-13ED-E042-C416E749651C}"/>
                  </a:ext>
                </a:extLst>
              </p:cNvPr>
              <p:cNvSpPr/>
              <p:nvPr/>
            </p:nvSpPr>
            <p:spPr bwMode="gray">
              <a:xfrm>
                <a:off x="15068867" y="9553854"/>
                <a:ext cx="314840" cy="84765"/>
              </a:xfrm>
              <a:custGeom>
                <a:avLst/>
                <a:gdLst>
                  <a:gd name="connsiteX0" fmla="*/ 18326 w 423534"/>
                  <a:gd name="connsiteY0" fmla="*/ 90045 h 114028"/>
                  <a:gd name="connsiteX1" fmla="*/ 228464 w 423534"/>
                  <a:gd name="connsiteY1" fmla="*/ 52578 h 114028"/>
                  <a:gd name="connsiteX2" fmla="*/ 407652 w 423534"/>
                  <a:gd name="connsiteY2" fmla="*/ 21628 h 11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23534" h="114028">
                    <a:moveTo>
                      <a:pt x="18326" y="90045"/>
                    </a:moveTo>
                    <a:cubicBezTo>
                      <a:pt x="62309" y="106335"/>
                      <a:pt x="129097" y="107149"/>
                      <a:pt x="228464" y="52578"/>
                    </a:cubicBezTo>
                    <a:cubicBezTo>
                      <a:pt x="288737" y="19184"/>
                      <a:pt x="352267" y="13483"/>
                      <a:pt x="407652" y="21628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1" name="Freihandform: Form 61">
                <a:extLst>
                  <a:ext uri="{FF2B5EF4-FFF2-40B4-BE49-F238E27FC236}">
                    <a16:creationId xmlns:a16="http://schemas.microsoft.com/office/drawing/2014/main" id="{8170D1CE-B681-9087-AA30-D4D4E1B36B89}"/>
                  </a:ext>
                </a:extLst>
              </p:cNvPr>
              <p:cNvSpPr/>
              <p:nvPr/>
            </p:nvSpPr>
            <p:spPr bwMode="gray">
              <a:xfrm>
                <a:off x="15407762" y="9713728"/>
                <a:ext cx="217966" cy="405659"/>
              </a:xfrm>
              <a:custGeom>
                <a:avLst/>
                <a:gdLst>
                  <a:gd name="connsiteX0" fmla="*/ 114656 w 293216"/>
                  <a:gd name="connsiteY0" fmla="*/ 18326 h 545707"/>
                  <a:gd name="connsiteX1" fmla="*/ 139905 w 293216"/>
                  <a:gd name="connsiteY1" fmla="*/ 90816 h 545707"/>
                  <a:gd name="connsiteX2" fmla="*/ 82076 w 293216"/>
                  <a:gd name="connsiteY2" fmla="*/ 148644 h 545707"/>
                  <a:gd name="connsiteX3" fmla="*/ 29949 w 293216"/>
                  <a:gd name="connsiteY3" fmla="*/ 222763 h 545707"/>
                  <a:gd name="connsiteX4" fmla="*/ 44610 w 293216"/>
                  <a:gd name="connsiteY4" fmla="*/ 270818 h 545707"/>
                  <a:gd name="connsiteX5" fmla="*/ 76375 w 293216"/>
                  <a:gd name="connsiteY5" fmla="*/ 281406 h 545707"/>
                  <a:gd name="connsiteX6" fmla="*/ 275925 w 293216"/>
                  <a:gd name="connsiteY6" fmla="*/ 515979 h 545707"/>
                  <a:gd name="connsiteX7" fmla="*/ 276739 w 293216"/>
                  <a:gd name="connsiteY7" fmla="*/ 528196 h 545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3216" h="545707">
                    <a:moveTo>
                      <a:pt x="114656" y="18326"/>
                    </a:moveTo>
                    <a:cubicBezTo>
                      <a:pt x="135833" y="28914"/>
                      <a:pt x="146421" y="58236"/>
                      <a:pt x="139905" y="90816"/>
                    </a:cubicBezTo>
                    <a:cubicBezTo>
                      <a:pt x="133389" y="126653"/>
                      <a:pt x="108140" y="151088"/>
                      <a:pt x="82076" y="148644"/>
                    </a:cubicBezTo>
                    <a:cubicBezTo>
                      <a:pt x="68230" y="177151"/>
                      <a:pt x="51126" y="201586"/>
                      <a:pt x="29949" y="222763"/>
                    </a:cubicBezTo>
                    <a:cubicBezTo>
                      <a:pt x="9587" y="243125"/>
                      <a:pt x="16917" y="261044"/>
                      <a:pt x="44610" y="270818"/>
                    </a:cubicBezTo>
                    <a:lnTo>
                      <a:pt x="76375" y="281406"/>
                    </a:lnTo>
                    <a:cubicBezTo>
                      <a:pt x="174928" y="313986"/>
                      <a:pt x="271038" y="366113"/>
                      <a:pt x="275925" y="515979"/>
                    </a:cubicBezTo>
                    <a:cubicBezTo>
                      <a:pt x="275925" y="520051"/>
                      <a:pt x="276739" y="524124"/>
                      <a:pt x="276739" y="52819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2" name="Freihandform: Form 62">
                <a:extLst>
                  <a:ext uri="{FF2B5EF4-FFF2-40B4-BE49-F238E27FC236}">
                    <a16:creationId xmlns:a16="http://schemas.microsoft.com/office/drawing/2014/main" id="{359D6000-0C72-02BC-A38F-1E0B4126CF2E}"/>
                  </a:ext>
                </a:extLst>
              </p:cNvPr>
              <p:cNvSpPr/>
              <p:nvPr/>
            </p:nvSpPr>
            <p:spPr bwMode="gray">
              <a:xfrm>
                <a:off x="15369176" y="9483047"/>
                <a:ext cx="145310" cy="254294"/>
              </a:xfrm>
              <a:custGeom>
                <a:avLst/>
                <a:gdLst>
                  <a:gd name="connsiteX0" fmla="*/ 166563 w 195477"/>
                  <a:gd name="connsiteY0" fmla="*/ 328646 h 342085"/>
                  <a:gd name="connsiteX1" fmla="*/ 177151 w 195477"/>
                  <a:gd name="connsiteY1" fmla="*/ 208102 h 342085"/>
                  <a:gd name="connsiteX2" fmla="*/ 18326 w 195477"/>
                  <a:gd name="connsiteY2" fmla="*/ 18326 h 342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5477" h="342085">
                    <a:moveTo>
                      <a:pt x="166563" y="328646"/>
                    </a:moveTo>
                    <a:cubicBezTo>
                      <a:pt x="166563" y="328646"/>
                      <a:pt x="183667" y="265116"/>
                      <a:pt x="177151" y="208102"/>
                    </a:cubicBezTo>
                    <a:cubicBezTo>
                      <a:pt x="177151" y="208102"/>
                      <a:pt x="167378" y="47647"/>
                      <a:pt x="18326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3" name="Freihandform: Form 63">
                <a:extLst>
                  <a:ext uri="{FF2B5EF4-FFF2-40B4-BE49-F238E27FC236}">
                    <a16:creationId xmlns:a16="http://schemas.microsoft.com/office/drawing/2014/main" id="{C7A9EB44-714D-665F-E32E-1CBB001A765F}"/>
                  </a:ext>
                </a:extLst>
              </p:cNvPr>
              <p:cNvSpPr/>
              <p:nvPr/>
            </p:nvSpPr>
            <p:spPr bwMode="gray">
              <a:xfrm>
                <a:off x="14842424" y="9713728"/>
                <a:ext cx="217966" cy="405659"/>
              </a:xfrm>
              <a:custGeom>
                <a:avLst/>
                <a:gdLst>
                  <a:gd name="connsiteX0" fmla="*/ 180409 w 293216"/>
                  <a:gd name="connsiteY0" fmla="*/ 18326 h 545707"/>
                  <a:gd name="connsiteX1" fmla="*/ 155160 w 293216"/>
                  <a:gd name="connsiteY1" fmla="*/ 90816 h 545707"/>
                  <a:gd name="connsiteX2" fmla="*/ 212989 w 293216"/>
                  <a:gd name="connsiteY2" fmla="*/ 148644 h 545707"/>
                  <a:gd name="connsiteX3" fmla="*/ 265116 w 293216"/>
                  <a:gd name="connsiteY3" fmla="*/ 222763 h 545707"/>
                  <a:gd name="connsiteX4" fmla="*/ 250455 w 293216"/>
                  <a:gd name="connsiteY4" fmla="*/ 270818 h 545707"/>
                  <a:gd name="connsiteX5" fmla="*/ 218690 w 293216"/>
                  <a:gd name="connsiteY5" fmla="*/ 281406 h 545707"/>
                  <a:gd name="connsiteX6" fmla="*/ 19141 w 293216"/>
                  <a:gd name="connsiteY6" fmla="*/ 515979 h 545707"/>
                  <a:gd name="connsiteX7" fmla="*/ 18326 w 293216"/>
                  <a:gd name="connsiteY7" fmla="*/ 528196 h 545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3216" h="545707">
                    <a:moveTo>
                      <a:pt x="180409" y="18326"/>
                    </a:moveTo>
                    <a:cubicBezTo>
                      <a:pt x="159233" y="28914"/>
                      <a:pt x="148644" y="58236"/>
                      <a:pt x="155160" y="90816"/>
                    </a:cubicBezTo>
                    <a:cubicBezTo>
                      <a:pt x="161676" y="126653"/>
                      <a:pt x="186925" y="151088"/>
                      <a:pt x="212989" y="148644"/>
                    </a:cubicBezTo>
                    <a:cubicBezTo>
                      <a:pt x="226835" y="177151"/>
                      <a:pt x="243940" y="201586"/>
                      <a:pt x="265116" y="222763"/>
                    </a:cubicBezTo>
                    <a:cubicBezTo>
                      <a:pt x="285479" y="243125"/>
                      <a:pt x="278148" y="261044"/>
                      <a:pt x="250455" y="270818"/>
                    </a:cubicBezTo>
                    <a:lnTo>
                      <a:pt x="218690" y="281406"/>
                    </a:lnTo>
                    <a:cubicBezTo>
                      <a:pt x="120137" y="313986"/>
                      <a:pt x="24028" y="366113"/>
                      <a:pt x="19141" y="515979"/>
                    </a:cubicBezTo>
                    <a:cubicBezTo>
                      <a:pt x="19141" y="520051"/>
                      <a:pt x="18326" y="524124"/>
                      <a:pt x="18326" y="52819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44" name="Freihandform: Form 64">
                <a:extLst>
                  <a:ext uri="{FF2B5EF4-FFF2-40B4-BE49-F238E27FC236}">
                    <a16:creationId xmlns:a16="http://schemas.microsoft.com/office/drawing/2014/main" id="{D7A659FD-5157-B195-1EA6-9E388E822EB2}"/>
                  </a:ext>
                </a:extLst>
              </p:cNvPr>
              <p:cNvSpPr/>
              <p:nvPr/>
            </p:nvSpPr>
            <p:spPr bwMode="gray">
              <a:xfrm>
                <a:off x="14953940" y="9483047"/>
                <a:ext cx="145310" cy="254294"/>
              </a:xfrm>
              <a:custGeom>
                <a:avLst/>
                <a:gdLst>
                  <a:gd name="connsiteX0" fmla="*/ 30395 w 195477"/>
                  <a:gd name="connsiteY0" fmla="*/ 328646 h 342085"/>
                  <a:gd name="connsiteX1" fmla="*/ 19806 w 195477"/>
                  <a:gd name="connsiteY1" fmla="*/ 208102 h 342085"/>
                  <a:gd name="connsiteX2" fmla="*/ 178632 w 195477"/>
                  <a:gd name="connsiteY2" fmla="*/ 18326 h 342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5477" h="342085">
                    <a:moveTo>
                      <a:pt x="30395" y="328646"/>
                    </a:moveTo>
                    <a:cubicBezTo>
                      <a:pt x="30395" y="328646"/>
                      <a:pt x="13291" y="265116"/>
                      <a:pt x="19806" y="208102"/>
                    </a:cubicBezTo>
                    <a:cubicBezTo>
                      <a:pt x="19806" y="208102"/>
                      <a:pt x="29580" y="47647"/>
                      <a:pt x="178632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0" name="Gruppieren 65">
              <a:extLst>
                <a:ext uri="{FF2B5EF4-FFF2-40B4-BE49-F238E27FC236}">
                  <a16:creationId xmlns:a16="http://schemas.microsoft.com/office/drawing/2014/main" id="{356953EF-CD1B-ABB7-D211-C189B0BD1A7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4483106" y="3209638"/>
              <a:ext cx="358756" cy="430343"/>
              <a:chOff x="9950269" y="7309727"/>
              <a:chExt cx="593871" cy="712373"/>
            </a:xfrm>
          </p:grpSpPr>
          <p:sp>
            <p:nvSpPr>
              <p:cNvPr id="120" name="Freihandform: Form 66">
                <a:extLst>
                  <a:ext uri="{FF2B5EF4-FFF2-40B4-BE49-F238E27FC236}">
                    <a16:creationId xmlns:a16="http://schemas.microsoft.com/office/drawing/2014/main" id="{8EE9B7E4-6E87-8BAE-256A-C441E3E84EBE}"/>
                  </a:ext>
                </a:extLst>
              </p:cNvPr>
              <p:cNvSpPr/>
              <p:nvPr/>
            </p:nvSpPr>
            <p:spPr bwMode="gray">
              <a:xfrm>
                <a:off x="10401133" y="7598991"/>
                <a:ext cx="43668" cy="136463"/>
              </a:xfrm>
              <a:custGeom>
                <a:avLst/>
                <a:gdLst>
                  <a:gd name="connsiteX0" fmla="*/ 12282 w 43668"/>
                  <a:gd name="connsiteY0" fmla="*/ 127456 h 136462"/>
                  <a:gd name="connsiteX1" fmla="*/ 12282 w 43668"/>
                  <a:gd name="connsiteY1" fmla="*/ 12282 h 136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668" h="136462">
                    <a:moveTo>
                      <a:pt x="12282" y="127456"/>
                    </a:moveTo>
                    <a:cubicBezTo>
                      <a:pt x="43941" y="95797"/>
                      <a:pt x="43941" y="43941"/>
                      <a:pt x="12282" y="1228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21" name="Freihandform: Form 67">
                <a:extLst>
                  <a:ext uri="{FF2B5EF4-FFF2-40B4-BE49-F238E27FC236}">
                    <a16:creationId xmlns:a16="http://schemas.microsoft.com/office/drawing/2014/main" id="{133ED818-C44E-ADF4-1C5C-B53A26330CE5}"/>
                  </a:ext>
                </a:extLst>
              </p:cNvPr>
              <p:cNvSpPr/>
              <p:nvPr/>
            </p:nvSpPr>
            <p:spPr bwMode="gray">
              <a:xfrm>
                <a:off x="9950269" y="7749175"/>
                <a:ext cx="294760" cy="272925"/>
              </a:xfrm>
              <a:custGeom>
                <a:avLst/>
                <a:gdLst>
                  <a:gd name="connsiteX0" fmla="*/ 175491 w 294759"/>
                  <a:gd name="connsiteY0" fmla="*/ 238729 h 272925"/>
                  <a:gd name="connsiteX1" fmla="*/ 186408 w 294759"/>
                  <a:gd name="connsiteY1" fmla="*/ 257834 h 272925"/>
                  <a:gd name="connsiteX2" fmla="*/ 207151 w 294759"/>
                  <a:gd name="connsiteY2" fmla="*/ 263293 h 272925"/>
                  <a:gd name="connsiteX3" fmla="*/ 227893 w 294759"/>
                  <a:gd name="connsiteY3" fmla="*/ 251284 h 272925"/>
                  <a:gd name="connsiteX4" fmla="*/ 233351 w 294759"/>
                  <a:gd name="connsiteY4" fmla="*/ 230542 h 272925"/>
                  <a:gd name="connsiteX5" fmla="*/ 222434 w 294759"/>
                  <a:gd name="connsiteY5" fmla="*/ 211983 h 272925"/>
                  <a:gd name="connsiteX6" fmla="*/ 248635 w 294759"/>
                  <a:gd name="connsiteY6" fmla="*/ 166131 h 272925"/>
                  <a:gd name="connsiteX7" fmla="*/ 270469 w 294759"/>
                  <a:gd name="connsiteY7" fmla="*/ 166131 h 272925"/>
                  <a:gd name="connsiteX8" fmla="*/ 285753 w 294759"/>
                  <a:gd name="connsiteY8" fmla="*/ 150847 h 272925"/>
                  <a:gd name="connsiteX9" fmla="*/ 285753 w 294759"/>
                  <a:gd name="connsiteY9" fmla="*/ 126830 h 272925"/>
                  <a:gd name="connsiteX10" fmla="*/ 270469 w 294759"/>
                  <a:gd name="connsiteY10" fmla="*/ 111546 h 272925"/>
                  <a:gd name="connsiteX11" fmla="*/ 248635 w 294759"/>
                  <a:gd name="connsiteY11" fmla="*/ 111546 h 272925"/>
                  <a:gd name="connsiteX12" fmla="*/ 222434 w 294759"/>
                  <a:gd name="connsiteY12" fmla="*/ 65695 h 272925"/>
                  <a:gd name="connsiteX13" fmla="*/ 233351 w 294759"/>
                  <a:gd name="connsiteY13" fmla="*/ 47136 h 272925"/>
                  <a:gd name="connsiteX14" fmla="*/ 227893 w 294759"/>
                  <a:gd name="connsiteY14" fmla="*/ 26393 h 272925"/>
                  <a:gd name="connsiteX15" fmla="*/ 207151 w 294759"/>
                  <a:gd name="connsiteY15" fmla="*/ 14385 h 272925"/>
                  <a:gd name="connsiteX16" fmla="*/ 186408 w 294759"/>
                  <a:gd name="connsiteY16" fmla="*/ 19843 h 272925"/>
                  <a:gd name="connsiteX17" fmla="*/ 175491 w 294759"/>
                  <a:gd name="connsiteY17" fmla="*/ 38948 h 272925"/>
                  <a:gd name="connsiteX18" fmla="*/ 122544 w 294759"/>
                  <a:gd name="connsiteY18" fmla="*/ 38948 h 272925"/>
                  <a:gd name="connsiteX19" fmla="*/ 111627 w 294759"/>
                  <a:gd name="connsiteY19" fmla="*/ 19843 h 272925"/>
                  <a:gd name="connsiteX20" fmla="*/ 90884 w 294759"/>
                  <a:gd name="connsiteY20" fmla="*/ 14385 h 272925"/>
                  <a:gd name="connsiteX21" fmla="*/ 70142 w 294759"/>
                  <a:gd name="connsiteY21" fmla="*/ 26393 h 272925"/>
                  <a:gd name="connsiteX22" fmla="*/ 64683 w 294759"/>
                  <a:gd name="connsiteY22" fmla="*/ 47136 h 272925"/>
                  <a:gd name="connsiteX23" fmla="*/ 75601 w 294759"/>
                  <a:gd name="connsiteY23" fmla="*/ 65695 h 272925"/>
                  <a:gd name="connsiteX24" fmla="*/ 49400 w 294759"/>
                  <a:gd name="connsiteY24" fmla="*/ 111546 h 272925"/>
                  <a:gd name="connsiteX25" fmla="*/ 27566 w 294759"/>
                  <a:gd name="connsiteY25" fmla="*/ 111546 h 272925"/>
                  <a:gd name="connsiteX26" fmla="*/ 12282 w 294759"/>
                  <a:gd name="connsiteY26" fmla="*/ 126830 h 272925"/>
                  <a:gd name="connsiteX27" fmla="*/ 12282 w 294759"/>
                  <a:gd name="connsiteY27" fmla="*/ 150847 h 272925"/>
                  <a:gd name="connsiteX28" fmla="*/ 27566 w 294759"/>
                  <a:gd name="connsiteY28" fmla="*/ 166131 h 272925"/>
                  <a:gd name="connsiteX29" fmla="*/ 49400 w 294759"/>
                  <a:gd name="connsiteY29" fmla="*/ 166131 h 272925"/>
                  <a:gd name="connsiteX30" fmla="*/ 75601 w 294759"/>
                  <a:gd name="connsiteY30" fmla="*/ 211983 h 272925"/>
                  <a:gd name="connsiteX31" fmla="*/ 64683 w 294759"/>
                  <a:gd name="connsiteY31" fmla="*/ 230542 h 272925"/>
                  <a:gd name="connsiteX32" fmla="*/ 70142 w 294759"/>
                  <a:gd name="connsiteY32" fmla="*/ 251284 h 272925"/>
                  <a:gd name="connsiteX33" fmla="*/ 90884 w 294759"/>
                  <a:gd name="connsiteY33" fmla="*/ 263293 h 272925"/>
                  <a:gd name="connsiteX34" fmla="*/ 111627 w 294759"/>
                  <a:gd name="connsiteY34" fmla="*/ 257834 h 272925"/>
                  <a:gd name="connsiteX35" fmla="*/ 122544 w 294759"/>
                  <a:gd name="connsiteY35" fmla="*/ 238729 h 272925"/>
                  <a:gd name="connsiteX36" fmla="*/ 175491 w 294759"/>
                  <a:gd name="connsiteY36" fmla="*/ 238729 h 27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94759" h="272925">
                    <a:moveTo>
                      <a:pt x="175491" y="238729"/>
                    </a:moveTo>
                    <a:lnTo>
                      <a:pt x="186408" y="257834"/>
                    </a:lnTo>
                    <a:cubicBezTo>
                      <a:pt x="190775" y="264930"/>
                      <a:pt x="200054" y="267659"/>
                      <a:pt x="207151" y="263293"/>
                    </a:cubicBezTo>
                    <a:lnTo>
                      <a:pt x="227893" y="251284"/>
                    </a:lnTo>
                    <a:cubicBezTo>
                      <a:pt x="234989" y="246917"/>
                      <a:pt x="237718" y="237638"/>
                      <a:pt x="233351" y="230542"/>
                    </a:cubicBezTo>
                    <a:lnTo>
                      <a:pt x="222434" y="211983"/>
                    </a:lnTo>
                    <a:cubicBezTo>
                      <a:pt x="235535" y="198882"/>
                      <a:pt x="244268" y="183053"/>
                      <a:pt x="248635" y="166131"/>
                    </a:cubicBezTo>
                    <a:lnTo>
                      <a:pt x="270469" y="166131"/>
                    </a:lnTo>
                    <a:cubicBezTo>
                      <a:pt x="278657" y="166131"/>
                      <a:pt x="285753" y="159581"/>
                      <a:pt x="285753" y="150847"/>
                    </a:cubicBezTo>
                    <a:lnTo>
                      <a:pt x="285753" y="126830"/>
                    </a:lnTo>
                    <a:cubicBezTo>
                      <a:pt x="285753" y="118642"/>
                      <a:pt x="279203" y="111546"/>
                      <a:pt x="270469" y="111546"/>
                    </a:cubicBezTo>
                    <a:lnTo>
                      <a:pt x="248635" y="111546"/>
                    </a:lnTo>
                    <a:cubicBezTo>
                      <a:pt x="244268" y="94625"/>
                      <a:pt x="235535" y="78795"/>
                      <a:pt x="222434" y="65695"/>
                    </a:cubicBezTo>
                    <a:lnTo>
                      <a:pt x="233351" y="47136"/>
                    </a:lnTo>
                    <a:cubicBezTo>
                      <a:pt x="237718" y="40040"/>
                      <a:pt x="234989" y="30760"/>
                      <a:pt x="227893" y="26393"/>
                    </a:cubicBezTo>
                    <a:lnTo>
                      <a:pt x="207151" y="14385"/>
                    </a:lnTo>
                    <a:cubicBezTo>
                      <a:pt x="200054" y="10018"/>
                      <a:pt x="190775" y="12747"/>
                      <a:pt x="186408" y="19843"/>
                    </a:cubicBezTo>
                    <a:lnTo>
                      <a:pt x="175491" y="38948"/>
                    </a:lnTo>
                    <a:cubicBezTo>
                      <a:pt x="158024" y="34581"/>
                      <a:pt x="140011" y="34581"/>
                      <a:pt x="122544" y="38948"/>
                    </a:cubicBezTo>
                    <a:lnTo>
                      <a:pt x="111627" y="19843"/>
                    </a:lnTo>
                    <a:cubicBezTo>
                      <a:pt x="107260" y="12747"/>
                      <a:pt x="97980" y="10018"/>
                      <a:pt x="90884" y="14385"/>
                    </a:cubicBezTo>
                    <a:lnTo>
                      <a:pt x="70142" y="26393"/>
                    </a:lnTo>
                    <a:cubicBezTo>
                      <a:pt x="63046" y="30760"/>
                      <a:pt x="60317" y="40040"/>
                      <a:pt x="64683" y="47136"/>
                    </a:cubicBezTo>
                    <a:lnTo>
                      <a:pt x="75601" y="65695"/>
                    </a:lnTo>
                    <a:cubicBezTo>
                      <a:pt x="62500" y="78795"/>
                      <a:pt x="53766" y="94625"/>
                      <a:pt x="49400" y="111546"/>
                    </a:cubicBezTo>
                    <a:lnTo>
                      <a:pt x="27566" y="111546"/>
                    </a:lnTo>
                    <a:cubicBezTo>
                      <a:pt x="19378" y="111546"/>
                      <a:pt x="12282" y="118096"/>
                      <a:pt x="12282" y="126830"/>
                    </a:cubicBezTo>
                    <a:lnTo>
                      <a:pt x="12282" y="150847"/>
                    </a:lnTo>
                    <a:cubicBezTo>
                      <a:pt x="12282" y="159035"/>
                      <a:pt x="18832" y="166131"/>
                      <a:pt x="27566" y="166131"/>
                    </a:cubicBezTo>
                    <a:lnTo>
                      <a:pt x="49400" y="166131"/>
                    </a:lnTo>
                    <a:cubicBezTo>
                      <a:pt x="53766" y="183053"/>
                      <a:pt x="62500" y="198882"/>
                      <a:pt x="75601" y="211983"/>
                    </a:cubicBezTo>
                    <a:lnTo>
                      <a:pt x="64683" y="230542"/>
                    </a:lnTo>
                    <a:cubicBezTo>
                      <a:pt x="60317" y="237638"/>
                      <a:pt x="63046" y="246917"/>
                      <a:pt x="70142" y="251284"/>
                    </a:cubicBezTo>
                    <a:lnTo>
                      <a:pt x="90884" y="263293"/>
                    </a:lnTo>
                    <a:cubicBezTo>
                      <a:pt x="97980" y="267659"/>
                      <a:pt x="107260" y="264930"/>
                      <a:pt x="111627" y="257834"/>
                    </a:cubicBezTo>
                    <a:lnTo>
                      <a:pt x="122544" y="238729"/>
                    </a:lnTo>
                    <a:cubicBezTo>
                      <a:pt x="140011" y="243096"/>
                      <a:pt x="158024" y="243096"/>
                      <a:pt x="175491" y="238729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0" name="Freihandform: Form 68">
                <a:extLst>
                  <a:ext uri="{FF2B5EF4-FFF2-40B4-BE49-F238E27FC236}">
                    <a16:creationId xmlns:a16="http://schemas.microsoft.com/office/drawing/2014/main" id="{81380F0C-1798-15F3-DACC-7AC3EFFABE04}"/>
                  </a:ext>
                </a:extLst>
              </p:cNvPr>
              <p:cNvSpPr/>
              <p:nvPr/>
            </p:nvSpPr>
            <p:spPr bwMode="gray">
              <a:xfrm>
                <a:off x="10156587" y="7488828"/>
                <a:ext cx="387553" cy="360261"/>
              </a:xfrm>
              <a:custGeom>
                <a:avLst/>
                <a:gdLst>
                  <a:gd name="connsiteX0" fmla="*/ 230622 w 387553"/>
                  <a:gd name="connsiteY0" fmla="*/ 313492 h 360261"/>
                  <a:gd name="connsiteX1" fmla="*/ 245360 w 387553"/>
                  <a:gd name="connsiteY1" fmla="*/ 338601 h 360261"/>
                  <a:gd name="connsiteX2" fmla="*/ 273198 w 387553"/>
                  <a:gd name="connsiteY2" fmla="*/ 346243 h 360261"/>
                  <a:gd name="connsiteX3" fmla="*/ 301037 w 387553"/>
                  <a:gd name="connsiteY3" fmla="*/ 330413 h 360261"/>
                  <a:gd name="connsiteX4" fmla="*/ 308678 w 387553"/>
                  <a:gd name="connsiteY4" fmla="*/ 302575 h 360261"/>
                  <a:gd name="connsiteX5" fmla="*/ 294486 w 387553"/>
                  <a:gd name="connsiteY5" fmla="*/ 277465 h 360261"/>
                  <a:gd name="connsiteX6" fmla="*/ 329421 w 387553"/>
                  <a:gd name="connsiteY6" fmla="*/ 216876 h 360261"/>
                  <a:gd name="connsiteX7" fmla="*/ 358351 w 387553"/>
                  <a:gd name="connsiteY7" fmla="*/ 216876 h 360261"/>
                  <a:gd name="connsiteX8" fmla="*/ 378547 w 387553"/>
                  <a:gd name="connsiteY8" fmla="*/ 196679 h 360261"/>
                  <a:gd name="connsiteX9" fmla="*/ 378547 w 387553"/>
                  <a:gd name="connsiteY9" fmla="*/ 164474 h 360261"/>
                  <a:gd name="connsiteX10" fmla="*/ 358351 w 387553"/>
                  <a:gd name="connsiteY10" fmla="*/ 144278 h 360261"/>
                  <a:gd name="connsiteX11" fmla="*/ 329421 w 387553"/>
                  <a:gd name="connsiteY11" fmla="*/ 144278 h 360261"/>
                  <a:gd name="connsiteX12" fmla="*/ 294486 w 387553"/>
                  <a:gd name="connsiteY12" fmla="*/ 83688 h 360261"/>
                  <a:gd name="connsiteX13" fmla="*/ 308678 w 387553"/>
                  <a:gd name="connsiteY13" fmla="*/ 58579 h 360261"/>
                  <a:gd name="connsiteX14" fmla="*/ 301037 w 387553"/>
                  <a:gd name="connsiteY14" fmla="*/ 30741 h 360261"/>
                  <a:gd name="connsiteX15" fmla="*/ 273198 w 387553"/>
                  <a:gd name="connsiteY15" fmla="*/ 14911 h 360261"/>
                  <a:gd name="connsiteX16" fmla="*/ 245360 w 387553"/>
                  <a:gd name="connsiteY16" fmla="*/ 22553 h 360261"/>
                  <a:gd name="connsiteX17" fmla="*/ 230622 w 387553"/>
                  <a:gd name="connsiteY17" fmla="*/ 47662 h 360261"/>
                  <a:gd name="connsiteX18" fmla="*/ 160207 w 387553"/>
                  <a:gd name="connsiteY18" fmla="*/ 47662 h 360261"/>
                  <a:gd name="connsiteX19" fmla="*/ 145469 w 387553"/>
                  <a:gd name="connsiteY19" fmla="*/ 22553 h 360261"/>
                  <a:gd name="connsiteX20" fmla="*/ 117630 w 387553"/>
                  <a:gd name="connsiteY20" fmla="*/ 14911 h 360261"/>
                  <a:gd name="connsiteX21" fmla="*/ 89792 w 387553"/>
                  <a:gd name="connsiteY21" fmla="*/ 30741 h 360261"/>
                  <a:gd name="connsiteX22" fmla="*/ 82150 w 387553"/>
                  <a:gd name="connsiteY22" fmla="*/ 58579 h 360261"/>
                  <a:gd name="connsiteX23" fmla="*/ 96343 w 387553"/>
                  <a:gd name="connsiteY23" fmla="*/ 83688 h 360261"/>
                  <a:gd name="connsiteX24" fmla="*/ 61408 w 387553"/>
                  <a:gd name="connsiteY24" fmla="*/ 144278 h 360261"/>
                  <a:gd name="connsiteX25" fmla="*/ 32478 w 387553"/>
                  <a:gd name="connsiteY25" fmla="*/ 144278 h 360261"/>
                  <a:gd name="connsiteX26" fmla="*/ 12282 w 387553"/>
                  <a:gd name="connsiteY26" fmla="*/ 164474 h 360261"/>
                  <a:gd name="connsiteX27" fmla="*/ 12282 w 387553"/>
                  <a:gd name="connsiteY27" fmla="*/ 196679 h 360261"/>
                  <a:gd name="connsiteX28" fmla="*/ 32478 w 387553"/>
                  <a:gd name="connsiteY28" fmla="*/ 216876 h 360261"/>
                  <a:gd name="connsiteX29" fmla="*/ 61408 w 387553"/>
                  <a:gd name="connsiteY29" fmla="*/ 216876 h 360261"/>
                  <a:gd name="connsiteX30" fmla="*/ 96343 w 387553"/>
                  <a:gd name="connsiteY30" fmla="*/ 277465 h 360261"/>
                  <a:gd name="connsiteX31" fmla="*/ 82150 w 387553"/>
                  <a:gd name="connsiteY31" fmla="*/ 302575 h 360261"/>
                  <a:gd name="connsiteX32" fmla="*/ 89792 w 387553"/>
                  <a:gd name="connsiteY32" fmla="*/ 330413 h 360261"/>
                  <a:gd name="connsiteX33" fmla="*/ 117630 w 387553"/>
                  <a:gd name="connsiteY33" fmla="*/ 346243 h 360261"/>
                  <a:gd name="connsiteX34" fmla="*/ 145469 w 387553"/>
                  <a:gd name="connsiteY34" fmla="*/ 338601 h 360261"/>
                  <a:gd name="connsiteX35" fmla="*/ 160207 w 387553"/>
                  <a:gd name="connsiteY35" fmla="*/ 313492 h 360261"/>
                  <a:gd name="connsiteX36" fmla="*/ 230622 w 387553"/>
                  <a:gd name="connsiteY36" fmla="*/ 313492 h 360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387553" h="360261">
                    <a:moveTo>
                      <a:pt x="230622" y="313492"/>
                    </a:moveTo>
                    <a:lnTo>
                      <a:pt x="245360" y="338601"/>
                    </a:lnTo>
                    <a:cubicBezTo>
                      <a:pt x="250818" y="348426"/>
                      <a:pt x="263373" y="351701"/>
                      <a:pt x="273198" y="346243"/>
                    </a:cubicBezTo>
                    <a:lnTo>
                      <a:pt x="301037" y="330413"/>
                    </a:lnTo>
                    <a:cubicBezTo>
                      <a:pt x="310862" y="324954"/>
                      <a:pt x="314137" y="312400"/>
                      <a:pt x="308678" y="302575"/>
                    </a:cubicBezTo>
                    <a:lnTo>
                      <a:pt x="294486" y="277465"/>
                    </a:lnTo>
                    <a:cubicBezTo>
                      <a:pt x="311954" y="259998"/>
                      <a:pt x="323416" y="238710"/>
                      <a:pt x="329421" y="216876"/>
                    </a:cubicBezTo>
                    <a:lnTo>
                      <a:pt x="358351" y="216876"/>
                    </a:lnTo>
                    <a:cubicBezTo>
                      <a:pt x="369268" y="216876"/>
                      <a:pt x="378547" y="207596"/>
                      <a:pt x="378547" y="196679"/>
                    </a:cubicBezTo>
                    <a:lnTo>
                      <a:pt x="378547" y="164474"/>
                    </a:lnTo>
                    <a:cubicBezTo>
                      <a:pt x="378547" y="153557"/>
                      <a:pt x="369268" y="144278"/>
                      <a:pt x="358351" y="144278"/>
                    </a:cubicBezTo>
                    <a:lnTo>
                      <a:pt x="329421" y="144278"/>
                    </a:lnTo>
                    <a:cubicBezTo>
                      <a:pt x="323416" y="121898"/>
                      <a:pt x="311954" y="101156"/>
                      <a:pt x="294486" y="83688"/>
                    </a:cubicBezTo>
                    <a:lnTo>
                      <a:pt x="308678" y="58579"/>
                    </a:lnTo>
                    <a:cubicBezTo>
                      <a:pt x="314137" y="48754"/>
                      <a:pt x="310862" y="36745"/>
                      <a:pt x="301037" y="30741"/>
                    </a:cubicBezTo>
                    <a:lnTo>
                      <a:pt x="273198" y="14911"/>
                    </a:lnTo>
                    <a:cubicBezTo>
                      <a:pt x="263373" y="9453"/>
                      <a:pt x="251364" y="12728"/>
                      <a:pt x="245360" y="22553"/>
                    </a:cubicBezTo>
                    <a:lnTo>
                      <a:pt x="230622" y="47662"/>
                    </a:lnTo>
                    <a:cubicBezTo>
                      <a:pt x="207696" y="41658"/>
                      <a:pt x="183679" y="41658"/>
                      <a:pt x="160207" y="47662"/>
                    </a:cubicBezTo>
                    <a:lnTo>
                      <a:pt x="145469" y="22553"/>
                    </a:lnTo>
                    <a:cubicBezTo>
                      <a:pt x="140011" y="12728"/>
                      <a:pt x="127456" y="9453"/>
                      <a:pt x="117630" y="14911"/>
                    </a:cubicBezTo>
                    <a:lnTo>
                      <a:pt x="89792" y="30741"/>
                    </a:lnTo>
                    <a:cubicBezTo>
                      <a:pt x="79967" y="36199"/>
                      <a:pt x="76692" y="48754"/>
                      <a:pt x="82150" y="58579"/>
                    </a:cubicBezTo>
                    <a:lnTo>
                      <a:pt x="96343" y="83688"/>
                    </a:lnTo>
                    <a:cubicBezTo>
                      <a:pt x="78875" y="101156"/>
                      <a:pt x="67412" y="122444"/>
                      <a:pt x="61408" y="144278"/>
                    </a:cubicBezTo>
                    <a:lnTo>
                      <a:pt x="32478" y="144278"/>
                    </a:lnTo>
                    <a:cubicBezTo>
                      <a:pt x="21561" y="144278"/>
                      <a:pt x="12282" y="153557"/>
                      <a:pt x="12282" y="164474"/>
                    </a:cubicBezTo>
                    <a:lnTo>
                      <a:pt x="12282" y="196679"/>
                    </a:lnTo>
                    <a:cubicBezTo>
                      <a:pt x="12282" y="207596"/>
                      <a:pt x="21561" y="216876"/>
                      <a:pt x="32478" y="216876"/>
                    </a:cubicBezTo>
                    <a:lnTo>
                      <a:pt x="61408" y="216876"/>
                    </a:lnTo>
                    <a:cubicBezTo>
                      <a:pt x="67412" y="239256"/>
                      <a:pt x="78875" y="259998"/>
                      <a:pt x="96343" y="277465"/>
                    </a:cubicBezTo>
                    <a:lnTo>
                      <a:pt x="82150" y="302575"/>
                    </a:lnTo>
                    <a:cubicBezTo>
                      <a:pt x="76692" y="312400"/>
                      <a:pt x="79967" y="324409"/>
                      <a:pt x="89792" y="330413"/>
                    </a:cubicBezTo>
                    <a:lnTo>
                      <a:pt x="117630" y="346243"/>
                    </a:lnTo>
                    <a:cubicBezTo>
                      <a:pt x="127456" y="351701"/>
                      <a:pt x="139464" y="348426"/>
                      <a:pt x="145469" y="338601"/>
                    </a:cubicBezTo>
                    <a:lnTo>
                      <a:pt x="160207" y="313492"/>
                    </a:lnTo>
                    <a:cubicBezTo>
                      <a:pt x="183132" y="319496"/>
                      <a:pt x="207696" y="319496"/>
                      <a:pt x="230622" y="313492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1" name="Freihandform: Form 69">
                <a:extLst>
                  <a:ext uri="{FF2B5EF4-FFF2-40B4-BE49-F238E27FC236}">
                    <a16:creationId xmlns:a16="http://schemas.microsoft.com/office/drawing/2014/main" id="{E6955055-7556-2D8E-864C-726CF1186A29}"/>
                  </a:ext>
                </a:extLst>
              </p:cNvPr>
              <p:cNvSpPr/>
              <p:nvPr/>
            </p:nvSpPr>
            <p:spPr bwMode="gray">
              <a:xfrm>
                <a:off x="9950775" y="7309727"/>
                <a:ext cx="294759" cy="283842"/>
              </a:xfrm>
              <a:custGeom>
                <a:avLst/>
                <a:gdLst>
                  <a:gd name="connsiteX0" fmla="*/ 251396 w 294759"/>
                  <a:gd name="connsiteY0" fmla="*/ 162354 h 283842"/>
                  <a:gd name="connsiteX1" fmla="*/ 273230 w 294759"/>
                  <a:gd name="connsiteY1" fmla="*/ 160716 h 283842"/>
                  <a:gd name="connsiteX2" fmla="*/ 287422 w 294759"/>
                  <a:gd name="connsiteY2" fmla="*/ 144341 h 283842"/>
                  <a:gd name="connsiteX3" fmla="*/ 285785 w 294759"/>
                  <a:gd name="connsiteY3" fmla="*/ 120324 h 283842"/>
                  <a:gd name="connsiteX4" fmla="*/ 269409 w 294759"/>
                  <a:gd name="connsiteY4" fmla="*/ 106131 h 283842"/>
                  <a:gd name="connsiteX5" fmla="*/ 247575 w 294759"/>
                  <a:gd name="connsiteY5" fmla="*/ 107769 h 283842"/>
                  <a:gd name="connsiteX6" fmla="*/ 217553 w 294759"/>
                  <a:gd name="connsiteY6" fmla="*/ 64101 h 283842"/>
                  <a:gd name="connsiteX7" fmla="*/ 226833 w 294759"/>
                  <a:gd name="connsiteY7" fmla="*/ 44450 h 283842"/>
                  <a:gd name="connsiteX8" fmla="*/ 219736 w 294759"/>
                  <a:gd name="connsiteY8" fmla="*/ 24254 h 283842"/>
                  <a:gd name="connsiteX9" fmla="*/ 197902 w 294759"/>
                  <a:gd name="connsiteY9" fmla="*/ 13883 h 283842"/>
                  <a:gd name="connsiteX10" fmla="*/ 177706 w 294759"/>
                  <a:gd name="connsiteY10" fmla="*/ 20979 h 283842"/>
                  <a:gd name="connsiteX11" fmla="*/ 168427 w 294759"/>
                  <a:gd name="connsiteY11" fmla="*/ 40629 h 283842"/>
                  <a:gd name="connsiteX12" fmla="*/ 116025 w 294759"/>
                  <a:gd name="connsiteY12" fmla="*/ 44450 h 283842"/>
                  <a:gd name="connsiteX13" fmla="*/ 103471 w 294759"/>
                  <a:gd name="connsiteY13" fmla="*/ 26437 h 283842"/>
                  <a:gd name="connsiteX14" fmla="*/ 82182 w 294759"/>
                  <a:gd name="connsiteY14" fmla="*/ 22616 h 283842"/>
                  <a:gd name="connsiteX15" fmla="*/ 62532 w 294759"/>
                  <a:gd name="connsiteY15" fmla="*/ 36262 h 283842"/>
                  <a:gd name="connsiteX16" fmla="*/ 58711 w 294759"/>
                  <a:gd name="connsiteY16" fmla="*/ 57551 h 283842"/>
                  <a:gd name="connsiteX17" fmla="*/ 71265 w 294759"/>
                  <a:gd name="connsiteY17" fmla="*/ 75564 h 283842"/>
                  <a:gd name="connsiteX18" fmla="*/ 48339 w 294759"/>
                  <a:gd name="connsiteY18" fmla="*/ 123053 h 283842"/>
                  <a:gd name="connsiteX19" fmla="*/ 26505 w 294759"/>
                  <a:gd name="connsiteY19" fmla="*/ 124690 h 283842"/>
                  <a:gd name="connsiteX20" fmla="*/ 12313 w 294759"/>
                  <a:gd name="connsiteY20" fmla="*/ 141066 h 283842"/>
                  <a:gd name="connsiteX21" fmla="*/ 13951 w 294759"/>
                  <a:gd name="connsiteY21" fmla="*/ 165083 h 283842"/>
                  <a:gd name="connsiteX22" fmla="*/ 30326 w 294759"/>
                  <a:gd name="connsiteY22" fmla="*/ 179275 h 283842"/>
                  <a:gd name="connsiteX23" fmla="*/ 52160 w 294759"/>
                  <a:gd name="connsiteY23" fmla="*/ 177638 h 283842"/>
                  <a:gd name="connsiteX24" fmla="*/ 82182 w 294759"/>
                  <a:gd name="connsiteY24" fmla="*/ 221306 h 283842"/>
                  <a:gd name="connsiteX25" fmla="*/ 72903 w 294759"/>
                  <a:gd name="connsiteY25" fmla="*/ 240956 h 283842"/>
                  <a:gd name="connsiteX26" fmla="*/ 79999 w 294759"/>
                  <a:gd name="connsiteY26" fmla="*/ 261153 h 283842"/>
                  <a:gd name="connsiteX27" fmla="*/ 101833 w 294759"/>
                  <a:gd name="connsiteY27" fmla="*/ 271524 h 283842"/>
                  <a:gd name="connsiteX28" fmla="*/ 122029 w 294759"/>
                  <a:gd name="connsiteY28" fmla="*/ 264428 h 283842"/>
                  <a:gd name="connsiteX29" fmla="*/ 131309 w 294759"/>
                  <a:gd name="connsiteY29" fmla="*/ 244777 h 283842"/>
                  <a:gd name="connsiteX30" fmla="*/ 183710 w 294759"/>
                  <a:gd name="connsiteY30" fmla="*/ 240956 h 283842"/>
                  <a:gd name="connsiteX31" fmla="*/ 196265 w 294759"/>
                  <a:gd name="connsiteY31" fmla="*/ 258970 h 283842"/>
                  <a:gd name="connsiteX32" fmla="*/ 217553 w 294759"/>
                  <a:gd name="connsiteY32" fmla="*/ 262790 h 283842"/>
                  <a:gd name="connsiteX33" fmla="*/ 237204 w 294759"/>
                  <a:gd name="connsiteY33" fmla="*/ 249144 h 283842"/>
                  <a:gd name="connsiteX34" fmla="*/ 241025 w 294759"/>
                  <a:gd name="connsiteY34" fmla="*/ 227856 h 283842"/>
                  <a:gd name="connsiteX35" fmla="*/ 228471 w 294759"/>
                  <a:gd name="connsiteY35" fmla="*/ 209843 h 283842"/>
                  <a:gd name="connsiteX36" fmla="*/ 251396 w 294759"/>
                  <a:gd name="connsiteY36" fmla="*/ 162354 h 283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94759" h="283842">
                    <a:moveTo>
                      <a:pt x="251396" y="162354"/>
                    </a:moveTo>
                    <a:lnTo>
                      <a:pt x="273230" y="160716"/>
                    </a:lnTo>
                    <a:cubicBezTo>
                      <a:pt x="281418" y="160171"/>
                      <a:pt x="287968" y="152529"/>
                      <a:pt x="287422" y="144341"/>
                    </a:cubicBezTo>
                    <a:lnTo>
                      <a:pt x="285785" y="120324"/>
                    </a:lnTo>
                    <a:cubicBezTo>
                      <a:pt x="285238" y="112136"/>
                      <a:pt x="277597" y="105585"/>
                      <a:pt x="269409" y="106131"/>
                    </a:cubicBezTo>
                    <a:lnTo>
                      <a:pt x="247575" y="107769"/>
                    </a:lnTo>
                    <a:cubicBezTo>
                      <a:pt x="241570" y="90302"/>
                      <a:pt x="230653" y="75564"/>
                      <a:pt x="217553" y="64101"/>
                    </a:cubicBezTo>
                    <a:lnTo>
                      <a:pt x="226833" y="44450"/>
                    </a:lnTo>
                    <a:cubicBezTo>
                      <a:pt x="230653" y="36808"/>
                      <a:pt x="227378" y="28075"/>
                      <a:pt x="219736" y="24254"/>
                    </a:cubicBezTo>
                    <a:lnTo>
                      <a:pt x="197902" y="13883"/>
                    </a:lnTo>
                    <a:cubicBezTo>
                      <a:pt x="190261" y="10062"/>
                      <a:pt x="181527" y="13337"/>
                      <a:pt x="177706" y="20979"/>
                    </a:cubicBezTo>
                    <a:lnTo>
                      <a:pt x="168427" y="40629"/>
                    </a:lnTo>
                    <a:cubicBezTo>
                      <a:pt x="151505" y="37354"/>
                      <a:pt x="133492" y="38446"/>
                      <a:pt x="116025" y="44450"/>
                    </a:cubicBezTo>
                    <a:lnTo>
                      <a:pt x="103471" y="26437"/>
                    </a:lnTo>
                    <a:cubicBezTo>
                      <a:pt x="98558" y="19341"/>
                      <a:pt x="89278" y="17703"/>
                      <a:pt x="82182" y="22616"/>
                    </a:cubicBezTo>
                    <a:lnTo>
                      <a:pt x="62532" y="36262"/>
                    </a:lnTo>
                    <a:cubicBezTo>
                      <a:pt x="55435" y="41175"/>
                      <a:pt x="53798" y="50455"/>
                      <a:pt x="58711" y="57551"/>
                    </a:cubicBezTo>
                    <a:lnTo>
                      <a:pt x="71265" y="75564"/>
                    </a:lnTo>
                    <a:cubicBezTo>
                      <a:pt x="59803" y="89210"/>
                      <a:pt x="52160" y="105585"/>
                      <a:pt x="48339" y="123053"/>
                    </a:cubicBezTo>
                    <a:lnTo>
                      <a:pt x="26505" y="124690"/>
                    </a:lnTo>
                    <a:cubicBezTo>
                      <a:pt x="18318" y="125236"/>
                      <a:pt x="11767" y="132878"/>
                      <a:pt x="12313" y="141066"/>
                    </a:cubicBezTo>
                    <a:lnTo>
                      <a:pt x="13951" y="165083"/>
                    </a:lnTo>
                    <a:cubicBezTo>
                      <a:pt x="14497" y="173271"/>
                      <a:pt x="22139" y="179821"/>
                      <a:pt x="30326" y="179275"/>
                    </a:cubicBezTo>
                    <a:lnTo>
                      <a:pt x="52160" y="177638"/>
                    </a:lnTo>
                    <a:cubicBezTo>
                      <a:pt x="58165" y="195105"/>
                      <a:pt x="69082" y="209843"/>
                      <a:pt x="82182" y="221306"/>
                    </a:cubicBezTo>
                    <a:lnTo>
                      <a:pt x="72903" y="240956"/>
                    </a:lnTo>
                    <a:cubicBezTo>
                      <a:pt x="69082" y="248598"/>
                      <a:pt x="72357" y="257332"/>
                      <a:pt x="79999" y="261153"/>
                    </a:cubicBezTo>
                    <a:lnTo>
                      <a:pt x="101833" y="271524"/>
                    </a:lnTo>
                    <a:cubicBezTo>
                      <a:pt x="109475" y="275345"/>
                      <a:pt x="118208" y="272070"/>
                      <a:pt x="122029" y="264428"/>
                    </a:cubicBezTo>
                    <a:lnTo>
                      <a:pt x="131309" y="244777"/>
                    </a:lnTo>
                    <a:cubicBezTo>
                      <a:pt x="148230" y="248053"/>
                      <a:pt x="166243" y="246961"/>
                      <a:pt x="183710" y="240956"/>
                    </a:cubicBezTo>
                    <a:lnTo>
                      <a:pt x="196265" y="258970"/>
                    </a:lnTo>
                    <a:cubicBezTo>
                      <a:pt x="201178" y="266066"/>
                      <a:pt x="210457" y="267703"/>
                      <a:pt x="217553" y="262790"/>
                    </a:cubicBezTo>
                    <a:lnTo>
                      <a:pt x="237204" y="249144"/>
                    </a:lnTo>
                    <a:cubicBezTo>
                      <a:pt x="244300" y="244232"/>
                      <a:pt x="245937" y="234952"/>
                      <a:pt x="241025" y="227856"/>
                    </a:cubicBezTo>
                    <a:lnTo>
                      <a:pt x="228471" y="209843"/>
                    </a:lnTo>
                    <a:cubicBezTo>
                      <a:pt x="239933" y="196197"/>
                      <a:pt x="248121" y="179821"/>
                      <a:pt x="251396" y="162354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2" name="Freihandform: Form 70">
                <a:extLst>
                  <a:ext uri="{FF2B5EF4-FFF2-40B4-BE49-F238E27FC236}">
                    <a16:creationId xmlns:a16="http://schemas.microsoft.com/office/drawing/2014/main" id="{771509DF-D629-194E-B879-AA91EB43448D}"/>
                  </a:ext>
                </a:extLst>
              </p:cNvPr>
              <p:cNvSpPr/>
              <p:nvPr/>
            </p:nvSpPr>
            <p:spPr bwMode="gray">
              <a:xfrm>
                <a:off x="10048514" y="7400847"/>
                <a:ext cx="98253" cy="98253"/>
              </a:xfrm>
              <a:custGeom>
                <a:avLst/>
                <a:gdLst>
                  <a:gd name="connsiteX0" fmla="*/ 90884 w 98253"/>
                  <a:gd name="connsiteY0" fmla="*/ 51583 h 98253"/>
                  <a:gd name="connsiteX1" fmla="*/ 51583 w 98253"/>
                  <a:gd name="connsiteY1" fmla="*/ 12282 h 98253"/>
                  <a:gd name="connsiteX2" fmla="*/ 12282 w 98253"/>
                  <a:gd name="connsiteY2" fmla="*/ 51583 h 98253"/>
                  <a:gd name="connsiteX3" fmla="*/ 51583 w 98253"/>
                  <a:gd name="connsiteY3" fmla="*/ 90884 h 98253"/>
                  <a:gd name="connsiteX4" fmla="*/ 90884 w 98253"/>
                  <a:gd name="connsiteY4" fmla="*/ 51583 h 9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253" h="98253">
                    <a:moveTo>
                      <a:pt x="90884" y="51583"/>
                    </a:moveTo>
                    <a:cubicBezTo>
                      <a:pt x="90884" y="29749"/>
                      <a:pt x="73417" y="12282"/>
                      <a:pt x="51583" y="12282"/>
                    </a:cubicBezTo>
                    <a:cubicBezTo>
                      <a:pt x="29749" y="12282"/>
                      <a:pt x="12282" y="29749"/>
                      <a:pt x="12282" y="51583"/>
                    </a:cubicBezTo>
                    <a:cubicBezTo>
                      <a:pt x="12282" y="73417"/>
                      <a:pt x="29749" y="90884"/>
                      <a:pt x="51583" y="90884"/>
                    </a:cubicBezTo>
                    <a:cubicBezTo>
                      <a:pt x="73417" y="90884"/>
                      <a:pt x="90884" y="73417"/>
                      <a:pt x="90884" y="5158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3" name="Freihandform: Form 71">
                <a:extLst>
                  <a:ext uri="{FF2B5EF4-FFF2-40B4-BE49-F238E27FC236}">
                    <a16:creationId xmlns:a16="http://schemas.microsoft.com/office/drawing/2014/main" id="{6C435044-BB94-7DEC-6EBE-82A8F50D05D4}"/>
                  </a:ext>
                </a:extLst>
              </p:cNvPr>
              <p:cNvSpPr/>
              <p:nvPr/>
            </p:nvSpPr>
            <p:spPr bwMode="gray">
              <a:xfrm>
                <a:off x="10047416" y="7835880"/>
                <a:ext cx="98253" cy="98252"/>
              </a:xfrm>
              <a:custGeom>
                <a:avLst/>
                <a:gdLst>
                  <a:gd name="connsiteX0" fmla="*/ 90884 w 98253"/>
                  <a:gd name="connsiteY0" fmla="*/ 51583 h 98253"/>
                  <a:gd name="connsiteX1" fmla="*/ 51583 w 98253"/>
                  <a:gd name="connsiteY1" fmla="*/ 90884 h 98253"/>
                  <a:gd name="connsiteX2" fmla="*/ 12282 w 98253"/>
                  <a:gd name="connsiteY2" fmla="*/ 51583 h 98253"/>
                  <a:gd name="connsiteX3" fmla="*/ 51583 w 98253"/>
                  <a:gd name="connsiteY3" fmla="*/ 12282 h 98253"/>
                  <a:gd name="connsiteX4" fmla="*/ 90884 w 98253"/>
                  <a:gd name="connsiteY4" fmla="*/ 51583 h 9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253" h="98253">
                    <a:moveTo>
                      <a:pt x="90884" y="51583"/>
                    </a:moveTo>
                    <a:cubicBezTo>
                      <a:pt x="90884" y="73288"/>
                      <a:pt x="73289" y="90884"/>
                      <a:pt x="51583" y="90884"/>
                    </a:cubicBezTo>
                    <a:cubicBezTo>
                      <a:pt x="29878" y="90884"/>
                      <a:pt x="12282" y="73288"/>
                      <a:pt x="12282" y="51583"/>
                    </a:cubicBezTo>
                    <a:cubicBezTo>
                      <a:pt x="12282" y="29877"/>
                      <a:pt x="29878" y="12282"/>
                      <a:pt x="51583" y="12282"/>
                    </a:cubicBezTo>
                    <a:cubicBezTo>
                      <a:pt x="73289" y="12282"/>
                      <a:pt x="90884" y="29877"/>
                      <a:pt x="90884" y="5158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34" name="Freihandform: Form 72">
                <a:extLst>
                  <a:ext uri="{FF2B5EF4-FFF2-40B4-BE49-F238E27FC236}">
                    <a16:creationId xmlns:a16="http://schemas.microsoft.com/office/drawing/2014/main" id="{F35CB20C-8105-5ABF-2A0A-2C6AEDB573DC}"/>
                  </a:ext>
                </a:extLst>
              </p:cNvPr>
              <p:cNvSpPr/>
              <p:nvPr/>
            </p:nvSpPr>
            <p:spPr bwMode="gray">
              <a:xfrm>
                <a:off x="10304648" y="7621507"/>
                <a:ext cx="92795" cy="92795"/>
              </a:xfrm>
              <a:custGeom>
                <a:avLst/>
                <a:gdLst>
                  <a:gd name="connsiteX0" fmla="*/ 72189 w 92794"/>
                  <a:gd name="connsiteY0" fmla="*/ 22516 h 92794"/>
                  <a:gd name="connsiteX1" fmla="*/ 22516 w 92794"/>
                  <a:gd name="connsiteY1" fmla="*/ 22516 h 92794"/>
                  <a:gd name="connsiteX2" fmla="*/ 22516 w 92794"/>
                  <a:gd name="connsiteY2" fmla="*/ 72189 h 92794"/>
                  <a:gd name="connsiteX3" fmla="*/ 72189 w 92794"/>
                  <a:gd name="connsiteY3" fmla="*/ 72189 h 92794"/>
                  <a:gd name="connsiteX4" fmla="*/ 72189 w 92794"/>
                  <a:gd name="connsiteY4" fmla="*/ 22516 h 92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794" h="92794">
                    <a:moveTo>
                      <a:pt x="72189" y="22516"/>
                    </a:moveTo>
                    <a:cubicBezTo>
                      <a:pt x="58542" y="8870"/>
                      <a:pt x="36163" y="8870"/>
                      <a:pt x="22516" y="22516"/>
                    </a:cubicBezTo>
                    <a:cubicBezTo>
                      <a:pt x="8870" y="36163"/>
                      <a:pt x="8870" y="58543"/>
                      <a:pt x="22516" y="72189"/>
                    </a:cubicBezTo>
                    <a:cubicBezTo>
                      <a:pt x="36163" y="85835"/>
                      <a:pt x="58542" y="85835"/>
                      <a:pt x="72189" y="72189"/>
                    </a:cubicBezTo>
                    <a:cubicBezTo>
                      <a:pt x="85835" y="58543"/>
                      <a:pt x="85835" y="36163"/>
                      <a:pt x="72189" y="22516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1" name="Gruppieren 73">
              <a:extLst>
                <a:ext uri="{FF2B5EF4-FFF2-40B4-BE49-F238E27FC236}">
                  <a16:creationId xmlns:a16="http://schemas.microsoft.com/office/drawing/2014/main" id="{ABB9B36C-3783-A318-6B73-FAA9D6335EDF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1089361" y="1658945"/>
              <a:ext cx="409880" cy="419491"/>
              <a:chOff x="9963221" y="4066766"/>
              <a:chExt cx="630632" cy="645417"/>
            </a:xfrm>
          </p:grpSpPr>
          <p:sp>
            <p:nvSpPr>
              <p:cNvPr id="116" name="Freihandform: Form 74">
                <a:extLst>
                  <a:ext uri="{FF2B5EF4-FFF2-40B4-BE49-F238E27FC236}">
                    <a16:creationId xmlns:a16="http://schemas.microsoft.com/office/drawing/2014/main" id="{54D0EA2A-2430-277B-440F-CA1A7A33ABAC}"/>
                  </a:ext>
                </a:extLst>
              </p:cNvPr>
              <p:cNvSpPr/>
              <p:nvPr/>
            </p:nvSpPr>
            <p:spPr bwMode="gray">
              <a:xfrm>
                <a:off x="10292469" y="4184476"/>
                <a:ext cx="301384" cy="420801"/>
              </a:xfrm>
              <a:custGeom>
                <a:avLst/>
                <a:gdLst>
                  <a:gd name="connsiteX0" fmla="*/ 303601 w 431679"/>
                  <a:gd name="connsiteY0" fmla="*/ 15272 h 602722"/>
                  <a:gd name="connsiteX1" fmla="*/ 240885 w 431679"/>
                  <a:gd name="connsiteY1" fmla="*/ 77987 h 602722"/>
                  <a:gd name="connsiteX2" fmla="*/ 15272 w 431679"/>
                  <a:gd name="connsiteY2" fmla="*/ 303601 h 602722"/>
                  <a:gd name="connsiteX3" fmla="*/ 240885 w 431679"/>
                  <a:gd name="connsiteY3" fmla="*/ 529214 h 602722"/>
                  <a:gd name="connsiteX4" fmla="*/ 303601 w 431679"/>
                  <a:gd name="connsiteY4" fmla="*/ 591930 h 602722"/>
                  <a:gd name="connsiteX5" fmla="*/ 423331 w 431679"/>
                  <a:gd name="connsiteY5" fmla="*/ 303601 h 602722"/>
                  <a:gd name="connsiteX6" fmla="*/ 303601 w 431679"/>
                  <a:gd name="connsiteY6" fmla="*/ 15272 h 602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1679" h="602722">
                    <a:moveTo>
                      <a:pt x="303601" y="15272"/>
                    </a:moveTo>
                    <a:lnTo>
                      <a:pt x="240885" y="77987"/>
                    </a:lnTo>
                    <a:lnTo>
                      <a:pt x="15272" y="303601"/>
                    </a:lnTo>
                    <a:lnTo>
                      <a:pt x="240885" y="529214"/>
                    </a:lnTo>
                    <a:lnTo>
                      <a:pt x="303601" y="591930"/>
                    </a:lnTo>
                    <a:cubicBezTo>
                      <a:pt x="377719" y="517812"/>
                      <a:pt x="423331" y="416000"/>
                      <a:pt x="423331" y="303601"/>
                    </a:cubicBezTo>
                    <a:cubicBezTo>
                      <a:pt x="423331" y="190387"/>
                      <a:pt x="377719" y="88576"/>
                      <a:pt x="303601" y="15272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7" name="Freihandform: Form 75">
                <a:extLst>
                  <a:ext uri="{FF2B5EF4-FFF2-40B4-BE49-F238E27FC236}">
                    <a16:creationId xmlns:a16="http://schemas.microsoft.com/office/drawing/2014/main" id="{D662DE44-7957-F1BE-EDA5-0523BBB32430}"/>
                  </a:ext>
                </a:extLst>
              </p:cNvPr>
              <p:cNvSpPr/>
              <p:nvPr/>
            </p:nvSpPr>
            <p:spPr bwMode="gray">
              <a:xfrm>
                <a:off x="10258918" y="4066766"/>
                <a:ext cx="221774" cy="301384"/>
              </a:xfrm>
              <a:custGeom>
                <a:avLst/>
                <a:gdLst>
                  <a:gd name="connsiteX0" fmla="*/ 303601 w 317650"/>
                  <a:gd name="connsiteY0" fmla="*/ 135002 h 431679"/>
                  <a:gd name="connsiteX1" fmla="*/ 15272 w 317650"/>
                  <a:gd name="connsiteY1" fmla="*/ 15272 h 431679"/>
                  <a:gd name="connsiteX2" fmla="*/ 15272 w 317650"/>
                  <a:gd name="connsiteY2" fmla="*/ 422516 h 431679"/>
                  <a:gd name="connsiteX3" fmla="*/ 303601 w 317650"/>
                  <a:gd name="connsiteY3" fmla="*/ 135002 h 431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7650" h="431679">
                    <a:moveTo>
                      <a:pt x="303601" y="135002"/>
                    </a:moveTo>
                    <a:cubicBezTo>
                      <a:pt x="229482" y="60883"/>
                      <a:pt x="127671" y="15272"/>
                      <a:pt x="15272" y="15272"/>
                    </a:cubicBezTo>
                    <a:lnTo>
                      <a:pt x="15272" y="422516"/>
                    </a:lnTo>
                    <a:lnTo>
                      <a:pt x="303601" y="13500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8" name="Freihandform: Form 76">
                <a:extLst>
                  <a:ext uri="{FF2B5EF4-FFF2-40B4-BE49-F238E27FC236}">
                    <a16:creationId xmlns:a16="http://schemas.microsoft.com/office/drawing/2014/main" id="{8F7A7D56-F659-F905-65F8-7F950691FD32}"/>
                  </a:ext>
                </a:extLst>
              </p:cNvPr>
              <p:cNvSpPr/>
              <p:nvPr/>
            </p:nvSpPr>
            <p:spPr bwMode="gray">
              <a:xfrm>
                <a:off x="10057617" y="4067334"/>
                <a:ext cx="221774" cy="301384"/>
              </a:xfrm>
              <a:custGeom>
                <a:avLst/>
                <a:gdLst>
                  <a:gd name="connsiteX0" fmla="*/ 303601 w 317650"/>
                  <a:gd name="connsiteY0" fmla="*/ 15272 h 431679"/>
                  <a:gd name="connsiteX1" fmla="*/ 15272 w 317650"/>
                  <a:gd name="connsiteY1" fmla="*/ 135002 h 431679"/>
                  <a:gd name="connsiteX2" fmla="*/ 303601 w 317650"/>
                  <a:gd name="connsiteY2" fmla="*/ 422516 h 431679"/>
                  <a:gd name="connsiteX3" fmla="*/ 303601 w 317650"/>
                  <a:gd name="connsiteY3" fmla="*/ 15272 h 431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7650" h="431679">
                    <a:moveTo>
                      <a:pt x="303601" y="15272"/>
                    </a:moveTo>
                    <a:cubicBezTo>
                      <a:pt x="191202" y="15272"/>
                      <a:pt x="89390" y="60883"/>
                      <a:pt x="15272" y="135002"/>
                    </a:cubicBezTo>
                    <a:lnTo>
                      <a:pt x="303601" y="422516"/>
                    </a:lnTo>
                    <a:lnTo>
                      <a:pt x="303601" y="152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9" name="Freihandform: Form 77">
                <a:extLst>
                  <a:ext uri="{FF2B5EF4-FFF2-40B4-BE49-F238E27FC236}">
                    <a16:creationId xmlns:a16="http://schemas.microsoft.com/office/drawing/2014/main" id="{64987D8D-2DAE-6CBA-F404-A2C960CF20A5}"/>
                  </a:ext>
                </a:extLst>
              </p:cNvPr>
              <p:cNvSpPr/>
              <p:nvPr/>
            </p:nvSpPr>
            <p:spPr bwMode="gray">
              <a:xfrm>
                <a:off x="9963221" y="4206085"/>
                <a:ext cx="506098" cy="506098"/>
              </a:xfrm>
              <a:custGeom>
                <a:avLst/>
                <a:gdLst>
                  <a:gd name="connsiteX0" fmla="*/ 135002 w 724895"/>
                  <a:gd name="connsiteY0" fmla="*/ 15272 h 724895"/>
                  <a:gd name="connsiteX1" fmla="*/ 15272 w 724895"/>
                  <a:gd name="connsiteY1" fmla="*/ 303601 h 724895"/>
                  <a:gd name="connsiteX2" fmla="*/ 422516 w 724895"/>
                  <a:gd name="connsiteY2" fmla="*/ 710846 h 724895"/>
                  <a:gd name="connsiteX3" fmla="*/ 710845 w 724895"/>
                  <a:gd name="connsiteY3" fmla="*/ 591116 h 724895"/>
                  <a:gd name="connsiteX4" fmla="*/ 422516 w 724895"/>
                  <a:gd name="connsiteY4" fmla="*/ 302786 h 724895"/>
                  <a:gd name="connsiteX5" fmla="*/ 135002 w 724895"/>
                  <a:gd name="connsiteY5" fmla="*/ 15272 h 72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24895" h="724895">
                    <a:moveTo>
                      <a:pt x="135002" y="15272"/>
                    </a:moveTo>
                    <a:cubicBezTo>
                      <a:pt x="60883" y="89390"/>
                      <a:pt x="15272" y="191201"/>
                      <a:pt x="15272" y="303601"/>
                    </a:cubicBezTo>
                    <a:cubicBezTo>
                      <a:pt x="15272" y="528400"/>
                      <a:pt x="197717" y="710846"/>
                      <a:pt x="422516" y="710846"/>
                    </a:cubicBezTo>
                    <a:cubicBezTo>
                      <a:pt x="534916" y="710846"/>
                      <a:pt x="636727" y="665234"/>
                      <a:pt x="710845" y="591116"/>
                    </a:cubicBezTo>
                    <a:lnTo>
                      <a:pt x="422516" y="302786"/>
                    </a:lnTo>
                    <a:lnTo>
                      <a:pt x="135002" y="152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2" name="Gruppieren 113">
              <a:extLst>
                <a:ext uri="{FF2B5EF4-FFF2-40B4-BE49-F238E27FC236}">
                  <a16:creationId xmlns:a16="http://schemas.microsoft.com/office/drawing/2014/main" id="{D9242F86-0DB3-5217-BC8F-CBA94D8F08D3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804295" y="1648614"/>
              <a:ext cx="459493" cy="260893"/>
              <a:chOff x="1806086" y="4262696"/>
              <a:chExt cx="785404" cy="445939"/>
            </a:xfrm>
          </p:grpSpPr>
          <p:sp>
            <p:nvSpPr>
              <p:cNvPr id="101" name="Freihandform: Form 114">
                <a:extLst>
                  <a:ext uri="{FF2B5EF4-FFF2-40B4-BE49-F238E27FC236}">
                    <a16:creationId xmlns:a16="http://schemas.microsoft.com/office/drawing/2014/main" id="{06B9728C-DCDE-F931-F36B-43869ACD66AE}"/>
                  </a:ext>
                </a:extLst>
              </p:cNvPr>
              <p:cNvSpPr/>
              <p:nvPr/>
            </p:nvSpPr>
            <p:spPr bwMode="gray">
              <a:xfrm>
                <a:off x="2101573" y="4373664"/>
                <a:ext cx="292270" cy="163671"/>
              </a:xfrm>
              <a:custGeom>
                <a:avLst/>
                <a:gdLst>
                  <a:gd name="connsiteX0" fmla="*/ 282330 w 293320"/>
                  <a:gd name="connsiteY0" fmla="*/ 132794 h 164259"/>
                  <a:gd name="connsiteX1" fmla="*/ 129017 w 293320"/>
                  <a:gd name="connsiteY1" fmla="*/ 94633 h 164259"/>
                  <a:gd name="connsiteX2" fmla="*/ 75768 w 293320"/>
                  <a:gd name="connsiteY2" fmla="*/ 96059 h 164259"/>
                  <a:gd name="connsiteX3" fmla="*/ 22014 w 293320"/>
                  <a:gd name="connsiteY3" fmla="*/ 125320 h 164259"/>
                  <a:gd name="connsiteX4" fmla="*/ 13894 w 293320"/>
                  <a:gd name="connsiteY4" fmla="*/ 106213 h 164259"/>
                  <a:gd name="connsiteX5" fmla="*/ 24372 w 293320"/>
                  <a:gd name="connsiteY5" fmla="*/ 70246 h 164259"/>
                  <a:gd name="connsiteX6" fmla="*/ 55347 w 293320"/>
                  <a:gd name="connsiteY6" fmla="*/ 34931 h 164259"/>
                  <a:gd name="connsiteX7" fmla="*/ 94957 w 293320"/>
                  <a:gd name="connsiteY7" fmla="*/ 17495 h 164259"/>
                  <a:gd name="connsiteX8" fmla="*/ 139670 w 293320"/>
                  <a:gd name="connsiteY8" fmla="*/ 16252 h 164259"/>
                  <a:gd name="connsiteX9" fmla="*/ 242931 w 293320"/>
                  <a:gd name="connsiteY9" fmla="*/ 40703 h 164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3320" h="164259">
                    <a:moveTo>
                      <a:pt x="282330" y="132794"/>
                    </a:moveTo>
                    <a:cubicBezTo>
                      <a:pt x="194522" y="191746"/>
                      <a:pt x="129017" y="94633"/>
                      <a:pt x="129017" y="94633"/>
                    </a:cubicBezTo>
                    <a:cubicBezTo>
                      <a:pt x="97978" y="52201"/>
                      <a:pt x="75768" y="96059"/>
                      <a:pt x="75768" y="96059"/>
                    </a:cubicBezTo>
                    <a:cubicBezTo>
                      <a:pt x="59435" y="135733"/>
                      <a:pt x="35894" y="132131"/>
                      <a:pt x="22014" y="125320"/>
                    </a:cubicBezTo>
                    <a:cubicBezTo>
                      <a:pt x="15044" y="121747"/>
                      <a:pt x="11630" y="113705"/>
                      <a:pt x="13894" y="106213"/>
                    </a:cubicBezTo>
                    <a:lnTo>
                      <a:pt x="24372" y="70246"/>
                    </a:lnTo>
                    <a:cubicBezTo>
                      <a:pt x="28965" y="54477"/>
                      <a:pt x="40305" y="41542"/>
                      <a:pt x="55347" y="34931"/>
                    </a:cubicBezTo>
                    <a:lnTo>
                      <a:pt x="94957" y="17495"/>
                    </a:lnTo>
                    <a:cubicBezTo>
                      <a:pt x="109124" y="11265"/>
                      <a:pt x="122183" y="12685"/>
                      <a:pt x="139670" y="16252"/>
                    </a:cubicBezTo>
                    <a:lnTo>
                      <a:pt x="242931" y="40703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2" name="Freihandform: Form 115">
                <a:extLst>
                  <a:ext uri="{FF2B5EF4-FFF2-40B4-BE49-F238E27FC236}">
                    <a16:creationId xmlns:a16="http://schemas.microsoft.com/office/drawing/2014/main" id="{78AF550E-8476-375B-CD17-4B44F7184322}"/>
                  </a:ext>
                </a:extLst>
              </p:cNvPr>
              <p:cNvSpPr/>
              <p:nvPr/>
            </p:nvSpPr>
            <p:spPr bwMode="gray">
              <a:xfrm>
                <a:off x="2281258" y="4492830"/>
                <a:ext cx="134444" cy="93527"/>
              </a:xfrm>
              <a:custGeom>
                <a:avLst/>
                <a:gdLst>
                  <a:gd name="connsiteX0" fmla="*/ 123805 w 134927"/>
                  <a:gd name="connsiteY0" fmla="*/ 64179 h 93862"/>
                  <a:gd name="connsiteX1" fmla="*/ 55801 w 134927"/>
                  <a:gd name="connsiteY1" fmla="*/ 85791 h 93862"/>
                  <a:gd name="connsiteX2" fmla="*/ 13199 w 134927"/>
                  <a:gd name="connsiteY2" fmla="*/ 26423 h 93862"/>
                  <a:gd name="connsiteX3" fmla="*/ 101999 w 134927"/>
                  <a:gd name="connsiteY3" fmla="*/ 13199 h 93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927" h="93862">
                    <a:moveTo>
                      <a:pt x="123805" y="64179"/>
                    </a:moveTo>
                    <a:lnTo>
                      <a:pt x="55801" y="85791"/>
                    </a:lnTo>
                    <a:lnTo>
                      <a:pt x="13199" y="26423"/>
                    </a:lnTo>
                    <a:cubicBezTo>
                      <a:pt x="13199" y="26423"/>
                      <a:pt x="62935" y="47019"/>
                      <a:pt x="101999" y="13199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3" name="Freihandform: Form 116">
                <a:extLst>
                  <a:ext uri="{FF2B5EF4-FFF2-40B4-BE49-F238E27FC236}">
                    <a16:creationId xmlns:a16="http://schemas.microsoft.com/office/drawing/2014/main" id="{5569A2BB-C379-D6F8-A6C7-050C48D329F1}"/>
                  </a:ext>
                </a:extLst>
              </p:cNvPr>
              <p:cNvSpPr/>
              <p:nvPr/>
            </p:nvSpPr>
            <p:spPr bwMode="gray">
              <a:xfrm>
                <a:off x="1806086" y="4262696"/>
                <a:ext cx="192898" cy="356569"/>
              </a:xfrm>
              <a:custGeom>
                <a:avLst/>
                <a:gdLst>
                  <a:gd name="connsiteX0" fmla="*/ 13199 w 193591"/>
                  <a:gd name="connsiteY0" fmla="*/ 13199 h 357851"/>
                  <a:gd name="connsiteX1" fmla="*/ 13199 w 193591"/>
                  <a:gd name="connsiteY1" fmla="*/ 321908 h 357851"/>
                  <a:gd name="connsiteX2" fmla="*/ 73577 w 193591"/>
                  <a:gd name="connsiteY2" fmla="*/ 345825 h 357851"/>
                  <a:gd name="connsiteX3" fmla="*/ 181794 w 193591"/>
                  <a:gd name="connsiteY3" fmla="*/ 81549 h 357851"/>
                  <a:gd name="connsiteX4" fmla="*/ 13199 w 193591"/>
                  <a:gd name="connsiteY4" fmla="*/ 13199 h 357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591" h="357851">
                    <a:moveTo>
                      <a:pt x="13199" y="13199"/>
                    </a:moveTo>
                    <a:lnTo>
                      <a:pt x="13199" y="321908"/>
                    </a:lnTo>
                    <a:lnTo>
                      <a:pt x="73577" y="345825"/>
                    </a:lnTo>
                    <a:lnTo>
                      <a:pt x="181794" y="81549"/>
                    </a:lnTo>
                    <a:lnTo>
                      <a:pt x="13199" y="13199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4" name="Freihandform: Form 117">
                <a:extLst>
                  <a:ext uri="{FF2B5EF4-FFF2-40B4-BE49-F238E27FC236}">
                    <a16:creationId xmlns:a16="http://schemas.microsoft.com/office/drawing/2014/main" id="{A3F5AB5A-43E9-E393-3160-DE7CF48BB2CC}"/>
                  </a:ext>
                </a:extLst>
              </p:cNvPr>
              <p:cNvSpPr/>
              <p:nvPr/>
            </p:nvSpPr>
            <p:spPr bwMode="gray">
              <a:xfrm>
                <a:off x="1898905" y="4352078"/>
                <a:ext cx="169516" cy="216279"/>
              </a:xfrm>
              <a:custGeom>
                <a:avLst/>
                <a:gdLst>
                  <a:gd name="connsiteX0" fmla="*/ 79895 w 170126"/>
                  <a:gd name="connsiteY0" fmla="*/ 13199 h 217057"/>
                  <a:gd name="connsiteX1" fmla="*/ 156991 w 170126"/>
                  <a:gd name="connsiteY1" fmla="*/ 45664 h 217057"/>
                  <a:gd name="connsiteX2" fmla="*/ 88642 w 170126"/>
                  <a:gd name="connsiteY2" fmla="*/ 205436 h 217057"/>
                  <a:gd name="connsiteX3" fmla="*/ 13199 w 170126"/>
                  <a:gd name="connsiteY3" fmla="*/ 176086 h 21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0126" h="217057">
                    <a:moveTo>
                      <a:pt x="79895" y="13199"/>
                    </a:moveTo>
                    <a:lnTo>
                      <a:pt x="156991" y="45664"/>
                    </a:lnTo>
                    <a:lnTo>
                      <a:pt x="88642" y="205436"/>
                    </a:lnTo>
                    <a:lnTo>
                      <a:pt x="13199" y="17608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5" name="Freihandform: Form 118">
                <a:extLst>
                  <a:ext uri="{FF2B5EF4-FFF2-40B4-BE49-F238E27FC236}">
                    <a16:creationId xmlns:a16="http://schemas.microsoft.com/office/drawing/2014/main" id="{9EA39D7F-F7D7-CCCF-50F3-F09C06ADAFBC}"/>
                  </a:ext>
                </a:extLst>
              </p:cNvPr>
              <p:cNvSpPr/>
              <p:nvPr/>
            </p:nvSpPr>
            <p:spPr bwMode="gray">
              <a:xfrm>
                <a:off x="2398592" y="4279337"/>
                <a:ext cx="192898" cy="356569"/>
              </a:xfrm>
              <a:custGeom>
                <a:avLst/>
                <a:gdLst>
                  <a:gd name="connsiteX0" fmla="*/ 181788 w 193591"/>
                  <a:gd name="connsiteY0" fmla="*/ 13199 h 357851"/>
                  <a:gd name="connsiteX1" fmla="*/ 181788 w 193591"/>
                  <a:gd name="connsiteY1" fmla="*/ 321908 h 357851"/>
                  <a:gd name="connsiteX2" fmla="*/ 121417 w 193591"/>
                  <a:gd name="connsiteY2" fmla="*/ 345825 h 357851"/>
                  <a:gd name="connsiteX3" fmla="*/ 13199 w 193591"/>
                  <a:gd name="connsiteY3" fmla="*/ 81543 h 357851"/>
                  <a:gd name="connsiteX4" fmla="*/ 181788 w 193591"/>
                  <a:gd name="connsiteY4" fmla="*/ 13199 h 357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591" h="357851">
                    <a:moveTo>
                      <a:pt x="181788" y="13199"/>
                    </a:moveTo>
                    <a:lnTo>
                      <a:pt x="181788" y="321908"/>
                    </a:lnTo>
                    <a:lnTo>
                      <a:pt x="121417" y="345825"/>
                    </a:lnTo>
                    <a:lnTo>
                      <a:pt x="13199" y="81543"/>
                    </a:lnTo>
                    <a:lnTo>
                      <a:pt x="181788" y="13199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6" name="Freihandform: Form 119">
                <a:extLst>
                  <a:ext uri="{FF2B5EF4-FFF2-40B4-BE49-F238E27FC236}">
                    <a16:creationId xmlns:a16="http://schemas.microsoft.com/office/drawing/2014/main" id="{96263BEA-84A6-4BCF-291B-7C05935D0CC6}"/>
                  </a:ext>
                </a:extLst>
              </p:cNvPr>
              <p:cNvSpPr/>
              <p:nvPr/>
            </p:nvSpPr>
            <p:spPr bwMode="gray">
              <a:xfrm>
                <a:off x="2330488" y="4368720"/>
                <a:ext cx="169516" cy="216279"/>
              </a:xfrm>
              <a:custGeom>
                <a:avLst/>
                <a:gdLst>
                  <a:gd name="connsiteX0" fmla="*/ 90290 w 170126"/>
                  <a:gd name="connsiteY0" fmla="*/ 13199 h 217057"/>
                  <a:gd name="connsiteX1" fmla="*/ 13199 w 170126"/>
                  <a:gd name="connsiteY1" fmla="*/ 45664 h 217057"/>
                  <a:gd name="connsiteX2" fmla="*/ 81549 w 170126"/>
                  <a:gd name="connsiteY2" fmla="*/ 205430 h 217057"/>
                  <a:gd name="connsiteX3" fmla="*/ 156991 w 170126"/>
                  <a:gd name="connsiteY3" fmla="*/ 176086 h 21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0126" h="217057">
                    <a:moveTo>
                      <a:pt x="90290" y="13199"/>
                    </a:moveTo>
                    <a:lnTo>
                      <a:pt x="13199" y="45664"/>
                    </a:lnTo>
                    <a:lnTo>
                      <a:pt x="81549" y="205430"/>
                    </a:lnTo>
                    <a:lnTo>
                      <a:pt x="156991" y="17608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7" name="Freihandform: Form 120">
                <a:extLst>
                  <a:ext uri="{FF2B5EF4-FFF2-40B4-BE49-F238E27FC236}">
                    <a16:creationId xmlns:a16="http://schemas.microsoft.com/office/drawing/2014/main" id="{AC88278D-9FDD-A6DF-E0BD-83990EAB7E49}"/>
                  </a:ext>
                </a:extLst>
              </p:cNvPr>
              <p:cNvSpPr/>
              <p:nvPr/>
            </p:nvSpPr>
            <p:spPr bwMode="gray">
              <a:xfrm>
                <a:off x="2218110" y="4505614"/>
                <a:ext cx="146134" cy="134444"/>
              </a:xfrm>
              <a:custGeom>
                <a:avLst/>
                <a:gdLst>
                  <a:gd name="connsiteX0" fmla="*/ 71523 w 146660"/>
                  <a:gd name="connsiteY0" fmla="*/ 13199 h 134927"/>
                  <a:gd name="connsiteX1" fmla="*/ 130158 w 146660"/>
                  <a:gd name="connsiteY1" fmla="*/ 86729 h 134927"/>
                  <a:gd name="connsiteX2" fmla="*/ 133531 w 146660"/>
                  <a:gd name="connsiteY2" fmla="*/ 106681 h 134927"/>
                  <a:gd name="connsiteX3" fmla="*/ 133531 w 146660"/>
                  <a:gd name="connsiteY3" fmla="*/ 106681 h 134927"/>
                  <a:gd name="connsiteX4" fmla="*/ 103143 w 146660"/>
                  <a:gd name="connsiteY4" fmla="*/ 121265 h 134927"/>
                  <a:gd name="connsiteX5" fmla="*/ 93698 w 146660"/>
                  <a:gd name="connsiteY5" fmla="*/ 115123 h 134927"/>
                  <a:gd name="connsiteX6" fmla="*/ 13199 w 146660"/>
                  <a:gd name="connsiteY6" fmla="*/ 29702 h 134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6660" h="134927">
                    <a:moveTo>
                      <a:pt x="71523" y="13199"/>
                    </a:moveTo>
                    <a:lnTo>
                      <a:pt x="130158" y="86729"/>
                    </a:lnTo>
                    <a:cubicBezTo>
                      <a:pt x="134646" y="92355"/>
                      <a:pt x="135919" y="99893"/>
                      <a:pt x="133531" y="106681"/>
                    </a:cubicBezTo>
                    <a:lnTo>
                      <a:pt x="133531" y="106681"/>
                    </a:lnTo>
                    <a:cubicBezTo>
                      <a:pt x="129167" y="119100"/>
                      <a:pt x="115563" y="125630"/>
                      <a:pt x="103143" y="121265"/>
                    </a:cubicBezTo>
                    <a:cubicBezTo>
                      <a:pt x="99547" y="119998"/>
                      <a:pt x="96309" y="117892"/>
                      <a:pt x="93698" y="115123"/>
                    </a:cubicBezTo>
                    <a:lnTo>
                      <a:pt x="13199" y="29702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8" name="Freihandform: Form 121">
                <a:extLst>
                  <a:ext uri="{FF2B5EF4-FFF2-40B4-BE49-F238E27FC236}">
                    <a16:creationId xmlns:a16="http://schemas.microsoft.com/office/drawing/2014/main" id="{D657D4CD-7877-2332-C90C-C9122C298631}"/>
                  </a:ext>
                </a:extLst>
              </p:cNvPr>
              <p:cNvSpPr/>
              <p:nvPr/>
            </p:nvSpPr>
            <p:spPr bwMode="gray">
              <a:xfrm>
                <a:off x="2182640" y="4562075"/>
                <a:ext cx="151980" cy="105217"/>
              </a:xfrm>
              <a:custGeom>
                <a:avLst/>
                <a:gdLst>
                  <a:gd name="connsiteX0" fmla="*/ 13199 w 152526"/>
                  <a:gd name="connsiteY0" fmla="*/ 13199 h 105595"/>
                  <a:gd name="connsiteX1" fmla="*/ 80945 w 152526"/>
                  <a:gd name="connsiteY1" fmla="*/ 84066 h 105595"/>
                  <a:gd name="connsiteX2" fmla="*/ 130539 w 152526"/>
                  <a:gd name="connsiteY2" fmla="*/ 85386 h 105595"/>
                  <a:gd name="connsiteX3" fmla="*/ 139679 w 152526"/>
                  <a:gd name="connsiteY3" fmla="*/ 71043 h 105595"/>
                  <a:gd name="connsiteX4" fmla="*/ 140043 w 152526"/>
                  <a:gd name="connsiteY4" fmla="*/ 69863 h 105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526" h="105595">
                    <a:moveTo>
                      <a:pt x="13199" y="13199"/>
                    </a:moveTo>
                    <a:lnTo>
                      <a:pt x="80945" y="84066"/>
                    </a:lnTo>
                    <a:cubicBezTo>
                      <a:pt x="94279" y="98127"/>
                      <a:pt x="116483" y="98714"/>
                      <a:pt x="130539" y="85386"/>
                    </a:cubicBezTo>
                    <a:cubicBezTo>
                      <a:pt x="134716" y="81426"/>
                      <a:pt x="137855" y="76504"/>
                      <a:pt x="139679" y="71043"/>
                    </a:cubicBezTo>
                    <a:cubicBezTo>
                      <a:pt x="139803" y="70655"/>
                      <a:pt x="139926" y="70256"/>
                      <a:pt x="140043" y="69863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9" name="Freihandform: Form 122">
                <a:extLst>
                  <a:ext uri="{FF2B5EF4-FFF2-40B4-BE49-F238E27FC236}">
                    <a16:creationId xmlns:a16="http://schemas.microsoft.com/office/drawing/2014/main" id="{B87B9760-6481-A6FC-10DD-EEB61568EE1F}"/>
                  </a:ext>
                </a:extLst>
              </p:cNvPr>
              <p:cNvSpPr/>
              <p:nvPr/>
            </p:nvSpPr>
            <p:spPr bwMode="gray">
              <a:xfrm>
                <a:off x="2150292" y="4595270"/>
                <a:ext cx="140289" cy="99372"/>
              </a:xfrm>
              <a:custGeom>
                <a:avLst/>
                <a:gdLst>
                  <a:gd name="connsiteX0" fmla="*/ 13199 w 140793"/>
                  <a:gd name="connsiteY0" fmla="*/ 13199 h 99729"/>
                  <a:gd name="connsiteX1" fmla="*/ 69230 w 140793"/>
                  <a:gd name="connsiteY1" fmla="*/ 75419 h 99729"/>
                  <a:gd name="connsiteX2" fmla="*/ 93335 w 140793"/>
                  <a:gd name="connsiteY2" fmla="*/ 87592 h 99729"/>
                  <a:gd name="connsiteX3" fmla="*/ 128539 w 140793"/>
                  <a:gd name="connsiteY3" fmla="*/ 65721 h 99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793" h="99729">
                    <a:moveTo>
                      <a:pt x="13199" y="13199"/>
                    </a:moveTo>
                    <a:lnTo>
                      <a:pt x="69230" y="75419"/>
                    </a:lnTo>
                    <a:cubicBezTo>
                      <a:pt x="75342" y="82494"/>
                      <a:pt x="84007" y="86870"/>
                      <a:pt x="93335" y="87592"/>
                    </a:cubicBezTo>
                    <a:cubicBezTo>
                      <a:pt x="103906" y="88172"/>
                      <a:pt x="117293" y="84142"/>
                      <a:pt x="128539" y="6572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0" name="Freihandform: Form 123">
                <a:extLst>
                  <a:ext uri="{FF2B5EF4-FFF2-40B4-BE49-F238E27FC236}">
                    <a16:creationId xmlns:a16="http://schemas.microsoft.com/office/drawing/2014/main" id="{BAF837DB-5A4D-D8DE-B12F-A0F65B95A86A}"/>
                  </a:ext>
                </a:extLst>
              </p:cNvPr>
              <p:cNvSpPr/>
              <p:nvPr/>
            </p:nvSpPr>
            <p:spPr bwMode="gray">
              <a:xfrm>
                <a:off x="2042175" y="4383298"/>
                <a:ext cx="134444" cy="29227"/>
              </a:xfrm>
              <a:custGeom>
                <a:avLst/>
                <a:gdLst>
                  <a:gd name="connsiteX0" fmla="*/ 125213 w 134927"/>
                  <a:gd name="connsiteY0" fmla="*/ 20745 h 29332"/>
                  <a:gd name="connsiteX1" fmla="*/ 13199 w 134927"/>
                  <a:gd name="connsiteY1" fmla="*/ 14332 h 29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927" h="29332">
                    <a:moveTo>
                      <a:pt x="125213" y="20745"/>
                    </a:moveTo>
                    <a:cubicBezTo>
                      <a:pt x="74885" y="9211"/>
                      <a:pt x="13199" y="14332"/>
                      <a:pt x="13199" y="14332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1" name="Freihandform: Form 124">
                <a:extLst>
                  <a:ext uri="{FF2B5EF4-FFF2-40B4-BE49-F238E27FC236}">
                    <a16:creationId xmlns:a16="http://schemas.microsoft.com/office/drawing/2014/main" id="{B4140052-4CE8-2856-0AAB-81788C6A60A4}"/>
                  </a:ext>
                </a:extLst>
              </p:cNvPr>
              <p:cNvSpPr/>
              <p:nvPr/>
            </p:nvSpPr>
            <p:spPr bwMode="gray">
              <a:xfrm>
                <a:off x="1986001" y="4515737"/>
                <a:ext cx="251352" cy="192898"/>
              </a:xfrm>
              <a:custGeom>
                <a:avLst/>
                <a:gdLst>
                  <a:gd name="connsiteX0" fmla="*/ 13199 w 252255"/>
                  <a:gd name="connsiteY0" fmla="*/ 13199 h 193591"/>
                  <a:gd name="connsiteX1" fmla="*/ 174948 w 252255"/>
                  <a:gd name="connsiteY1" fmla="*/ 149406 h 193591"/>
                  <a:gd name="connsiteX2" fmla="*/ 201206 w 252255"/>
                  <a:gd name="connsiteY2" fmla="*/ 174614 h 193591"/>
                  <a:gd name="connsiteX3" fmla="*/ 233642 w 252255"/>
                  <a:gd name="connsiteY3" fmla="*/ 174203 h 193591"/>
                  <a:gd name="connsiteX4" fmla="*/ 239772 w 252255"/>
                  <a:gd name="connsiteY4" fmla="*/ 162388 h 193591"/>
                  <a:gd name="connsiteX5" fmla="*/ 239878 w 252255"/>
                  <a:gd name="connsiteY5" fmla="*/ 161655 h 193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2255" h="193591">
                    <a:moveTo>
                      <a:pt x="13199" y="13199"/>
                    </a:moveTo>
                    <a:cubicBezTo>
                      <a:pt x="70503" y="54429"/>
                      <a:pt x="124573" y="99964"/>
                      <a:pt x="174948" y="149406"/>
                    </a:cubicBezTo>
                    <a:lnTo>
                      <a:pt x="201206" y="174614"/>
                    </a:lnTo>
                    <a:cubicBezTo>
                      <a:pt x="210276" y="183461"/>
                      <a:pt x="224801" y="183273"/>
                      <a:pt x="233642" y="174203"/>
                    </a:cubicBezTo>
                    <a:cubicBezTo>
                      <a:pt x="236810" y="170959"/>
                      <a:pt x="238945" y="166847"/>
                      <a:pt x="239772" y="162388"/>
                    </a:cubicBezTo>
                    <a:cubicBezTo>
                      <a:pt x="239807" y="162148"/>
                      <a:pt x="239848" y="161902"/>
                      <a:pt x="239878" y="161655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2" name="Freihandform: Form 125">
                <a:extLst>
                  <a:ext uri="{FF2B5EF4-FFF2-40B4-BE49-F238E27FC236}">
                    <a16:creationId xmlns:a16="http://schemas.microsoft.com/office/drawing/2014/main" id="{D0670E56-801C-3491-3204-87E87B679F5F}"/>
                  </a:ext>
                </a:extLst>
              </p:cNvPr>
              <p:cNvSpPr/>
              <p:nvPr/>
            </p:nvSpPr>
            <p:spPr bwMode="gray">
              <a:xfrm>
                <a:off x="2018928" y="4548969"/>
                <a:ext cx="64300" cy="58454"/>
              </a:xfrm>
              <a:custGeom>
                <a:avLst/>
                <a:gdLst>
                  <a:gd name="connsiteX0" fmla="*/ 24628 w 64530"/>
                  <a:gd name="connsiteY0" fmla="*/ 13199 h 58664"/>
                  <a:gd name="connsiteX1" fmla="*/ 17723 w 64530"/>
                  <a:gd name="connsiteY1" fmla="*/ 20914 h 58664"/>
                  <a:gd name="connsiteX2" fmla="*/ 19119 w 64530"/>
                  <a:gd name="connsiteY2" fmla="*/ 45993 h 58664"/>
                  <a:gd name="connsiteX3" fmla="*/ 19712 w 64530"/>
                  <a:gd name="connsiteY3" fmla="*/ 46497 h 58664"/>
                  <a:gd name="connsiteX4" fmla="*/ 19712 w 64530"/>
                  <a:gd name="connsiteY4" fmla="*/ 46503 h 58664"/>
                  <a:gd name="connsiteX5" fmla="*/ 46985 w 64530"/>
                  <a:gd name="connsiteY5" fmla="*/ 44321 h 58664"/>
                  <a:gd name="connsiteX6" fmla="*/ 53725 w 64530"/>
                  <a:gd name="connsiteY6" fmla="*/ 36706 h 58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530" h="58664">
                    <a:moveTo>
                      <a:pt x="24628" y="13199"/>
                    </a:moveTo>
                    <a:lnTo>
                      <a:pt x="17723" y="20914"/>
                    </a:lnTo>
                    <a:cubicBezTo>
                      <a:pt x="11182" y="28229"/>
                      <a:pt x="11810" y="39458"/>
                      <a:pt x="19119" y="45993"/>
                    </a:cubicBezTo>
                    <a:cubicBezTo>
                      <a:pt x="19313" y="46169"/>
                      <a:pt x="19512" y="46339"/>
                      <a:pt x="19712" y="46497"/>
                    </a:cubicBezTo>
                    <a:lnTo>
                      <a:pt x="19712" y="46503"/>
                    </a:lnTo>
                    <a:cubicBezTo>
                      <a:pt x="27913" y="53220"/>
                      <a:pt x="39957" y="52258"/>
                      <a:pt x="46985" y="44321"/>
                    </a:cubicBezTo>
                    <a:lnTo>
                      <a:pt x="53725" y="3670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3" name="Freihandform: Form 126">
                <a:extLst>
                  <a:ext uri="{FF2B5EF4-FFF2-40B4-BE49-F238E27FC236}">
                    <a16:creationId xmlns:a16="http://schemas.microsoft.com/office/drawing/2014/main" id="{17F243A7-37C6-8F29-DEAF-F74F220ED045}"/>
                  </a:ext>
                </a:extLst>
              </p:cNvPr>
              <p:cNvSpPr/>
              <p:nvPr/>
            </p:nvSpPr>
            <p:spPr bwMode="gray">
              <a:xfrm>
                <a:off x="2041581" y="4573806"/>
                <a:ext cx="75990" cy="75990"/>
              </a:xfrm>
              <a:custGeom>
                <a:avLst/>
                <a:gdLst>
                  <a:gd name="connsiteX0" fmla="*/ 66670 w 76263"/>
                  <a:gd name="connsiteY0" fmla="*/ 42320 h 76263"/>
                  <a:gd name="connsiteX1" fmla="*/ 51534 w 76263"/>
                  <a:gd name="connsiteY1" fmla="*/ 58829 h 76263"/>
                  <a:gd name="connsiteX2" fmla="*/ 20830 w 76263"/>
                  <a:gd name="connsiteY2" fmla="*/ 60600 h 76263"/>
                  <a:gd name="connsiteX3" fmla="*/ 20830 w 76263"/>
                  <a:gd name="connsiteY3" fmla="*/ 60600 h 76263"/>
                  <a:gd name="connsiteX4" fmla="*/ 18577 w 76263"/>
                  <a:gd name="connsiteY4" fmla="*/ 29479 h 76263"/>
                  <a:gd name="connsiteX5" fmla="*/ 18600 w 76263"/>
                  <a:gd name="connsiteY5" fmla="*/ 29450 h 76263"/>
                  <a:gd name="connsiteX6" fmla="*/ 32697 w 76263"/>
                  <a:gd name="connsiteY6" fmla="*/ 13199 h 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263" h="76263">
                    <a:moveTo>
                      <a:pt x="66670" y="42320"/>
                    </a:moveTo>
                    <a:lnTo>
                      <a:pt x="51534" y="58829"/>
                    </a:lnTo>
                    <a:cubicBezTo>
                      <a:pt x="43462" y="67628"/>
                      <a:pt x="29858" y="68414"/>
                      <a:pt x="20830" y="60600"/>
                    </a:cubicBezTo>
                    <a:lnTo>
                      <a:pt x="20830" y="60600"/>
                    </a:lnTo>
                    <a:cubicBezTo>
                      <a:pt x="11613" y="52628"/>
                      <a:pt x="10604" y="38695"/>
                      <a:pt x="18577" y="29479"/>
                    </a:cubicBezTo>
                    <a:cubicBezTo>
                      <a:pt x="18583" y="29467"/>
                      <a:pt x="18588" y="29461"/>
                      <a:pt x="18600" y="29450"/>
                    </a:cubicBezTo>
                    <a:lnTo>
                      <a:pt x="32697" y="1319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4" name="Freihandform: Form 127">
                <a:extLst>
                  <a:ext uri="{FF2B5EF4-FFF2-40B4-BE49-F238E27FC236}">
                    <a16:creationId xmlns:a16="http://schemas.microsoft.com/office/drawing/2014/main" id="{D9FDD7EC-1E1A-9134-6AE6-DF29F23473CC}"/>
                  </a:ext>
                </a:extLst>
              </p:cNvPr>
              <p:cNvSpPr/>
              <p:nvPr/>
            </p:nvSpPr>
            <p:spPr bwMode="gray">
              <a:xfrm>
                <a:off x="2079365" y="4602822"/>
                <a:ext cx="70145" cy="70145"/>
              </a:xfrm>
              <a:custGeom>
                <a:avLst/>
                <a:gdLst>
                  <a:gd name="connsiteX0" fmla="*/ 28749 w 70396"/>
                  <a:gd name="connsiteY0" fmla="*/ 13199 h 70396"/>
                  <a:gd name="connsiteX1" fmla="*/ 18958 w 70396"/>
                  <a:gd name="connsiteY1" fmla="*/ 23882 h 70396"/>
                  <a:gd name="connsiteX2" fmla="*/ 20173 w 70396"/>
                  <a:gd name="connsiteY2" fmla="*/ 54716 h 70396"/>
                  <a:gd name="connsiteX3" fmla="*/ 20173 w 70396"/>
                  <a:gd name="connsiteY3" fmla="*/ 54716 h 70396"/>
                  <a:gd name="connsiteX4" fmla="*/ 51042 w 70396"/>
                  <a:gd name="connsiteY4" fmla="*/ 53707 h 70396"/>
                  <a:gd name="connsiteX5" fmla="*/ 61279 w 70396"/>
                  <a:gd name="connsiteY5" fmla="*/ 42843 h 70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396" h="70396">
                    <a:moveTo>
                      <a:pt x="28749" y="13199"/>
                    </a:moveTo>
                    <a:lnTo>
                      <a:pt x="18958" y="23882"/>
                    </a:lnTo>
                    <a:cubicBezTo>
                      <a:pt x="10828" y="32752"/>
                      <a:pt x="11373" y="46515"/>
                      <a:pt x="20173" y="54716"/>
                    </a:cubicBezTo>
                    <a:lnTo>
                      <a:pt x="20173" y="54716"/>
                    </a:lnTo>
                    <a:cubicBezTo>
                      <a:pt x="28990" y="62923"/>
                      <a:pt x="42782" y="62471"/>
                      <a:pt x="51042" y="53707"/>
                    </a:cubicBezTo>
                    <a:lnTo>
                      <a:pt x="61279" y="42843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15" name="Freihandform: Form 128">
                <a:extLst>
                  <a:ext uri="{FF2B5EF4-FFF2-40B4-BE49-F238E27FC236}">
                    <a16:creationId xmlns:a16="http://schemas.microsoft.com/office/drawing/2014/main" id="{3B805114-7A15-1FF1-90EE-48AFEDC26752}"/>
                  </a:ext>
                </a:extLst>
              </p:cNvPr>
              <p:cNvSpPr/>
              <p:nvPr/>
            </p:nvSpPr>
            <p:spPr bwMode="gray">
              <a:xfrm>
                <a:off x="2116386" y="4633855"/>
                <a:ext cx="64300" cy="64300"/>
              </a:xfrm>
              <a:custGeom>
                <a:avLst/>
                <a:gdLst>
                  <a:gd name="connsiteX0" fmla="*/ 54102 w 64530"/>
                  <a:gd name="connsiteY0" fmla="*/ 40472 h 64530"/>
                  <a:gd name="connsiteX1" fmla="*/ 48717 w 64530"/>
                  <a:gd name="connsiteY1" fmla="*/ 45981 h 64530"/>
                  <a:gd name="connsiteX2" fmla="*/ 19608 w 64530"/>
                  <a:gd name="connsiteY2" fmla="*/ 46486 h 64530"/>
                  <a:gd name="connsiteX3" fmla="*/ 19608 w 64530"/>
                  <a:gd name="connsiteY3" fmla="*/ 46486 h 64530"/>
                  <a:gd name="connsiteX4" fmla="*/ 18839 w 64530"/>
                  <a:gd name="connsiteY4" fmla="*/ 17306 h 64530"/>
                  <a:gd name="connsiteX5" fmla="*/ 22711 w 64530"/>
                  <a:gd name="connsiteY5" fmla="*/ 13199 h 64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4530" h="64530">
                    <a:moveTo>
                      <a:pt x="54102" y="40472"/>
                    </a:moveTo>
                    <a:lnTo>
                      <a:pt x="48717" y="45981"/>
                    </a:lnTo>
                    <a:cubicBezTo>
                      <a:pt x="40791" y="54094"/>
                      <a:pt x="27809" y="54317"/>
                      <a:pt x="19608" y="46486"/>
                    </a:cubicBezTo>
                    <a:lnTo>
                      <a:pt x="19608" y="46486"/>
                    </a:lnTo>
                    <a:cubicBezTo>
                      <a:pt x="11371" y="38624"/>
                      <a:pt x="11031" y="25589"/>
                      <a:pt x="18839" y="17306"/>
                    </a:cubicBezTo>
                    <a:lnTo>
                      <a:pt x="22711" y="1319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3" name="Gruppieren 129">
              <a:extLst>
                <a:ext uri="{FF2B5EF4-FFF2-40B4-BE49-F238E27FC236}">
                  <a16:creationId xmlns:a16="http://schemas.microsoft.com/office/drawing/2014/main" id="{7FF29A8C-A859-E5DE-F5DE-55A6127B7F0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6597732" y="1626303"/>
              <a:ext cx="452080" cy="452133"/>
              <a:chOff x="8113816" y="1811130"/>
              <a:chExt cx="747504" cy="747591"/>
            </a:xfrm>
          </p:grpSpPr>
          <p:sp>
            <p:nvSpPr>
              <p:cNvPr id="91" name="Freihandform: Form 130">
                <a:extLst>
                  <a:ext uri="{FF2B5EF4-FFF2-40B4-BE49-F238E27FC236}">
                    <a16:creationId xmlns:a16="http://schemas.microsoft.com/office/drawing/2014/main" id="{A9AFF495-5D1F-25F3-B97F-AD5BECFE9064}"/>
                  </a:ext>
                </a:extLst>
              </p:cNvPr>
              <p:cNvSpPr/>
              <p:nvPr/>
            </p:nvSpPr>
            <p:spPr bwMode="gray">
              <a:xfrm>
                <a:off x="8476941" y="2028444"/>
                <a:ext cx="140284" cy="280569"/>
              </a:xfrm>
              <a:custGeom>
                <a:avLst/>
                <a:gdLst>
                  <a:gd name="connsiteX0" fmla="*/ 192627 w 203622"/>
                  <a:gd name="connsiteY0" fmla="*/ 392177 h 407244"/>
                  <a:gd name="connsiteX1" fmla="*/ 173893 w 203622"/>
                  <a:gd name="connsiteY1" fmla="*/ 300139 h 407244"/>
                  <a:gd name="connsiteX2" fmla="*/ 142943 w 203622"/>
                  <a:gd name="connsiteY2" fmla="*/ 248012 h 407244"/>
                  <a:gd name="connsiteX3" fmla="*/ 112807 w 203622"/>
                  <a:gd name="connsiteY3" fmla="*/ 231722 h 407244"/>
                  <a:gd name="connsiteX4" fmla="*/ 33802 w 203622"/>
                  <a:gd name="connsiteY4" fmla="*/ 208917 h 407244"/>
                  <a:gd name="connsiteX5" fmla="*/ 28914 w 203622"/>
                  <a:gd name="connsiteY5" fmla="*/ 206473 h 407244"/>
                  <a:gd name="connsiteX6" fmla="*/ 21584 w 203622"/>
                  <a:gd name="connsiteY6" fmla="*/ 194256 h 407244"/>
                  <a:gd name="connsiteX7" fmla="*/ 18326 w 203622"/>
                  <a:gd name="connsiteY7" fmla="*/ 163305 h 407244"/>
                  <a:gd name="connsiteX8" fmla="*/ 64752 w 203622"/>
                  <a:gd name="connsiteY8" fmla="*/ 90816 h 407244"/>
                  <a:gd name="connsiteX9" fmla="*/ 90001 w 203622"/>
                  <a:gd name="connsiteY9" fmla="*/ 54164 h 407244"/>
                  <a:gd name="connsiteX10" fmla="*/ 68010 w 203622"/>
                  <a:gd name="connsiteY10" fmla="*/ 18326 h 407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3622" h="407244">
                    <a:moveTo>
                      <a:pt x="192627" y="392177"/>
                    </a:moveTo>
                    <a:lnTo>
                      <a:pt x="173893" y="300139"/>
                    </a:lnTo>
                    <a:cubicBezTo>
                      <a:pt x="169821" y="279777"/>
                      <a:pt x="158418" y="261044"/>
                      <a:pt x="142943" y="248012"/>
                    </a:cubicBezTo>
                    <a:cubicBezTo>
                      <a:pt x="132355" y="239867"/>
                      <a:pt x="122581" y="234166"/>
                      <a:pt x="112807" y="231722"/>
                    </a:cubicBezTo>
                    <a:lnTo>
                      <a:pt x="33802" y="208917"/>
                    </a:lnTo>
                    <a:cubicBezTo>
                      <a:pt x="32172" y="208102"/>
                      <a:pt x="30543" y="207288"/>
                      <a:pt x="28914" y="206473"/>
                    </a:cubicBezTo>
                    <a:cubicBezTo>
                      <a:pt x="24842" y="204030"/>
                      <a:pt x="22398" y="199143"/>
                      <a:pt x="21584" y="194256"/>
                    </a:cubicBezTo>
                    <a:lnTo>
                      <a:pt x="18326" y="163305"/>
                    </a:lnTo>
                    <a:cubicBezTo>
                      <a:pt x="40317" y="146201"/>
                      <a:pt x="56607" y="120952"/>
                      <a:pt x="64752" y="90816"/>
                    </a:cubicBezTo>
                    <a:cubicBezTo>
                      <a:pt x="78598" y="89187"/>
                      <a:pt x="90001" y="73711"/>
                      <a:pt x="90001" y="54164"/>
                    </a:cubicBezTo>
                    <a:cubicBezTo>
                      <a:pt x="90001" y="36245"/>
                      <a:pt x="81042" y="20770"/>
                      <a:pt x="6801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2" name="Freihandform: Form 131">
                <a:extLst>
                  <a:ext uri="{FF2B5EF4-FFF2-40B4-BE49-F238E27FC236}">
                    <a16:creationId xmlns:a16="http://schemas.microsoft.com/office/drawing/2014/main" id="{F321C3FF-7514-2D18-D21B-C21668EFF3E7}"/>
                  </a:ext>
                </a:extLst>
              </p:cNvPr>
              <p:cNvSpPr/>
              <p:nvPr/>
            </p:nvSpPr>
            <p:spPr bwMode="gray">
              <a:xfrm>
                <a:off x="8271564" y="2027883"/>
                <a:ext cx="140284" cy="280569"/>
              </a:xfrm>
              <a:custGeom>
                <a:avLst/>
                <a:gdLst>
                  <a:gd name="connsiteX0" fmla="*/ 142943 w 203622"/>
                  <a:gd name="connsiteY0" fmla="*/ 18326 h 407244"/>
                  <a:gd name="connsiteX1" fmla="*/ 121766 w 203622"/>
                  <a:gd name="connsiteY1" fmla="*/ 54163 h 407244"/>
                  <a:gd name="connsiteX2" fmla="*/ 146200 w 203622"/>
                  <a:gd name="connsiteY2" fmla="*/ 90816 h 407244"/>
                  <a:gd name="connsiteX3" fmla="*/ 192626 w 203622"/>
                  <a:gd name="connsiteY3" fmla="*/ 163305 h 407244"/>
                  <a:gd name="connsiteX4" fmla="*/ 189369 w 203622"/>
                  <a:gd name="connsiteY4" fmla="*/ 194256 h 407244"/>
                  <a:gd name="connsiteX5" fmla="*/ 182038 w 203622"/>
                  <a:gd name="connsiteY5" fmla="*/ 206473 h 407244"/>
                  <a:gd name="connsiteX6" fmla="*/ 177151 w 203622"/>
                  <a:gd name="connsiteY6" fmla="*/ 208916 h 407244"/>
                  <a:gd name="connsiteX7" fmla="*/ 98960 w 203622"/>
                  <a:gd name="connsiteY7" fmla="*/ 231722 h 407244"/>
                  <a:gd name="connsiteX8" fmla="*/ 68010 w 203622"/>
                  <a:gd name="connsiteY8" fmla="*/ 248012 h 407244"/>
                  <a:gd name="connsiteX9" fmla="*/ 37059 w 203622"/>
                  <a:gd name="connsiteY9" fmla="*/ 300139 h 407244"/>
                  <a:gd name="connsiteX10" fmla="*/ 18326 w 203622"/>
                  <a:gd name="connsiteY10" fmla="*/ 392177 h 407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3622" h="407244">
                    <a:moveTo>
                      <a:pt x="142943" y="18326"/>
                    </a:moveTo>
                    <a:cubicBezTo>
                      <a:pt x="130725" y="21584"/>
                      <a:pt x="121766" y="36245"/>
                      <a:pt x="121766" y="54163"/>
                    </a:cubicBezTo>
                    <a:cubicBezTo>
                      <a:pt x="121766" y="73711"/>
                      <a:pt x="132355" y="89187"/>
                      <a:pt x="146200" y="90816"/>
                    </a:cubicBezTo>
                    <a:cubicBezTo>
                      <a:pt x="154345" y="120952"/>
                      <a:pt x="170635" y="146201"/>
                      <a:pt x="192626" y="163305"/>
                    </a:cubicBezTo>
                    <a:lnTo>
                      <a:pt x="189369" y="194256"/>
                    </a:lnTo>
                    <a:cubicBezTo>
                      <a:pt x="188554" y="199143"/>
                      <a:pt x="186111" y="204029"/>
                      <a:pt x="182038" y="206473"/>
                    </a:cubicBezTo>
                    <a:cubicBezTo>
                      <a:pt x="180409" y="207288"/>
                      <a:pt x="178780" y="208102"/>
                      <a:pt x="177151" y="208916"/>
                    </a:cubicBezTo>
                    <a:lnTo>
                      <a:pt x="98960" y="231722"/>
                    </a:lnTo>
                    <a:cubicBezTo>
                      <a:pt x="89186" y="234166"/>
                      <a:pt x="78598" y="239053"/>
                      <a:pt x="68010" y="248012"/>
                    </a:cubicBezTo>
                    <a:cubicBezTo>
                      <a:pt x="51720" y="261044"/>
                      <a:pt x="41132" y="279777"/>
                      <a:pt x="37059" y="300139"/>
                    </a:cubicBezTo>
                    <a:lnTo>
                      <a:pt x="18326" y="392177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3" name="Freihandform: Form 132">
                <a:extLst>
                  <a:ext uri="{FF2B5EF4-FFF2-40B4-BE49-F238E27FC236}">
                    <a16:creationId xmlns:a16="http://schemas.microsoft.com/office/drawing/2014/main" id="{A380CDC1-3192-207F-ED2F-273D5B190CD7}"/>
                  </a:ext>
                </a:extLst>
              </p:cNvPr>
              <p:cNvSpPr/>
              <p:nvPr/>
            </p:nvSpPr>
            <p:spPr bwMode="gray">
              <a:xfrm>
                <a:off x="8357387" y="1938102"/>
                <a:ext cx="173953" cy="112228"/>
              </a:xfrm>
              <a:custGeom>
                <a:avLst/>
                <a:gdLst>
                  <a:gd name="connsiteX0" fmla="*/ 240726 w 252491"/>
                  <a:gd name="connsiteY0" fmla="*/ 148644 h 162897"/>
                  <a:gd name="connsiteX1" fmla="*/ 129956 w 252491"/>
                  <a:gd name="connsiteY1" fmla="*/ 18326 h 162897"/>
                  <a:gd name="connsiteX2" fmla="*/ 18371 w 252491"/>
                  <a:gd name="connsiteY2" fmla="*/ 149459 h 162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2491" h="162897">
                    <a:moveTo>
                      <a:pt x="240726" y="148644"/>
                    </a:moveTo>
                    <a:cubicBezTo>
                      <a:pt x="240726" y="148644"/>
                      <a:pt x="247242" y="18326"/>
                      <a:pt x="129956" y="18326"/>
                    </a:cubicBezTo>
                    <a:cubicBezTo>
                      <a:pt x="12669" y="18326"/>
                      <a:pt x="18371" y="149459"/>
                      <a:pt x="18371" y="149459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4" name="Freihandform: Form 133">
                <a:extLst>
                  <a:ext uri="{FF2B5EF4-FFF2-40B4-BE49-F238E27FC236}">
                    <a16:creationId xmlns:a16="http://schemas.microsoft.com/office/drawing/2014/main" id="{4A559CB7-AB59-D524-FAB8-9E4145275D9F}"/>
                  </a:ext>
                </a:extLst>
              </p:cNvPr>
              <p:cNvSpPr/>
              <p:nvPr/>
            </p:nvSpPr>
            <p:spPr bwMode="gray">
              <a:xfrm>
                <a:off x="8363029" y="1973403"/>
                <a:ext cx="162730" cy="44891"/>
              </a:xfrm>
              <a:custGeom>
                <a:avLst/>
                <a:gdLst>
                  <a:gd name="connsiteX0" fmla="*/ 18326 w 236201"/>
                  <a:gd name="connsiteY0" fmla="*/ 41205 h 65159"/>
                  <a:gd name="connsiteX1" fmla="*/ 41946 w 236201"/>
                  <a:gd name="connsiteY1" fmla="*/ 20843 h 65159"/>
                  <a:gd name="connsiteX2" fmla="*/ 90815 w 236201"/>
                  <a:gd name="connsiteY2" fmla="*/ 26544 h 65159"/>
                  <a:gd name="connsiteX3" fmla="*/ 157603 w 236201"/>
                  <a:gd name="connsiteY3" fmla="*/ 50979 h 65159"/>
                  <a:gd name="connsiteX4" fmla="*/ 224392 w 236201"/>
                  <a:gd name="connsiteY4" fmla="*/ 40390 h 65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6201" h="65159">
                    <a:moveTo>
                      <a:pt x="18326" y="41205"/>
                    </a:moveTo>
                    <a:cubicBezTo>
                      <a:pt x="23213" y="31431"/>
                      <a:pt x="32172" y="24915"/>
                      <a:pt x="41946" y="20843"/>
                    </a:cubicBezTo>
                    <a:cubicBezTo>
                      <a:pt x="58236" y="15141"/>
                      <a:pt x="75340" y="20028"/>
                      <a:pt x="90815" y="26544"/>
                    </a:cubicBezTo>
                    <a:cubicBezTo>
                      <a:pt x="112807" y="36318"/>
                      <a:pt x="132355" y="48535"/>
                      <a:pt x="157603" y="50979"/>
                    </a:cubicBezTo>
                    <a:cubicBezTo>
                      <a:pt x="181224" y="53422"/>
                      <a:pt x="203215" y="50979"/>
                      <a:pt x="224392" y="40390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5" name="Freihandform: Form 134">
                <a:extLst>
                  <a:ext uri="{FF2B5EF4-FFF2-40B4-BE49-F238E27FC236}">
                    <a16:creationId xmlns:a16="http://schemas.microsoft.com/office/drawing/2014/main" id="{92E3A969-0D06-03BD-7600-A20487ADCF3E}"/>
                  </a:ext>
                </a:extLst>
              </p:cNvPr>
              <p:cNvSpPr/>
              <p:nvPr/>
            </p:nvSpPr>
            <p:spPr bwMode="gray">
              <a:xfrm>
                <a:off x="8384352" y="2158068"/>
                <a:ext cx="72948" cy="72948"/>
              </a:xfrm>
              <a:custGeom>
                <a:avLst/>
                <a:gdLst>
                  <a:gd name="connsiteX0" fmla="*/ 18326 w 105883"/>
                  <a:gd name="connsiteY0" fmla="*/ 18326 h 105883"/>
                  <a:gd name="connsiteX1" fmla="*/ 90816 w 105883"/>
                  <a:gd name="connsiteY1" fmla="*/ 93259 h 10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883" h="105883">
                    <a:moveTo>
                      <a:pt x="18326" y="18326"/>
                    </a:moveTo>
                    <a:lnTo>
                      <a:pt x="90816" y="9325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6" name="Freihandform: Form 135">
                <a:extLst>
                  <a:ext uri="{FF2B5EF4-FFF2-40B4-BE49-F238E27FC236}">
                    <a16:creationId xmlns:a16="http://schemas.microsoft.com/office/drawing/2014/main" id="{839DB50C-BA45-AE58-0924-187A8BAFBC7C}"/>
                  </a:ext>
                </a:extLst>
              </p:cNvPr>
              <p:cNvSpPr/>
              <p:nvPr/>
            </p:nvSpPr>
            <p:spPr bwMode="gray">
              <a:xfrm>
                <a:off x="8434294" y="2158068"/>
                <a:ext cx="72948" cy="72948"/>
              </a:xfrm>
              <a:custGeom>
                <a:avLst/>
                <a:gdLst>
                  <a:gd name="connsiteX0" fmla="*/ 90815 w 105883"/>
                  <a:gd name="connsiteY0" fmla="*/ 18326 h 105883"/>
                  <a:gd name="connsiteX1" fmla="*/ 18326 w 105883"/>
                  <a:gd name="connsiteY1" fmla="*/ 93259 h 10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883" h="105883">
                    <a:moveTo>
                      <a:pt x="90815" y="18326"/>
                    </a:moveTo>
                    <a:lnTo>
                      <a:pt x="18326" y="9325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7" name="Freihandform: Form 136">
                <a:extLst>
                  <a:ext uri="{FF2B5EF4-FFF2-40B4-BE49-F238E27FC236}">
                    <a16:creationId xmlns:a16="http://schemas.microsoft.com/office/drawing/2014/main" id="{DB0FD39E-5378-F937-9FAC-1FAF340D4DDD}"/>
                  </a:ext>
                </a:extLst>
              </p:cNvPr>
              <p:cNvSpPr/>
              <p:nvPr/>
            </p:nvSpPr>
            <p:spPr bwMode="gray">
              <a:xfrm>
                <a:off x="8434294" y="2209693"/>
                <a:ext cx="22446" cy="56114"/>
              </a:xfrm>
              <a:custGeom>
                <a:avLst/>
                <a:gdLst>
                  <a:gd name="connsiteX0" fmla="*/ 18326 w 32579"/>
                  <a:gd name="connsiteY0" fmla="*/ 18326 h 81448"/>
                  <a:gd name="connsiteX1" fmla="*/ 18326 w 32579"/>
                  <a:gd name="connsiteY1" fmla="*/ 68010 h 81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579" h="81448">
                    <a:moveTo>
                      <a:pt x="18326" y="18326"/>
                    </a:moveTo>
                    <a:lnTo>
                      <a:pt x="18326" y="68010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8" name="Freihandform: Form 137">
                <a:extLst>
                  <a:ext uri="{FF2B5EF4-FFF2-40B4-BE49-F238E27FC236}">
                    <a16:creationId xmlns:a16="http://schemas.microsoft.com/office/drawing/2014/main" id="{D84C309A-CC8B-007E-3E4E-44C397923847}"/>
                  </a:ext>
                </a:extLst>
              </p:cNvPr>
              <p:cNvSpPr/>
              <p:nvPr/>
            </p:nvSpPr>
            <p:spPr bwMode="gray">
              <a:xfrm>
                <a:off x="8113816" y="1811130"/>
                <a:ext cx="662142" cy="662142"/>
              </a:xfrm>
              <a:custGeom>
                <a:avLst/>
                <a:gdLst>
                  <a:gd name="connsiteX0" fmla="*/ 923635 w 961097"/>
                  <a:gd name="connsiteY0" fmla="*/ 459290 h 961097"/>
                  <a:gd name="connsiteX1" fmla="*/ 508025 w 961097"/>
                  <a:gd name="connsiteY1" fmla="*/ 923635 h 961097"/>
                  <a:gd name="connsiteX2" fmla="*/ 43680 w 961097"/>
                  <a:gd name="connsiteY2" fmla="*/ 508025 h 961097"/>
                  <a:gd name="connsiteX3" fmla="*/ 459290 w 961097"/>
                  <a:gd name="connsiteY3" fmla="*/ 43679 h 961097"/>
                  <a:gd name="connsiteX4" fmla="*/ 923635 w 961097"/>
                  <a:gd name="connsiteY4" fmla="*/ 459290 h 96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1097" h="961097">
                    <a:moveTo>
                      <a:pt x="923635" y="459290"/>
                    </a:moveTo>
                    <a:cubicBezTo>
                      <a:pt x="937093" y="702283"/>
                      <a:pt x="751018" y="910177"/>
                      <a:pt x="508025" y="923635"/>
                    </a:cubicBezTo>
                    <a:cubicBezTo>
                      <a:pt x="265032" y="937093"/>
                      <a:pt x="57138" y="751018"/>
                      <a:pt x="43680" y="508025"/>
                    </a:cubicBezTo>
                    <a:cubicBezTo>
                      <a:pt x="30222" y="265032"/>
                      <a:pt x="216297" y="57137"/>
                      <a:pt x="459290" y="43679"/>
                    </a:cubicBezTo>
                    <a:cubicBezTo>
                      <a:pt x="702283" y="30222"/>
                      <a:pt x="910177" y="216297"/>
                      <a:pt x="923635" y="459290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9" name="Freihandform: Form 138">
                <a:extLst>
                  <a:ext uri="{FF2B5EF4-FFF2-40B4-BE49-F238E27FC236}">
                    <a16:creationId xmlns:a16="http://schemas.microsoft.com/office/drawing/2014/main" id="{D70630AF-3B4C-122D-EDB9-6124AE878E5C}"/>
                  </a:ext>
                </a:extLst>
              </p:cNvPr>
              <p:cNvSpPr/>
              <p:nvPr/>
            </p:nvSpPr>
            <p:spPr bwMode="gray">
              <a:xfrm>
                <a:off x="8659310" y="2356711"/>
                <a:ext cx="202010" cy="202010"/>
              </a:xfrm>
              <a:custGeom>
                <a:avLst/>
                <a:gdLst>
                  <a:gd name="connsiteX0" fmla="*/ 100589 w 293216"/>
                  <a:gd name="connsiteY0" fmla="*/ 18326 h 293216"/>
                  <a:gd name="connsiteX1" fmla="*/ 261044 w 293216"/>
                  <a:gd name="connsiteY1" fmla="*/ 178780 h 293216"/>
                  <a:gd name="connsiteX2" fmla="*/ 261044 w 293216"/>
                  <a:gd name="connsiteY2" fmla="*/ 261044 h 293216"/>
                  <a:gd name="connsiteX3" fmla="*/ 261044 w 293216"/>
                  <a:gd name="connsiteY3" fmla="*/ 261044 h 293216"/>
                  <a:gd name="connsiteX4" fmla="*/ 178780 w 293216"/>
                  <a:gd name="connsiteY4" fmla="*/ 261044 h 293216"/>
                  <a:gd name="connsiteX5" fmla="*/ 18326 w 293216"/>
                  <a:gd name="connsiteY5" fmla="*/ 100589 h 293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3216" h="293216">
                    <a:moveTo>
                      <a:pt x="100589" y="18326"/>
                    </a:moveTo>
                    <a:lnTo>
                      <a:pt x="261044" y="178780"/>
                    </a:lnTo>
                    <a:cubicBezTo>
                      <a:pt x="283849" y="201586"/>
                      <a:pt x="283849" y="238238"/>
                      <a:pt x="261044" y="261044"/>
                    </a:cubicBezTo>
                    <a:lnTo>
                      <a:pt x="261044" y="261044"/>
                    </a:lnTo>
                    <a:cubicBezTo>
                      <a:pt x="238238" y="283849"/>
                      <a:pt x="201586" y="283849"/>
                      <a:pt x="178780" y="261044"/>
                    </a:cubicBezTo>
                    <a:lnTo>
                      <a:pt x="18326" y="100589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100" name="Freihandform: Form 139">
                <a:extLst>
                  <a:ext uri="{FF2B5EF4-FFF2-40B4-BE49-F238E27FC236}">
                    <a16:creationId xmlns:a16="http://schemas.microsoft.com/office/drawing/2014/main" id="{5B461BA0-1F18-7869-73B8-6A359D0985C3}"/>
                  </a:ext>
                </a:extLst>
              </p:cNvPr>
              <p:cNvSpPr/>
              <p:nvPr/>
            </p:nvSpPr>
            <p:spPr bwMode="gray">
              <a:xfrm>
                <a:off x="8559988" y="2257391"/>
                <a:ext cx="230068" cy="230066"/>
              </a:xfrm>
              <a:custGeom>
                <a:avLst/>
                <a:gdLst>
                  <a:gd name="connsiteX0" fmla="*/ 18326 w 333940"/>
                  <a:gd name="connsiteY0" fmla="*/ 322130 h 333940"/>
                  <a:gd name="connsiteX1" fmla="*/ 322130 w 333940"/>
                  <a:gd name="connsiteY1" fmla="*/ 18326 h 333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3940" h="333940">
                    <a:moveTo>
                      <a:pt x="18326" y="322130"/>
                    </a:moveTo>
                    <a:cubicBezTo>
                      <a:pt x="159233" y="271632"/>
                      <a:pt x="270818" y="159233"/>
                      <a:pt x="32213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4" name="Gruppieren 140">
              <a:extLst>
                <a:ext uri="{FF2B5EF4-FFF2-40B4-BE49-F238E27FC236}">
                  <a16:creationId xmlns:a16="http://schemas.microsoft.com/office/drawing/2014/main" id="{84142B47-6C1B-DC56-757B-D15385B14905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921751" y="3197527"/>
              <a:ext cx="355624" cy="360952"/>
              <a:chOff x="7986064" y="5303416"/>
              <a:chExt cx="734069" cy="745069"/>
            </a:xfrm>
          </p:grpSpPr>
          <p:sp>
            <p:nvSpPr>
              <p:cNvPr id="80" name="Freihandform: Form 141">
                <a:extLst>
                  <a:ext uri="{FF2B5EF4-FFF2-40B4-BE49-F238E27FC236}">
                    <a16:creationId xmlns:a16="http://schemas.microsoft.com/office/drawing/2014/main" id="{3DB3AB1B-B5A2-A5BB-9F29-D7200199895D}"/>
                  </a:ext>
                </a:extLst>
              </p:cNvPr>
              <p:cNvSpPr/>
              <p:nvPr/>
            </p:nvSpPr>
            <p:spPr bwMode="gray">
              <a:xfrm>
                <a:off x="8383353" y="5963527"/>
                <a:ext cx="48897" cy="24449"/>
              </a:xfrm>
              <a:custGeom>
                <a:avLst/>
                <a:gdLst>
                  <a:gd name="connsiteX0" fmla="*/ 50905 w 65159"/>
                  <a:gd name="connsiteY0" fmla="*/ 18326 h 32579"/>
                  <a:gd name="connsiteX1" fmla="*/ 18326 w 65159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159" h="32579">
                    <a:moveTo>
                      <a:pt x="50905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1" name="Freihandform: Form 142">
                <a:extLst>
                  <a:ext uri="{FF2B5EF4-FFF2-40B4-BE49-F238E27FC236}">
                    <a16:creationId xmlns:a16="http://schemas.microsoft.com/office/drawing/2014/main" id="{1B19B53B-87C6-B59F-A499-EC65DB64DEE0}"/>
                  </a:ext>
                </a:extLst>
              </p:cNvPr>
              <p:cNvSpPr/>
              <p:nvPr/>
            </p:nvSpPr>
            <p:spPr bwMode="gray">
              <a:xfrm>
                <a:off x="8387632" y="5898739"/>
                <a:ext cx="61121" cy="24449"/>
              </a:xfrm>
              <a:custGeom>
                <a:avLst/>
                <a:gdLst>
                  <a:gd name="connsiteX0" fmla="*/ 67195 w 81448"/>
                  <a:gd name="connsiteY0" fmla="*/ 18326 h 32579"/>
                  <a:gd name="connsiteX1" fmla="*/ 18326 w 81448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32579">
                    <a:moveTo>
                      <a:pt x="67195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2" name="Freihandform: Form 143">
                <a:extLst>
                  <a:ext uri="{FF2B5EF4-FFF2-40B4-BE49-F238E27FC236}">
                    <a16:creationId xmlns:a16="http://schemas.microsoft.com/office/drawing/2014/main" id="{4928CFBF-B60C-B31A-45EC-7DF2540DBE2C}"/>
                  </a:ext>
                </a:extLst>
              </p:cNvPr>
              <p:cNvSpPr/>
              <p:nvPr/>
            </p:nvSpPr>
            <p:spPr bwMode="gray">
              <a:xfrm>
                <a:off x="8392522" y="5833950"/>
                <a:ext cx="67234" cy="24449"/>
              </a:xfrm>
              <a:custGeom>
                <a:avLst/>
                <a:gdLst>
                  <a:gd name="connsiteX0" fmla="*/ 76969 w 89593"/>
                  <a:gd name="connsiteY0" fmla="*/ 18326 h 32579"/>
                  <a:gd name="connsiteX1" fmla="*/ 18326 w 89593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32579">
                    <a:moveTo>
                      <a:pt x="76969" y="18326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3" name="Freihandform: Form 144">
                <a:extLst>
                  <a:ext uri="{FF2B5EF4-FFF2-40B4-BE49-F238E27FC236}">
                    <a16:creationId xmlns:a16="http://schemas.microsoft.com/office/drawing/2014/main" id="{1E06BC50-0327-5D61-15EA-59398085EC79}"/>
                  </a:ext>
                </a:extLst>
              </p:cNvPr>
              <p:cNvSpPr/>
              <p:nvPr/>
            </p:nvSpPr>
            <p:spPr bwMode="gray">
              <a:xfrm>
                <a:off x="7986064" y="5755102"/>
                <a:ext cx="134467" cy="293383"/>
              </a:xfrm>
              <a:custGeom>
                <a:avLst/>
                <a:gdLst>
                  <a:gd name="connsiteX0" fmla="*/ 18326 w 179187"/>
                  <a:gd name="connsiteY0" fmla="*/ 375072 h 390954"/>
                  <a:gd name="connsiteX1" fmla="*/ 150273 w 179187"/>
                  <a:gd name="connsiteY1" fmla="*/ 375072 h 390954"/>
                  <a:gd name="connsiteX2" fmla="*/ 168192 w 179187"/>
                  <a:gd name="connsiteY2" fmla="*/ 357154 h 390954"/>
                  <a:gd name="connsiteX3" fmla="*/ 168192 w 179187"/>
                  <a:gd name="connsiteY3" fmla="*/ 36245 h 390954"/>
                  <a:gd name="connsiteX4" fmla="*/ 150273 w 179187"/>
                  <a:gd name="connsiteY4" fmla="*/ 18326 h 390954"/>
                  <a:gd name="connsiteX5" fmla="*/ 18326 w 179187"/>
                  <a:gd name="connsiteY5" fmla="*/ 18326 h 390954"/>
                  <a:gd name="connsiteX6" fmla="*/ 18326 w 179187"/>
                  <a:gd name="connsiteY6" fmla="*/ 375072 h 39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9187" h="390954">
                    <a:moveTo>
                      <a:pt x="18326" y="375072"/>
                    </a:moveTo>
                    <a:lnTo>
                      <a:pt x="150273" y="375072"/>
                    </a:lnTo>
                    <a:cubicBezTo>
                      <a:pt x="160047" y="375072"/>
                      <a:pt x="168192" y="366928"/>
                      <a:pt x="168192" y="357154"/>
                    </a:cubicBezTo>
                    <a:lnTo>
                      <a:pt x="168192" y="36245"/>
                    </a:lnTo>
                    <a:cubicBezTo>
                      <a:pt x="168192" y="26471"/>
                      <a:pt x="160047" y="18326"/>
                      <a:pt x="150273" y="18326"/>
                    </a:cubicBezTo>
                    <a:lnTo>
                      <a:pt x="18326" y="18326"/>
                    </a:lnTo>
                    <a:lnTo>
                      <a:pt x="18326" y="37507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4" name="Freihandform: Form 145">
                <a:extLst>
                  <a:ext uri="{FF2B5EF4-FFF2-40B4-BE49-F238E27FC236}">
                    <a16:creationId xmlns:a16="http://schemas.microsoft.com/office/drawing/2014/main" id="{CD338184-DF7F-8991-A6D0-66469A309032}"/>
                  </a:ext>
                </a:extLst>
              </p:cNvPr>
              <p:cNvSpPr/>
              <p:nvPr/>
            </p:nvSpPr>
            <p:spPr bwMode="gray">
              <a:xfrm>
                <a:off x="8099139" y="5768549"/>
                <a:ext cx="409514" cy="275046"/>
              </a:xfrm>
              <a:custGeom>
                <a:avLst/>
                <a:gdLst>
                  <a:gd name="connsiteX0" fmla="*/ 299325 w 545707"/>
                  <a:gd name="connsiteY0" fmla="*/ 18326 h 366520"/>
                  <a:gd name="connsiteX1" fmla="*/ 489915 w 545707"/>
                  <a:gd name="connsiteY1" fmla="*/ 18326 h 366520"/>
                  <a:gd name="connsiteX2" fmla="*/ 533083 w 545707"/>
                  <a:gd name="connsiteY2" fmla="*/ 63123 h 366520"/>
                  <a:gd name="connsiteX3" fmla="*/ 488286 w 545707"/>
                  <a:gd name="connsiteY3" fmla="*/ 104662 h 366520"/>
                  <a:gd name="connsiteX4" fmla="*/ 470368 w 545707"/>
                  <a:gd name="connsiteY4" fmla="*/ 104662 h 366520"/>
                  <a:gd name="connsiteX5" fmla="*/ 513536 w 545707"/>
                  <a:gd name="connsiteY5" fmla="*/ 149459 h 366520"/>
                  <a:gd name="connsiteX6" fmla="*/ 468739 w 545707"/>
                  <a:gd name="connsiteY6" fmla="*/ 190998 h 366520"/>
                  <a:gd name="connsiteX7" fmla="*/ 450820 w 545707"/>
                  <a:gd name="connsiteY7" fmla="*/ 190998 h 366520"/>
                  <a:gd name="connsiteX8" fmla="*/ 493988 w 545707"/>
                  <a:gd name="connsiteY8" fmla="*/ 235795 h 366520"/>
                  <a:gd name="connsiteX9" fmla="*/ 449191 w 545707"/>
                  <a:gd name="connsiteY9" fmla="*/ 277334 h 366520"/>
                  <a:gd name="connsiteX10" fmla="*/ 431272 w 545707"/>
                  <a:gd name="connsiteY10" fmla="*/ 277334 h 366520"/>
                  <a:gd name="connsiteX11" fmla="*/ 474440 w 545707"/>
                  <a:gd name="connsiteY11" fmla="*/ 316429 h 366520"/>
                  <a:gd name="connsiteX12" fmla="*/ 429643 w 545707"/>
                  <a:gd name="connsiteY12" fmla="*/ 355525 h 366520"/>
                  <a:gd name="connsiteX13" fmla="*/ 158418 w 545707"/>
                  <a:gd name="connsiteY13" fmla="*/ 312357 h 366520"/>
                  <a:gd name="connsiteX14" fmla="*/ 68010 w 545707"/>
                  <a:gd name="connsiteY14" fmla="*/ 303397 h 366520"/>
                  <a:gd name="connsiteX15" fmla="*/ 18326 w 545707"/>
                  <a:gd name="connsiteY15" fmla="*/ 315615 h 366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45707" h="366520">
                    <a:moveTo>
                      <a:pt x="299325" y="18326"/>
                    </a:moveTo>
                    <a:lnTo>
                      <a:pt x="489915" y="18326"/>
                    </a:lnTo>
                    <a:cubicBezTo>
                      <a:pt x="514350" y="18326"/>
                      <a:pt x="533898" y="38688"/>
                      <a:pt x="533083" y="63123"/>
                    </a:cubicBezTo>
                    <a:cubicBezTo>
                      <a:pt x="532269" y="85929"/>
                      <a:pt x="511092" y="104662"/>
                      <a:pt x="488286" y="104662"/>
                    </a:cubicBezTo>
                    <a:lnTo>
                      <a:pt x="470368" y="104662"/>
                    </a:lnTo>
                    <a:cubicBezTo>
                      <a:pt x="494802" y="104662"/>
                      <a:pt x="514350" y="125024"/>
                      <a:pt x="513536" y="149459"/>
                    </a:cubicBezTo>
                    <a:cubicBezTo>
                      <a:pt x="512721" y="172264"/>
                      <a:pt x="491545" y="190998"/>
                      <a:pt x="468739" y="190998"/>
                    </a:cubicBezTo>
                    <a:lnTo>
                      <a:pt x="450820" y="190998"/>
                    </a:lnTo>
                    <a:cubicBezTo>
                      <a:pt x="475255" y="190998"/>
                      <a:pt x="494802" y="211360"/>
                      <a:pt x="493988" y="235795"/>
                    </a:cubicBezTo>
                    <a:cubicBezTo>
                      <a:pt x="493174" y="258600"/>
                      <a:pt x="471997" y="277334"/>
                      <a:pt x="449191" y="277334"/>
                    </a:cubicBezTo>
                    <a:lnTo>
                      <a:pt x="431272" y="277334"/>
                    </a:lnTo>
                    <a:cubicBezTo>
                      <a:pt x="455707" y="277334"/>
                      <a:pt x="474440" y="294438"/>
                      <a:pt x="474440" y="316429"/>
                    </a:cubicBezTo>
                    <a:cubicBezTo>
                      <a:pt x="474440" y="343307"/>
                      <a:pt x="452449" y="355525"/>
                      <a:pt x="429643" y="355525"/>
                    </a:cubicBezTo>
                    <a:cubicBezTo>
                      <a:pt x="283035" y="355525"/>
                      <a:pt x="200772" y="331090"/>
                      <a:pt x="158418" y="312357"/>
                    </a:cubicBezTo>
                    <a:cubicBezTo>
                      <a:pt x="129911" y="299325"/>
                      <a:pt x="98146" y="296067"/>
                      <a:pt x="68010" y="303397"/>
                    </a:cubicBezTo>
                    <a:lnTo>
                      <a:pt x="18326" y="315615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5" name="Freihandform: Form 146">
                <a:extLst>
                  <a:ext uri="{FF2B5EF4-FFF2-40B4-BE49-F238E27FC236}">
                    <a16:creationId xmlns:a16="http://schemas.microsoft.com/office/drawing/2014/main" id="{C6C11467-A220-1C52-4CCD-91F8C77F33F6}"/>
                  </a:ext>
                </a:extLst>
              </p:cNvPr>
              <p:cNvSpPr/>
              <p:nvPr/>
            </p:nvSpPr>
            <p:spPr bwMode="gray">
              <a:xfrm>
                <a:off x="8098527" y="5676867"/>
                <a:ext cx="262822" cy="122243"/>
              </a:xfrm>
              <a:custGeom>
                <a:avLst/>
                <a:gdLst>
                  <a:gd name="connsiteX0" fmla="*/ 18326 w 350230"/>
                  <a:gd name="connsiteY0" fmla="*/ 149459 h 162897"/>
                  <a:gd name="connsiteX1" fmla="*/ 121766 w 350230"/>
                  <a:gd name="connsiteY1" fmla="*/ 149459 h 162897"/>
                  <a:gd name="connsiteX2" fmla="*/ 179595 w 350230"/>
                  <a:gd name="connsiteY2" fmla="*/ 149459 h 162897"/>
                  <a:gd name="connsiteX3" fmla="*/ 338420 w 350230"/>
                  <a:gd name="connsiteY3" fmla="*/ 18326 h 162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0230" h="162897">
                    <a:moveTo>
                      <a:pt x="18326" y="149459"/>
                    </a:moveTo>
                    <a:lnTo>
                      <a:pt x="121766" y="149459"/>
                    </a:lnTo>
                    <a:lnTo>
                      <a:pt x="179595" y="149459"/>
                    </a:lnTo>
                    <a:cubicBezTo>
                      <a:pt x="179595" y="149459"/>
                      <a:pt x="186925" y="44390"/>
                      <a:pt x="338420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6" name="Freihandform: Form 147">
                <a:extLst>
                  <a:ext uri="{FF2B5EF4-FFF2-40B4-BE49-F238E27FC236}">
                    <a16:creationId xmlns:a16="http://schemas.microsoft.com/office/drawing/2014/main" id="{03D12D90-6236-4F72-73BB-13DBF1B667B0}"/>
                  </a:ext>
                </a:extLst>
              </p:cNvPr>
              <p:cNvSpPr/>
              <p:nvPr/>
            </p:nvSpPr>
            <p:spPr bwMode="gray">
              <a:xfrm>
                <a:off x="8124809" y="5326642"/>
                <a:ext cx="537869" cy="140580"/>
              </a:xfrm>
              <a:custGeom>
                <a:avLst/>
                <a:gdLst>
                  <a:gd name="connsiteX0" fmla="*/ 705755 w 716750"/>
                  <a:gd name="connsiteY0" fmla="*/ 18326 h 187332"/>
                  <a:gd name="connsiteX1" fmla="*/ 323759 w 716750"/>
                  <a:gd name="connsiteY1" fmla="*/ 155160 h 187332"/>
                  <a:gd name="connsiteX2" fmla="*/ 18326 w 716750"/>
                  <a:gd name="connsiteY2" fmla="*/ 163305 h 187332"/>
                  <a:gd name="connsiteX3" fmla="*/ 18326 w 716750"/>
                  <a:gd name="connsiteY3" fmla="*/ 163305 h 187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6750" h="187332">
                    <a:moveTo>
                      <a:pt x="705755" y="18326"/>
                    </a:moveTo>
                    <a:cubicBezTo>
                      <a:pt x="551816" y="92445"/>
                      <a:pt x="421498" y="133169"/>
                      <a:pt x="323759" y="155160"/>
                    </a:cubicBezTo>
                    <a:cubicBezTo>
                      <a:pt x="223577" y="177966"/>
                      <a:pt x="120137" y="180409"/>
                      <a:pt x="18326" y="163305"/>
                    </a:cubicBezTo>
                    <a:lnTo>
                      <a:pt x="18326" y="163305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7" name="Freihandform: Form 148">
                <a:extLst>
                  <a:ext uri="{FF2B5EF4-FFF2-40B4-BE49-F238E27FC236}">
                    <a16:creationId xmlns:a16="http://schemas.microsoft.com/office/drawing/2014/main" id="{6A78075A-9A5C-F443-3903-82F1DDA7828A}"/>
                  </a:ext>
                </a:extLst>
              </p:cNvPr>
              <p:cNvSpPr/>
              <p:nvPr/>
            </p:nvSpPr>
            <p:spPr bwMode="gray">
              <a:xfrm>
                <a:off x="8338735" y="5596798"/>
                <a:ext cx="97794" cy="195589"/>
              </a:xfrm>
              <a:custGeom>
                <a:avLst/>
                <a:gdLst>
                  <a:gd name="connsiteX0" fmla="*/ 117694 w 130318"/>
                  <a:gd name="connsiteY0" fmla="*/ 42761 h 260636"/>
                  <a:gd name="connsiteX1" fmla="*/ 117694 w 130318"/>
                  <a:gd name="connsiteY1" fmla="*/ 247198 h 260636"/>
                  <a:gd name="connsiteX2" fmla="*/ 18326 w 130318"/>
                  <a:gd name="connsiteY2" fmla="*/ 247198 h 260636"/>
                  <a:gd name="connsiteX3" fmla="*/ 18326 w 130318"/>
                  <a:gd name="connsiteY3" fmla="*/ 18326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260636">
                    <a:moveTo>
                      <a:pt x="117694" y="42761"/>
                    </a:moveTo>
                    <a:lnTo>
                      <a:pt x="117694" y="247198"/>
                    </a:lnTo>
                    <a:lnTo>
                      <a:pt x="18326" y="247198"/>
                    </a:lnTo>
                    <a:lnTo>
                      <a:pt x="18326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8" name="Freihandform: Form 149">
                <a:extLst>
                  <a:ext uri="{FF2B5EF4-FFF2-40B4-BE49-F238E27FC236}">
                    <a16:creationId xmlns:a16="http://schemas.microsoft.com/office/drawing/2014/main" id="{9895C9B3-25D4-B3B2-D0DE-B1E4A9C1A954}"/>
                  </a:ext>
                </a:extLst>
              </p:cNvPr>
              <p:cNvSpPr/>
              <p:nvPr/>
            </p:nvSpPr>
            <p:spPr bwMode="gray">
              <a:xfrm>
                <a:off x="8640675" y="5303416"/>
                <a:ext cx="79458" cy="446186"/>
              </a:xfrm>
              <a:custGeom>
                <a:avLst/>
                <a:gdLst>
                  <a:gd name="connsiteX0" fmla="*/ 61494 w 105883"/>
                  <a:gd name="connsiteY0" fmla="*/ 581953 h 594577"/>
                  <a:gd name="connsiteX1" fmla="*/ 18326 w 105883"/>
                  <a:gd name="connsiteY1" fmla="*/ 581953 h 594577"/>
                  <a:gd name="connsiteX2" fmla="*/ 18326 w 105883"/>
                  <a:gd name="connsiteY2" fmla="*/ 18326 h 594577"/>
                  <a:gd name="connsiteX3" fmla="*/ 61494 w 105883"/>
                  <a:gd name="connsiteY3" fmla="*/ 18326 h 594577"/>
                  <a:gd name="connsiteX4" fmla="*/ 94073 w 105883"/>
                  <a:gd name="connsiteY4" fmla="*/ 50906 h 594577"/>
                  <a:gd name="connsiteX5" fmla="*/ 94073 w 105883"/>
                  <a:gd name="connsiteY5" fmla="*/ 549373 h 594577"/>
                  <a:gd name="connsiteX6" fmla="*/ 61494 w 105883"/>
                  <a:gd name="connsiteY6" fmla="*/ 581953 h 594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5883" h="594577">
                    <a:moveTo>
                      <a:pt x="61494" y="581953"/>
                    </a:moveTo>
                    <a:lnTo>
                      <a:pt x="18326" y="581953"/>
                    </a:lnTo>
                    <a:lnTo>
                      <a:pt x="18326" y="18326"/>
                    </a:lnTo>
                    <a:lnTo>
                      <a:pt x="61494" y="18326"/>
                    </a:lnTo>
                    <a:cubicBezTo>
                      <a:pt x="79413" y="18326"/>
                      <a:pt x="94073" y="32987"/>
                      <a:pt x="94073" y="50906"/>
                    </a:cubicBezTo>
                    <a:lnTo>
                      <a:pt x="94073" y="549373"/>
                    </a:lnTo>
                    <a:cubicBezTo>
                      <a:pt x="94073" y="567292"/>
                      <a:pt x="79413" y="581953"/>
                      <a:pt x="61494" y="58195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89" name="Freihandform: Form 150">
                <a:extLst>
                  <a:ext uri="{FF2B5EF4-FFF2-40B4-BE49-F238E27FC236}">
                    <a16:creationId xmlns:a16="http://schemas.microsoft.com/office/drawing/2014/main" id="{2D6FD5AF-ABF4-E8B4-3BF2-ED86C82376B8}"/>
                  </a:ext>
                </a:extLst>
              </p:cNvPr>
              <p:cNvSpPr/>
              <p:nvPr/>
            </p:nvSpPr>
            <p:spPr bwMode="gray">
              <a:xfrm>
                <a:off x="8125421" y="5585273"/>
                <a:ext cx="537869" cy="140580"/>
              </a:xfrm>
              <a:custGeom>
                <a:avLst/>
                <a:gdLst>
                  <a:gd name="connsiteX0" fmla="*/ 704940 w 716750"/>
                  <a:gd name="connsiteY0" fmla="*/ 174591 h 187332"/>
                  <a:gd name="connsiteX1" fmla="*/ 331904 w 716750"/>
                  <a:gd name="connsiteY1" fmla="*/ 39386 h 187332"/>
                  <a:gd name="connsiteX2" fmla="*/ 18326 w 716750"/>
                  <a:gd name="connsiteY2" fmla="*/ 28797 h 187332"/>
                  <a:gd name="connsiteX3" fmla="*/ 18326 w 716750"/>
                  <a:gd name="connsiteY3" fmla="*/ 28797 h 187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6750" h="187332">
                    <a:moveTo>
                      <a:pt x="704940" y="174591"/>
                    </a:moveTo>
                    <a:cubicBezTo>
                      <a:pt x="555074" y="102101"/>
                      <a:pt x="428014" y="62191"/>
                      <a:pt x="331904" y="39386"/>
                    </a:cubicBezTo>
                    <a:cubicBezTo>
                      <a:pt x="229278" y="15765"/>
                      <a:pt x="122581" y="11693"/>
                      <a:pt x="18326" y="28797"/>
                    </a:cubicBezTo>
                    <a:lnTo>
                      <a:pt x="18326" y="28797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90" name="Freihandform: Form 151">
                <a:extLst>
                  <a:ext uri="{FF2B5EF4-FFF2-40B4-BE49-F238E27FC236}">
                    <a16:creationId xmlns:a16="http://schemas.microsoft.com/office/drawing/2014/main" id="{595D3152-1BFF-70FD-6F67-BEF62724CF11}"/>
                  </a:ext>
                </a:extLst>
              </p:cNvPr>
              <p:cNvSpPr/>
              <p:nvPr/>
            </p:nvSpPr>
            <p:spPr bwMode="gray">
              <a:xfrm>
                <a:off x="8071634" y="5415267"/>
                <a:ext cx="79458" cy="226149"/>
              </a:xfrm>
              <a:custGeom>
                <a:avLst/>
                <a:gdLst>
                  <a:gd name="connsiteX0" fmla="*/ 89187 w 105883"/>
                  <a:gd name="connsiteY0" fmla="*/ 283035 h 301361"/>
                  <a:gd name="connsiteX1" fmla="*/ 52535 w 105883"/>
                  <a:gd name="connsiteY1" fmla="*/ 283035 h 301361"/>
                  <a:gd name="connsiteX2" fmla="*/ 18326 w 105883"/>
                  <a:gd name="connsiteY2" fmla="*/ 248827 h 301361"/>
                  <a:gd name="connsiteX3" fmla="*/ 18326 w 105883"/>
                  <a:gd name="connsiteY3" fmla="*/ 52535 h 301361"/>
                  <a:gd name="connsiteX4" fmla="*/ 52535 w 105883"/>
                  <a:gd name="connsiteY4" fmla="*/ 18326 h 301361"/>
                  <a:gd name="connsiteX5" fmla="*/ 89187 w 105883"/>
                  <a:gd name="connsiteY5" fmla="*/ 18326 h 301361"/>
                  <a:gd name="connsiteX6" fmla="*/ 89187 w 105883"/>
                  <a:gd name="connsiteY6" fmla="*/ 283035 h 301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5883" h="301361">
                    <a:moveTo>
                      <a:pt x="89187" y="283035"/>
                    </a:moveTo>
                    <a:lnTo>
                      <a:pt x="52535" y="283035"/>
                    </a:lnTo>
                    <a:cubicBezTo>
                      <a:pt x="33802" y="283035"/>
                      <a:pt x="18326" y="267560"/>
                      <a:pt x="18326" y="248827"/>
                    </a:cubicBezTo>
                    <a:lnTo>
                      <a:pt x="18326" y="52535"/>
                    </a:lnTo>
                    <a:cubicBezTo>
                      <a:pt x="18326" y="33801"/>
                      <a:pt x="33802" y="18326"/>
                      <a:pt x="52535" y="18326"/>
                    </a:cubicBezTo>
                    <a:lnTo>
                      <a:pt x="89187" y="18326"/>
                    </a:lnTo>
                    <a:lnTo>
                      <a:pt x="89187" y="283035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5" name="Gruppieren 152">
              <a:extLst>
                <a:ext uri="{FF2B5EF4-FFF2-40B4-BE49-F238E27FC236}">
                  <a16:creationId xmlns:a16="http://schemas.microsoft.com/office/drawing/2014/main" id="{8872F882-AA25-4F42-700A-300D1E880F5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4363116" y="1676645"/>
              <a:ext cx="442498" cy="390279"/>
              <a:chOff x="8797658" y="7629428"/>
              <a:chExt cx="712335" cy="628274"/>
            </a:xfrm>
          </p:grpSpPr>
          <p:sp>
            <p:nvSpPr>
              <p:cNvPr id="61" name="Freihandform: Form 153">
                <a:extLst>
                  <a:ext uri="{FF2B5EF4-FFF2-40B4-BE49-F238E27FC236}">
                    <a16:creationId xmlns:a16="http://schemas.microsoft.com/office/drawing/2014/main" id="{25319030-2B7E-580C-FDB2-F491361149F3}"/>
                  </a:ext>
                </a:extLst>
              </p:cNvPr>
              <p:cNvSpPr/>
              <p:nvPr/>
            </p:nvSpPr>
            <p:spPr bwMode="gray">
              <a:xfrm>
                <a:off x="9030736" y="7823205"/>
                <a:ext cx="92795" cy="141921"/>
              </a:xfrm>
              <a:custGeom>
                <a:avLst/>
                <a:gdLst>
                  <a:gd name="connsiteX0" fmla="*/ 12282 w 92794"/>
                  <a:gd name="connsiteY0" fmla="*/ 132369 h 141921"/>
                  <a:gd name="connsiteX1" fmla="*/ 12282 w 92794"/>
                  <a:gd name="connsiteY1" fmla="*/ 12282 h 141921"/>
                  <a:gd name="connsiteX2" fmla="*/ 82150 w 92794"/>
                  <a:gd name="connsiteY2" fmla="*/ 12282 h 141921"/>
                  <a:gd name="connsiteX3" fmla="*/ 82150 w 92794"/>
                  <a:gd name="connsiteY3" fmla="*/ 132369 h 141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794" h="141921">
                    <a:moveTo>
                      <a:pt x="12282" y="132369"/>
                    </a:moveTo>
                    <a:lnTo>
                      <a:pt x="12282" y="12282"/>
                    </a:lnTo>
                    <a:lnTo>
                      <a:pt x="82150" y="12282"/>
                    </a:lnTo>
                    <a:lnTo>
                      <a:pt x="82150" y="132369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2" name="Freihandform: Form 154">
                <a:extLst>
                  <a:ext uri="{FF2B5EF4-FFF2-40B4-BE49-F238E27FC236}">
                    <a16:creationId xmlns:a16="http://schemas.microsoft.com/office/drawing/2014/main" id="{235C5CF7-484A-CA36-78DA-0B7B94F45AB3}"/>
                  </a:ext>
                </a:extLst>
              </p:cNvPr>
              <p:cNvSpPr/>
              <p:nvPr/>
            </p:nvSpPr>
            <p:spPr bwMode="gray">
              <a:xfrm>
                <a:off x="9065671" y="7823205"/>
                <a:ext cx="21834" cy="174672"/>
              </a:xfrm>
              <a:custGeom>
                <a:avLst/>
                <a:gdLst>
                  <a:gd name="connsiteX0" fmla="*/ 12282 w 21834"/>
                  <a:gd name="connsiteY0" fmla="*/ 12282 h 174672"/>
                  <a:gd name="connsiteX1" fmla="*/ 12282 w 21834"/>
                  <a:gd name="connsiteY1" fmla="*/ 165120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174672">
                    <a:moveTo>
                      <a:pt x="12282" y="12282"/>
                    </a:moveTo>
                    <a:lnTo>
                      <a:pt x="12282" y="165120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3" name="Freihandform: Form 155">
                <a:extLst>
                  <a:ext uri="{FF2B5EF4-FFF2-40B4-BE49-F238E27FC236}">
                    <a16:creationId xmlns:a16="http://schemas.microsoft.com/office/drawing/2014/main" id="{B355B21C-B0BD-D60C-2C96-5002D7824A09}"/>
                  </a:ext>
                </a:extLst>
              </p:cNvPr>
              <p:cNvSpPr/>
              <p:nvPr/>
            </p:nvSpPr>
            <p:spPr bwMode="gray">
              <a:xfrm>
                <a:off x="9043836" y="7656720"/>
                <a:ext cx="65502" cy="65502"/>
              </a:xfrm>
              <a:custGeom>
                <a:avLst/>
                <a:gdLst>
                  <a:gd name="connsiteX0" fmla="*/ 55950 w 65502"/>
                  <a:gd name="connsiteY0" fmla="*/ 34116 h 65502"/>
                  <a:gd name="connsiteX1" fmla="*/ 34116 w 65502"/>
                  <a:gd name="connsiteY1" fmla="*/ 55950 h 65502"/>
                  <a:gd name="connsiteX2" fmla="*/ 12282 w 65502"/>
                  <a:gd name="connsiteY2" fmla="*/ 34116 h 65502"/>
                  <a:gd name="connsiteX3" fmla="*/ 34116 w 65502"/>
                  <a:gd name="connsiteY3" fmla="*/ 12282 h 65502"/>
                  <a:gd name="connsiteX4" fmla="*/ 55950 w 65502"/>
                  <a:gd name="connsiteY4" fmla="*/ 34116 h 65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502" h="65502">
                    <a:moveTo>
                      <a:pt x="55950" y="34116"/>
                    </a:moveTo>
                    <a:cubicBezTo>
                      <a:pt x="55950" y="46124"/>
                      <a:pt x="46124" y="55950"/>
                      <a:pt x="34116" y="55950"/>
                    </a:cubicBezTo>
                    <a:cubicBezTo>
                      <a:pt x="22107" y="55950"/>
                      <a:pt x="12282" y="46124"/>
                      <a:pt x="12282" y="34116"/>
                    </a:cubicBezTo>
                    <a:cubicBezTo>
                      <a:pt x="12282" y="22107"/>
                      <a:pt x="22107" y="12282"/>
                      <a:pt x="34116" y="12282"/>
                    </a:cubicBezTo>
                    <a:cubicBezTo>
                      <a:pt x="46124" y="12282"/>
                      <a:pt x="55950" y="22107"/>
                      <a:pt x="55950" y="34116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4" name="Freihandform: Form 156">
                <a:extLst>
                  <a:ext uri="{FF2B5EF4-FFF2-40B4-BE49-F238E27FC236}">
                    <a16:creationId xmlns:a16="http://schemas.microsoft.com/office/drawing/2014/main" id="{EA834B4A-DC92-BC1B-C4B0-ABDD36303C87}"/>
                  </a:ext>
                </a:extLst>
              </p:cNvPr>
              <p:cNvSpPr/>
              <p:nvPr/>
            </p:nvSpPr>
            <p:spPr bwMode="gray">
              <a:xfrm>
                <a:off x="9065671" y="7726043"/>
                <a:ext cx="21834" cy="87336"/>
              </a:xfrm>
              <a:custGeom>
                <a:avLst/>
                <a:gdLst>
                  <a:gd name="connsiteX0" fmla="*/ 12282 w 21834"/>
                  <a:gd name="connsiteY0" fmla="*/ 12282 h 87336"/>
                  <a:gd name="connsiteX1" fmla="*/ 12282 w 21834"/>
                  <a:gd name="connsiteY1" fmla="*/ 78875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87336">
                    <a:moveTo>
                      <a:pt x="12282" y="12282"/>
                    </a:moveTo>
                    <a:lnTo>
                      <a:pt x="12282" y="78875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5" name="Freihandform: Form 157">
                <a:extLst>
                  <a:ext uri="{FF2B5EF4-FFF2-40B4-BE49-F238E27FC236}">
                    <a16:creationId xmlns:a16="http://schemas.microsoft.com/office/drawing/2014/main" id="{BD4CE683-062A-C30C-5C7F-BA60B2448AEF}"/>
                  </a:ext>
                </a:extLst>
              </p:cNvPr>
              <p:cNvSpPr/>
              <p:nvPr/>
            </p:nvSpPr>
            <p:spPr bwMode="gray">
              <a:xfrm>
                <a:off x="9030736" y="7770803"/>
                <a:ext cx="92795" cy="76419"/>
              </a:xfrm>
              <a:custGeom>
                <a:avLst/>
                <a:gdLst>
                  <a:gd name="connsiteX0" fmla="*/ 12282 w 92794"/>
                  <a:gd name="connsiteY0" fmla="*/ 12282 h 76419"/>
                  <a:gd name="connsiteX1" fmla="*/ 12282 w 92794"/>
                  <a:gd name="connsiteY1" fmla="*/ 64683 h 76419"/>
                  <a:gd name="connsiteX2" fmla="*/ 82150 w 92794"/>
                  <a:gd name="connsiteY2" fmla="*/ 64683 h 76419"/>
                  <a:gd name="connsiteX3" fmla="*/ 82150 w 92794"/>
                  <a:gd name="connsiteY3" fmla="*/ 12282 h 76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794" h="76419">
                    <a:moveTo>
                      <a:pt x="12282" y="12282"/>
                    </a:moveTo>
                    <a:lnTo>
                      <a:pt x="12282" y="64683"/>
                    </a:lnTo>
                    <a:lnTo>
                      <a:pt x="82150" y="64683"/>
                    </a:lnTo>
                    <a:lnTo>
                      <a:pt x="82150" y="12282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6" name="Freihandform: Form 158">
                <a:extLst>
                  <a:ext uri="{FF2B5EF4-FFF2-40B4-BE49-F238E27FC236}">
                    <a16:creationId xmlns:a16="http://schemas.microsoft.com/office/drawing/2014/main" id="{01888448-A7B1-4F7E-A7DD-DFE88E5F0B24}"/>
                  </a:ext>
                </a:extLst>
              </p:cNvPr>
              <p:cNvSpPr/>
              <p:nvPr/>
            </p:nvSpPr>
            <p:spPr bwMode="gray">
              <a:xfrm>
                <a:off x="8957592" y="7682375"/>
                <a:ext cx="169214" cy="87336"/>
              </a:xfrm>
              <a:custGeom>
                <a:avLst/>
                <a:gdLst>
                  <a:gd name="connsiteX0" fmla="*/ 158570 w 169213"/>
                  <a:gd name="connsiteY0" fmla="*/ 55950 h 87336"/>
                  <a:gd name="connsiteX1" fmla="*/ 101801 w 169213"/>
                  <a:gd name="connsiteY1" fmla="*/ 55950 h 87336"/>
                  <a:gd name="connsiteX2" fmla="*/ 66867 w 169213"/>
                  <a:gd name="connsiteY2" fmla="*/ 69596 h 87336"/>
                  <a:gd name="connsiteX3" fmla="*/ 66867 w 169213"/>
                  <a:gd name="connsiteY3" fmla="*/ 69596 h 87336"/>
                  <a:gd name="connsiteX4" fmla="*/ 32478 w 169213"/>
                  <a:gd name="connsiteY4" fmla="*/ 61954 h 87336"/>
                  <a:gd name="connsiteX5" fmla="*/ 12282 w 169213"/>
                  <a:gd name="connsiteY5" fmla="*/ 12282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9213" h="87336">
                    <a:moveTo>
                      <a:pt x="158570" y="55950"/>
                    </a:moveTo>
                    <a:lnTo>
                      <a:pt x="101801" y="55950"/>
                    </a:lnTo>
                    <a:cubicBezTo>
                      <a:pt x="88701" y="55950"/>
                      <a:pt x="76146" y="60862"/>
                      <a:pt x="66867" y="69596"/>
                    </a:cubicBezTo>
                    <a:lnTo>
                      <a:pt x="66867" y="69596"/>
                    </a:lnTo>
                    <a:cubicBezTo>
                      <a:pt x="55950" y="79967"/>
                      <a:pt x="37937" y="76146"/>
                      <a:pt x="32478" y="61954"/>
                    </a:cubicBezTo>
                    <a:lnTo>
                      <a:pt x="12282" y="12282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7" name="Freihandform: Form 159">
                <a:extLst>
                  <a:ext uri="{FF2B5EF4-FFF2-40B4-BE49-F238E27FC236}">
                    <a16:creationId xmlns:a16="http://schemas.microsoft.com/office/drawing/2014/main" id="{564B1CCB-583D-84D2-C1FF-45BB85D1DC13}"/>
                  </a:ext>
                </a:extLst>
              </p:cNvPr>
              <p:cNvSpPr/>
              <p:nvPr/>
            </p:nvSpPr>
            <p:spPr bwMode="gray">
              <a:xfrm>
                <a:off x="9103880" y="7726043"/>
                <a:ext cx="49127" cy="120087"/>
              </a:xfrm>
              <a:custGeom>
                <a:avLst/>
                <a:gdLst>
                  <a:gd name="connsiteX0" fmla="*/ 12282 w 49126"/>
                  <a:gd name="connsiteY0" fmla="*/ 12282 h 120087"/>
                  <a:gd name="connsiteX1" fmla="*/ 12282 w 49126"/>
                  <a:gd name="connsiteY1" fmla="*/ 12282 h 120087"/>
                  <a:gd name="connsiteX2" fmla="*/ 36845 w 49126"/>
                  <a:gd name="connsiteY2" fmla="*/ 41758 h 120087"/>
                  <a:gd name="connsiteX3" fmla="*/ 36845 w 49126"/>
                  <a:gd name="connsiteY3" fmla="*/ 109443 h 120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126" h="120087">
                    <a:moveTo>
                      <a:pt x="12282" y="12282"/>
                    </a:moveTo>
                    <a:lnTo>
                      <a:pt x="12282" y="12282"/>
                    </a:lnTo>
                    <a:cubicBezTo>
                      <a:pt x="28657" y="12282"/>
                      <a:pt x="36845" y="25382"/>
                      <a:pt x="36845" y="41758"/>
                    </a:cubicBezTo>
                    <a:lnTo>
                      <a:pt x="36845" y="109443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8" name="Freihandform: Form 160">
                <a:extLst>
                  <a:ext uri="{FF2B5EF4-FFF2-40B4-BE49-F238E27FC236}">
                    <a16:creationId xmlns:a16="http://schemas.microsoft.com/office/drawing/2014/main" id="{8EE81A2F-EED7-2CCE-648C-8670F3F7301B}"/>
                  </a:ext>
                </a:extLst>
              </p:cNvPr>
              <p:cNvSpPr/>
              <p:nvPr/>
            </p:nvSpPr>
            <p:spPr bwMode="gray">
              <a:xfrm>
                <a:off x="8797658" y="7900170"/>
                <a:ext cx="447597" cy="262008"/>
              </a:xfrm>
              <a:custGeom>
                <a:avLst/>
                <a:gdLst>
                  <a:gd name="connsiteX0" fmla="*/ 12282 w 447597"/>
                  <a:gd name="connsiteY0" fmla="*/ 189137 h 262008"/>
                  <a:gd name="connsiteX1" fmla="*/ 204967 w 447597"/>
                  <a:gd name="connsiteY1" fmla="*/ 12282 h 262008"/>
                  <a:gd name="connsiteX2" fmla="*/ 438045 w 447597"/>
                  <a:gd name="connsiteY2" fmla="*/ 253548 h 262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7597" h="262008">
                    <a:moveTo>
                      <a:pt x="12282" y="189137"/>
                    </a:moveTo>
                    <a:lnTo>
                      <a:pt x="204967" y="12282"/>
                    </a:lnTo>
                    <a:lnTo>
                      <a:pt x="438045" y="253548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9" name="Freihandform: Form 161">
                <a:extLst>
                  <a:ext uri="{FF2B5EF4-FFF2-40B4-BE49-F238E27FC236}">
                    <a16:creationId xmlns:a16="http://schemas.microsoft.com/office/drawing/2014/main" id="{D8A54E3A-8205-253A-EC04-BFB7218B9BA3}"/>
                  </a:ext>
                </a:extLst>
              </p:cNvPr>
              <p:cNvSpPr/>
              <p:nvPr/>
            </p:nvSpPr>
            <p:spPr bwMode="gray">
              <a:xfrm>
                <a:off x="9062396" y="7779537"/>
                <a:ext cx="447597" cy="251091"/>
              </a:xfrm>
              <a:custGeom>
                <a:avLst/>
                <a:gdLst>
                  <a:gd name="connsiteX0" fmla="*/ 12282 w 447597"/>
                  <a:gd name="connsiteY0" fmla="*/ 211517 h 251091"/>
                  <a:gd name="connsiteX1" fmla="*/ 222980 w 447597"/>
                  <a:gd name="connsiteY1" fmla="*/ 12282 h 251091"/>
                  <a:gd name="connsiteX2" fmla="*/ 438591 w 447597"/>
                  <a:gd name="connsiteY2" fmla="*/ 242085 h 251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7597" h="251091">
                    <a:moveTo>
                      <a:pt x="12282" y="211517"/>
                    </a:moveTo>
                    <a:lnTo>
                      <a:pt x="222980" y="12282"/>
                    </a:lnTo>
                    <a:lnTo>
                      <a:pt x="438591" y="24208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0" name="Freihandform: Form 162">
                <a:extLst>
                  <a:ext uri="{FF2B5EF4-FFF2-40B4-BE49-F238E27FC236}">
                    <a16:creationId xmlns:a16="http://schemas.microsoft.com/office/drawing/2014/main" id="{38A1A52F-A498-8E31-72B0-AA762EB7C947}"/>
                  </a:ext>
                </a:extLst>
              </p:cNvPr>
              <p:cNvSpPr/>
              <p:nvPr/>
            </p:nvSpPr>
            <p:spPr bwMode="gray">
              <a:xfrm>
                <a:off x="9223421" y="7924733"/>
                <a:ext cx="21834" cy="332969"/>
              </a:xfrm>
              <a:custGeom>
                <a:avLst/>
                <a:gdLst>
                  <a:gd name="connsiteX0" fmla="*/ 12282 w 21834"/>
                  <a:gd name="connsiteY0" fmla="*/ 12282 h 332968"/>
                  <a:gd name="connsiteX1" fmla="*/ 12282 w 21834"/>
                  <a:gd name="connsiteY1" fmla="*/ 325054 h 332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32968">
                    <a:moveTo>
                      <a:pt x="12282" y="12282"/>
                    </a:moveTo>
                    <a:lnTo>
                      <a:pt x="12282" y="325054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1" name="Freihandform: Form 163">
                <a:extLst>
                  <a:ext uri="{FF2B5EF4-FFF2-40B4-BE49-F238E27FC236}">
                    <a16:creationId xmlns:a16="http://schemas.microsoft.com/office/drawing/2014/main" id="{5BFBA4E4-2B5A-8435-51DD-AE5AC4B3A67C}"/>
                  </a:ext>
                </a:extLst>
              </p:cNvPr>
              <p:cNvSpPr/>
              <p:nvPr/>
            </p:nvSpPr>
            <p:spPr bwMode="gray">
              <a:xfrm>
                <a:off x="9308574" y="7924733"/>
                <a:ext cx="21834" cy="332969"/>
              </a:xfrm>
              <a:custGeom>
                <a:avLst/>
                <a:gdLst>
                  <a:gd name="connsiteX0" fmla="*/ 12282 w 21834"/>
                  <a:gd name="connsiteY0" fmla="*/ 12282 h 332968"/>
                  <a:gd name="connsiteX1" fmla="*/ 12282 w 21834"/>
                  <a:gd name="connsiteY1" fmla="*/ 325054 h 332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32968">
                    <a:moveTo>
                      <a:pt x="12282" y="12282"/>
                    </a:moveTo>
                    <a:lnTo>
                      <a:pt x="12282" y="325054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2" name="Freihandform: Form 164">
                <a:extLst>
                  <a:ext uri="{FF2B5EF4-FFF2-40B4-BE49-F238E27FC236}">
                    <a16:creationId xmlns:a16="http://schemas.microsoft.com/office/drawing/2014/main" id="{09880B39-BD16-8CE0-6528-8952C9EEBF3D}"/>
                  </a:ext>
                </a:extLst>
              </p:cNvPr>
              <p:cNvSpPr/>
              <p:nvPr/>
            </p:nvSpPr>
            <p:spPr bwMode="gray">
              <a:xfrm>
                <a:off x="9227788" y="7962943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3" name="Freihandform: Form 165">
                <a:extLst>
                  <a:ext uri="{FF2B5EF4-FFF2-40B4-BE49-F238E27FC236}">
                    <a16:creationId xmlns:a16="http://schemas.microsoft.com/office/drawing/2014/main" id="{295AC6F2-68CB-62E9-F456-E8FD8EA4249D}"/>
                  </a:ext>
                </a:extLst>
              </p:cNvPr>
              <p:cNvSpPr/>
              <p:nvPr/>
            </p:nvSpPr>
            <p:spPr bwMode="gray">
              <a:xfrm>
                <a:off x="9227788" y="8021894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4" name="Freihandform: Form 166">
                <a:extLst>
                  <a:ext uri="{FF2B5EF4-FFF2-40B4-BE49-F238E27FC236}">
                    <a16:creationId xmlns:a16="http://schemas.microsoft.com/office/drawing/2014/main" id="{45B0FAB3-68B4-8E26-9797-562ED89CFAD3}"/>
                  </a:ext>
                </a:extLst>
              </p:cNvPr>
              <p:cNvSpPr/>
              <p:nvPr/>
            </p:nvSpPr>
            <p:spPr bwMode="gray">
              <a:xfrm>
                <a:off x="9227788" y="8080846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5" name="Freihandform: Form 167">
                <a:extLst>
                  <a:ext uri="{FF2B5EF4-FFF2-40B4-BE49-F238E27FC236}">
                    <a16:creationId xmlns:a16="http://schemas.microsoft.com/office/drawing/2014/main" id="{A608F61F-A41E-5644-A6F4-E2782D0E93A4}"/>
                  </a:ext>
                </a:extLst>
              </p:cNvPr>
              <p:cNvSpPr/>
              <p:nvPr/>
            </p:nvSpPr>
            <p:spPr bwMode="gray">
              <a:xfrm>
                <a:off x="9227788" y="8140344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6" name="Freihandform: Form 168">
                <a:extLst>
                  <a:ext uri="{FF2B5EF4-FFF2-40B4-BE49-F238E27FC236}">
                    <a16:creationId xmlns:a16="http://schemas.microsoft.com/office/drawing/2014/main" id="{CCB4D8FA-2EC8-BC00-65D1-503D353BD989}"/>
                  </a:ext>
                </a:extLst>
              </p:cNvPr>
              <p:cNvSpPr/>
              <p:nvPr/>
            </p:nvSpPr>
            <p:spPr bwMode="gray">
              <a:xfrm>
                <a:off x="9227788" y="8199296"/>
                <a:ext cx="109170" cy="21834"/>
              </a:xfrm>
              <a:custGeom>
                <a:avLst/>
                <a:gdLst>
                  <a:gd name="connsiteX0" fmla="*/ 12282 w 109170"/>
                  <a:gd name="connsiteY0" fmla="*/ 12282 h 21834"/>
                  <a:gd name="connsiteX1" fmla="*/ 97980 w 109170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170" h="21834">
                    <a:moveTo>
                      <a:pt x="12282" y="12282"/>
                    </a:moveTo>
                    <a:lnTo>
                      <a:pt x="97980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7" name="Freihandform: Form 169">
                <a:extLst>
                  <a:ext uri="{FF2B5EF4-FFF2-40B4-BE49-F238E27FC236}">
                    <a16:creationId xmlns:a16="http://schemas.microsoft.com/office/drawing/2014/main" id="{36FF92CC-1531-DA0A-4DD3-C1C0227A921A}"/>
                  </a:ext>
                </a:extLst>
              </p:cNvPr>
              <p:cNvSpPr/>
              <p:nvPr/>
            </p:nvSpPr>
            <p:spPr bwMode="gray">
              <a:xfrm>
                <a:off x="9273094" y="7629428"/>
                <a:ext cx="98253" cy="87336"/>
              </a:xfrm>
              <a:custGeom>
                <a:avLst/>
                <a:gdLst>
                  <a:gd name="connsiteX0" fmla="*/ 12282 w 98253"/>
                  <a:gd name="connsiteY0" fmla="*/ 12282 h 87336"/>
                  <a:gd name="connsiteX1" fmla="*/ 89246 w 98253"/>
                  <a:gd name="connsiteY1" fmla="*/ 12282 h 87336"/>
                  <a:gd name="connsiteX2" fmla="*/ 89246 w 98253"/>
                  <a:gd name="connsiteY2" fmla="*/ 79967 h 87336"/>
                  <a:gd name="connsiteX3" fmla="*/ 12282 w 98253"/>
                  <a:gd name="connsiteY3" fmla="*/ 79967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53" h="87336">
                    <a:moveTo>
                      <a:pt x="12282" y="12282"/>
                    </a:moveTo>
                    <a:lnTo>
                      <a:pt x="89246" y="12282"/>
                    </a:lnTo>
                    <a:lnTo>
                      <a:pt x="89246" y="79967"/>
                    </a:lnTo>
                    <a:lnTo>
                      <a:pt x="12282" y="7996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8" name="Freihandform: Form 170">
                <a:extLst>
                  <a:ext uri="{FF2B5EF4-FFF2-40B4-BE49-F238E27FC236}">
                    <a16:creationId xmlns:a16="http://schemas.microsoft.com/office/drawing/2014/main" id="{301B466A-9F17-AC7E-8F7A-0DD6657DB3BD}"/>
                  </a:ext>
                </a:extLst>
              </p:cNvPr>
              <p:cNvSpPr/>
              <p:nvPr/>
            </p:nvSpPr>
            <p:spPr bwMode="gray">
              <a:xfrm>
                <a:off x="9350059" y="7663271"/>
                <a:ext cx="98253" cy="87336"/>
              </a:xfrm>
              <a:custGeom>
                <a:avLst/>
                <a:gdLst>
                  <a:gd name="connsiteX0" fmla="*/ 12282 w 98253"/>
                  <a:gd name="connsiteY0" fmla="*/ 12282 h 87336"/>
                  <a:gd name="connsiteX1" fmla="*/ 89247 w 98253"/>
                  <a:gd name="connsiteY1" fmla="*/ 12282 h 87336"/>
                  <a:gd name="connsiteX2" fmla="*/ 89247 w 98253"/>
                  <a:gd name="connsiteY2" fmla="*/ 79967 h 87336"/>
                  <a:gd name="connsiteX3" fmla="*/ 12282 w 98253"/>
                  <a:gd name="connsiteY3" fmla="*/ 79967 h 87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53" h="87336">
                    <a:moveTo>
                      <a:pt x="12282" y="12282"/>
                    </a:moveTo>
                    <a:lnTo>
                      <a:pt x="89247" y="12282"/>
                    </a:lnTo>
                    <a:lnTo>
                      <a:pt x="89247" y="79967"/>
                    </a:lnTo>
                    <a:lnTo>
                      <a:pt x="12282" y="79967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79" name="Freihandform: Form 171">
                <a:extLst>
                  <a:ext uri="{FF2B5EF4-FFF2-40B4-BE49-F238E27FC236}">
                    <a16:creationId xmlns:a16="http://schemas.microsoft.com/office/drawing/2014/main" id="{DE6E8ED5-4098-B867-A25C-5884D17FB746}"/>
                  </a:ext>
                </a:extLst>
              </p:cNvPr>
              <p:cNvSpPr/>
              <p:nvPr/>
            </p:nvSpPr>
            <p:spPr bwMode="gray">
              <a:xfrm>
                <a:off x="9273094" y="7629428"/>
                <a:ext cx="21834" cy="174672"/>
              </a:xfrm>
              <a:custGeom>
                <a:avLst/>
                <a:gdLst>
                  <a:gd name="connsiteX0" fmla="*/ 12282 w 21834"/>
                  <a:gd name="connsiteY0" fmla="*/ 162390 h 174672"/>
                  <a:gd name="connsiteX1" fmla="*/ 12282 w 21834"/>
                  <a:gd name="connsiteY1" fmla="*/ 12282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174672">
                    <a:moveTo>
                      <a:pt x="12282" y="162390"/>
                    </a:moveTo>
                    <a:lnTo>
                      <a:pt x="12282" y="12282"/>
                    </a:lnTo>
                  </a:path>
                </a:pathLst>
              </a:custGeom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6" name="Gruppieren 174">
              <a:extLst>
                <a:ext uri="{FF2B5EF4-FFF2-40B4-BE49-F238E27FC236}">
                  <a16:creationId xmlns:a16="http://schemas.microsoft.com/office/drawing/2014/main" id="{286DA8C0-E6E1-8BFC-B825-E353CDB1D4B3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1006530" y="4761255"/>
              <a:ext cx="474967" cy="430310"/>
              <a:chOff x="8663730" y="8525169"/>
              <a:chExt cx="716156" cy="648821"/>
            </a:xfrm>
          </p:grpSpPr>
          <p:sp>
            <p:nvSpPr>
              <p:cNvPr id="48" name="Freihandform: Form 175">
                <a:extLst>
                  <a:ext uri="{FF2B5EF4-FFF2-40B4-BE49-F238E27FC236}">
                    <a16:creationId xmlns:a16="http://schemas.microsoft.com/office/drawing/2014/main" id="{2C1F0C23-2E13-2A0C-287B-3C4F0EDB1C90}"/>
                  </a:ext>
                </a:extLst>
              </p:cNvPr>
              <p:cNvSpPr/>
              <p:nvPr/>
            </p:nvSpPr>
            <p:spPr bwMode="gray">
              <a:xfrm>
                <a:off x="8855869" y="8911268"/>
                <a:ext cx="360261" cy="114629"/>
              </a:xfrm>
              <a:custGeom>
                <a:avLst/>
                <a:gdLst>
                  <a:gd name="connsiteX0" fmla="*/ 205708 w 360261"/>
                  <a:gd name="connsiteY0" fmla="*/ 107623 h 114628"/>
                  <a:gd name="connsiteX1" fmla="*/ 239005 w 360261"/>
                  <a:gd name="connsiteY1" fmla="*/ 107623 h 114628"/>
                  <a:gd name="connsiteX2" fmla="*/ 327978 w 360261"/>
                  <a:gd name="connsiteY2" fmla="*/ 80331 h 114628"/>
                  <a:gd name="connsiteX3" fmla="*/ 352541 w 360261"/>
                  <a:gd name="connsiteY3" fmla="*/ 63955 h 114628"/>
                  <a:gd name="connsiteX4" fmla="*/ 355271 w 360261"/>
                  <a:gd name="connsiteY4" fmla="*/ 51946 h 114628"/>
                  <a:gd name="connsiteX5" fmla="*/ 341078 w 360261"/>
                  <a:gd name="connsiteY5" fmla="*/ 38846 h 114628"/>
                  <a:gd name="connsiteX6" fmla="*/ 302323 w 360261"/>
                  <a:gd name="connsiteY6" fmla="*/ 38300 h 114628"/>
                  <a:gd name="connsiteX7" fmla="*/ 217171 w 360261"/>
                  <a:gd name="connsiteY7" fmla="*/ 41576 h 114628"/>
                  <a:gd name="connsiteX8" fmla="*/ 175140 w 360261"/>
                  <a:gd name="connsiteY8" fmla="*/ 19741 h 114628"/>
                  <a:gd name="connsiteX9" fmla="*/ 7018 w 360261"/>
                  <a:gd name="connsiteY9" fmla="*/ 40483 h 114628"/>
                  <a:gd name="connsiteX10" fmla="*/ 7018 w 360261"/>
                  <a:gd name="connsiteY10" fmla="*/ 40483 h 11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0261" h="114628">
                    <a:moveTo>
                      <a:pt x="205708" y="107623"/>
                    </a:moveTo>
                    <a:lnTo>
                      <a:pt x="239005" y="107623"/>
                    </a:lnTo>
                    <a:cubicBezTo>
                      <a:pt x="270664" y="107623"/>
                      <a:pt x="301777" y="98343"/>
                      <a:pt x="327978" y="80331"/>
                    </a:cubicBezTo>
                    <a:lnTo>
                      <a:pt x="352541" y="63955"/>
                    </a:lnTo>
                    <a:cubicBezTo>
                      <a:pt x="356362" y="61226"/>
                      <a:pt x="358000" y="55768"/>
                      <a:pt x="355271" y="51946"/>
                    </a:cubicBezTo>
                    <a:cubicBezTo>
                      <a:pt x="351450" y="45942"/>
                      <a:pt x="346537" y="42121"/>
                      <a:pt x="341078" y="38846"/>
                    </a:cubicBezTo>
                    <a:cubicBezTo>
                      <a:pt x="329070" y="31750"/>
                      <a:pt x="314332" y="32296"/>
                      <a:pt x="302323" y="38300"/>
                    </a:cubicBezTo>
                    <a:cubicBezTo>
                      <a:pt x="257018" y="60134"/>
                      <a:pt x="217171" y="41576"/>
                      <a:pt x="217171" y="41576"/>
                    </a:cubicBezTo>
                    <a:cubicBezTo>
                      <a:pt x="202433" y="32296"/>
                      <a:pt x="188786" y="25200"/>
                      <a:pt x="175140" y="19741"/>
                    </a:cubicBezTo>
                    <a:cubicBezTo>
                      <a:pt x="119463" y="-3185"/>
                      <a:pt x="55599" y="5549"/>
                      <a:pt x="7018" y="40483"/>
                    </a:cubicBezTo>
                    <a:lnTo>
                      <a:pt x="7018" y="40483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9" name="Freihandform: Form 176">
                <a:extLst>
                  <a:ext uri="{FF2B5EF4-FFF2-40B4-BE49-F238E27FC236}">
                    <a16:creationId xmlns:a16="http://schemas.microsoft.com/office/drawing/2014/main" id="{2FCA1D6E-F1A4-7384-7056-3913E5F75F2E}"/>
                  </a:ext>
                </a:extLst>
              </p:cNvPr>
              <p:cNvSpPr/>
              <p:nvPr/>
            </p:nvSpPr>
            <p:spPr bwMode="gray">
              <a:xfrm>
                <a:off x="8855869" y="8898661"/>
                <a:ext cx="524017" cy="174672"/>
              </a:xfrm>
              <a:custGeom>
                <a:avLst/>
                <a:gdLst>
                  <a:gd name="connsiteX0" fmla="*/ 7018 w 524016"/>
                  <a:gd name="connsiteY0" fmla="*/ 169902 h 174672"/>
                  <a:gd name="connsiteX1" fmla="*/ 213895 w 524016"/>
                  <a:gd name="connsiteY1" fmla="*/ 162806 h 174672"/>
                  <a:gd name="connsiteX2" fmla="*/ 313786 w 524016"/>
                  <a:gd name="connsiteY2" fmla="*/ 140972 h 174672"/>
                  <a:gd name="connsiteX3" fmla="*/ 514113 w 524016"/>
                  <a:gd name="connsiteY3" fmla="*/ 35077 h 174672"/>
                  <a:gd name="connsiteX4" fmla="*/ 516842 w 524016"/>
                  <a:gd name="connsiteY4" fmla="*/ 23068 h 174672"/>
                  <a:gd name="connsiteX5" fmla="*/ 460620 w 524016"/>
                  <a:gd name="connsiteY5" fmla="*/ 9967 h 174672"/>
                  <a:gd name="connsiteX6" fmla="*/ 449703 w 524016"/>
                  <a:gd name="connsiteY6" fmla="*/ 13789 h 174672"/>
                  <a:gd name="connsiteX7" fmla="*/ 348720 w 524016"/>
                  <a:gd name="connsiteY7" fmla="*/ 56911 h 17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4016" h="174672">
                    <a:moveTo>
                      <a:pt x="7018" y="169902"/>
                    </a:moveTo>
                    <a:cubicBezTo>
                      <a:pt x="7018" y="169902"/>
                      <a:pt x="82345" y="155164"/>
                      <a:pt x="213895" y="162806"/>
                    </a:cubicBezTo>
                    <a:cubicBezTo>
                      <a:pt x="248830" y="164989"/>
                      <a:pt x="283218" y="156801"/>
                      <a:pt x="313786" y="140972"/>
                    </a:cubicBezTo>
                    <a:lnTo>
                      <a:pt x="514113" y="35077"/>
                    </a:lnTo>
                    <a:cubicBezTo>
                      <a:pt x="518480" y="32894"/>
                      <a:pt x="519572" y="26889"/>
                      <a:pt x="516842" y="23068"/>
                    </a:cubicBezTo>
                    <a:cubicBezTo>
                      <a:pt x="509746" y="13789"/>
                      <a:pt x="493371" y="1234"/>
                      <a:pt x="460620" y="9967"/>
                    </a:cubicBezTo>
                    <a:cubicBezTo>
                      <a:pt x="456799" y="11059"/>
                      <a:pt x="453524" y="12151"/>
                      <a:pt x="449703" y="13789"/>
                    </a:cubicBezTo>
                    <a:lnTo>
                      <a:pt x="348720" y="56911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0" name="Freihandform: Form 177">
                <a:extLst>
                  <a:ext uri="{FF2B5EF4-FFF2-40B4-BE49-F238E27FC236}">
                    <a16:creationId xmlns:a16="http://schemas.microsoft.com/office/drawing/2014/main" id="{53B74D0C-FE90-397B-49C4-A1B6B67483AC}"/>
                  </a:ext>
                </a:extLst>
              </p:cNvPr>
              <p:cNvSpPr/>
              <p:nvPr/>
            </p:nvSpPr>
            <p:spPr bwMode="gray">
              <a:xfrm>
                <a:off x="8779996" y="8918533"/>
                <a:ext cx="87336" cy="201965"/>
              </a:xfrm>
              <a:custGeom>
                <a:avLst/>
                <a:gdLst>
                  <a:gd name="connsiteX0" fmla="*/ 7018 w 87336"/>
                  <a:gd name="connsiteY0" fmla="*/ 198066 h 201964"/>
                  <a:gd name="connsiteX1" fmla="*/ 80708 w 87336"/>
                  <a:gd name="connsiteY1" fmla="*/ 198066 h 201964"/>
                  <a:gd name="connsiteX2" fmla="*/ 80708 w 87336"/>
                  <a:gd name="connsiteY2" fmla="*/ 7018 h 201964"/>
                  <a:gd name="connsiteX3" fmla="*/ 7018 w 87336"/>
                  <a:gd name="connsiteY3" fmla="*/ 7018 h 201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7336" h="201964">
                    <a:moveTo>
                      <a:pt x="7018" y="198066"/>
                    </a:moveTo>
                    <a:lnTo>
                      <a:pt x="80708" y="198066"/>
                    </a:lnTo>
                    <a:lnTo>
                      <a:pt x="80708" y="7018"/>
                    </a:lnTo>
                    <a:lnTo>
                      <a:pt x="7018" y="7018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1" name="Freihandform: Form 178">
                <a:extLst>
                  <a:ext uri="{FF2B5EF4-FFF2-40B4-BE49-F238E27FC236}">
                    <a16:creationId xmlns:a16="http://schemas.microsoft.com/office/drawing/2014/main" id="{16C34792-1994-48E2-F244-70B3A0605D5E}"/>
                  </a:ext>
                </a:extLst>
              </p:cNvPr>
              <p:cNvSpPr/>
              <p:nvPr/>
            </p:nvSpPr>
            <p:spPr bwMode="gray">
              <a:xfrm>
                <a:off x="8663730" y="8862855"/>
                <a:ext cx="125546" cy="311135"/>
              </a:xfrm>
              <a:custGeom>
                <a:avLst/>
                <a:gdLst>
                  <a:gd name="connsiteX0" fmla="*/ 7018 w 125545"/>
                  <a:gd name="connsiteY0" fmla="*/ 304507 h 311134"/>
                  <a:gd name="connsiteX1" fmla="*/ 123284 w 125545"/>
                  <a:gd name="connsiteY1" fmla="*/ 304507 h 311134"/>
                  <a:gd name="connsiteX2" fmla="*/ 123284 w 125545"/>
                  <a:gd name="connsiteY2" fmla="*/ 7018 h 311134"/>
                  <a:gd name="connsiteX3" fmla="*/ 7018 w 125545"/>
                  <a:gd name="connsiteY3" fmla="*/ 7018 h 311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5545" h="311134">
                    <a:moveTo>
                      <a:pt x="7018" y="304507"/>
                    </a:moveTo>
                    <a:lnTo>
                      <a:pt x="123284" y="304507"/>
                    </a:lnTo>
                    <a:lnTo>
                      <a:pt x="123284" y="7018"/>
                    </a:lnTo>
                    <a:lnTo>
                      <a:pt x="7018" y="7018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2" name="Freihandform: Form 179">
                <a:extLst>
                  <a:ext uri="{FF2B5EF4-FFF2-40B4-BE49-F238E27FC236}">
                    <a16:creationId xmlns:a16="http://schemas.microsoft.com/office/drawing/2014/main" id="{1FBA7514-9694-B559-D0BA-352095D8E010}"/>
                  </a:ext>
                </a:extLst>
              </p:cNvPr>
              <p:cNvSpPr/>
              <p:nvPr/>
            </p:nvSpPr>
            <p:spPr bwMode="gray">
              <a:xfrm>
                <a:off x="9052024" y="8745147"/>
                <a:ext cx="87336" cy="147380"/>
              </a:xfrm>
              <a:custGeom>
                <a:avLst/>
                <a:gdLst>
                  <a:gd name="connsiteX0" fmla="*/ 12282 w 87336"/>
                  <a:gd name="connsiteY0" fmla="*/ 107260 h 147379"/>
                  <a:gd name="connsiteX1" fmla="*/ 43941 w 87336"/>
                  <a:gd name="connsiteY1" fmla="*/ 138919 h 147379"/>
                  <a:gd name="connsiteX2" fmla="*/ 75601 w 87336"/>
                  <a:gd name="connsiteY2" fmla="*/ 107260 h 147379"/>
                  <a:gd name="connsiteX3" fmla="*/ 43941 w 87336"/>
                  <a:gd name="connsiteY3" fmla="*/ 75600 h 147379"/>
                  <a:gd name="connsiteX4" fmla="*/ 12282 w 87336"/>
                  <a:gd name="connsiteY4" fmla="*/ 43941 h 147379"/>
                  <a:gd name="connsiteX5" fmla="*/ 43941 w 87336"/>
                  <a:gd name="connsiteY5" fmla="*/ 12282 h 147379"/>
                  <a:gd name="connsiteX6" fmla="*/ 75601 w 87336"/>
                  <a:gd name="connsiteY6" fmla="*/ 43941 h 14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7336" h="147379">
                    <a:moveTo>
                      <a:pt x="12282" y="107260"/>
                    </a:moveTo>
                    <a:cubicBezTo>
                      <a:pt x="12282" y="124727"/>
                      <a:pt x="26474" y="138919"/>
                      <a:pt x="43941" y="138919"/>
                    </a:cubicBezTo>
                    <a:cubicBezTo>
                      <a:pt x="61408" y="138919"/>
                      <a:pt x="75601" y="124727"/>
                      <a:pt x="75601" y="107260"/>
                    </a:cubicBezTo>
                    <a:cubicBezTo>
                      <a:pt x="75601" y="89792"/>
                      <a:pt x="62500" y="81604"/>
                      <a:pt x="43941" y="75600"/>
                    </a:cubicBezTo>
                    <a:cubicBezTo>
                      <a:pt x="27565" y="70142"/>
                      <a:pt x="12282" y="61408"/>
                      <a:pt x="12282" y="43941"/>
                    </a:cubicBezTo>
                    <a:cubicBezTo>
                      <a:pt x="12282" y="26474"/>
                      <a:pt x="26474" y="12282"/>
                      <a:pt x="43941" y="12282"/>
                    </a:cubicBezTo>
                    <a:cubicBezTo>
                      <a:pt x="61408" y="12282"/>
                      <a:pt x="75601" y="26474"/>
                      <a:pt x="75601" y="4394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3" name="Freihandform: Form 180">
                <a:extLst>
                  <a:ext uri="{FF2B5EF4-FFF2-40B4-BE49-F238E27FC236}">
                    <a16:creationId xmlns:a16="http://schemas.microsoft.com/office/drawing/2014/main" id="{5378908A-3CD7-C218-E24B-66C8DAE0DD3F}"/>
                  </a:ext>
                </a:extLst>
              </p:cNvPr>
              <p:cNvSpPr/>
              <p:nvPr/>
            </p:nvSpPr>
            <p:spPr bwMode="gray">
              <a:xfrm>
                <a:off x="9083684" y="8727134"/>
                <a:ext cx="21834" cy="38210"/>
              </a:xfrm>
              <a:custGeom>
                <a:avLst/>
                <a:gdLst>
                  <a:gd name="connsiteX0" fmla="*/ 12282 w 21834"/>
                  <a:gd name="connsiteY0" fmla="*/ 12281 h 38209"/>
                  <a:gd name="connsiteX1" fmla="*/ 12282 w 21834"/>
                  <a:gd name="connsiteY1" fmla="*/ 30295 h 3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8209">
                    <a:moveTo>
                      <a:pt x="12282" y="12281"/>
                    </a:moveTo>
                    <a:lnTo>
                      <a:pt x="12282" y="3029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4" name="Freihandform: Form 181">
                <a:extLst>
                  <a:ext uri="{FF2B5EF4-FFF2-40B4-BE49-F238E27FC236}">
                    <a16:creationId xmlns:a16="http://schemas.microsoft.com/office/drawing/2014/main" id="{13B0C4FF-803B-28E0-E847-1C9AA02F20F8}"/>
                  </a:ext>
                </a:extLst>
              </p:cNvPr>
              <p:cNvSpPr/>
              <p:nvPr/>
            </p:nvSpPr>
            <p:spPr bwMode="gray">
              <a:xfrm>
                <a:off x="9083684" y="8871784"/>
                <a:ext cx="21834" cy="38210"/>
              </a:xfrm>
              <a:custGeom>
                <a:avLst/>
                <a:gdLst>
                  <a:gd name="connsiteX0" fmla="*/ 12282 w 21834"/>
                  <a:gd name="connsiteY0" fmla="*/ 12281 h 38209"/>
                  <a:gd name="connsiteX1" fmla="*/ 12282 w 21834"/>
                  <a:gd name="connsiteY1" fmla="*/ 29749 h 3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4" h="38209">
                    <a:moveTo>
                      <a:pt x="12282" y="12281"/>
                    </a:moveTo>
                    <a:lnTo>
                      <a:pt x="12282" y="29749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5" name="Freihandform: Form 182">
                <a:extLst>
                  <a:ext uri="{FF2B5EF4-FFF2-40B4-BE49-F238E27FC236}">
                    <a16:creationId xmlns:a16="http://schemas.microsoft.com/office/drawing/2014/main" id="{3D0AC06F-7936-238E-CC89-14ECA6136DA1}"/>
                  </a:ext>
                </a:extLst>
              </p:cNvPr>
              <p:cNvSpPr/>
              <p:nvPr/>
            </p:nvSpPr>
            <p:spPr bwMode="gray">
              <a:xfrm>
                <a:off x="9198858" y="8709121"/>
                <a:ext cx="103712" cy="229257"/>
              </a:xfrm>
              <a:custGeom>
                <a:avLst/>
                <a:gdLst>
                  <a:gd name="connsiteX0" fmla="*/ 64137 w 103711"/>
                  <a:gd name="connsiteY0" fmla="*/ 221888 h 229257"/>
                  <a:gd name="connsiteX1" fmla="*/ 85425 w 103711"/>
                  <a:gd name="connsiteY1" fmla="*/ 94705 h 229257"/>
                  <a:gd name="connsiteX2" fmla="*/ 12282 w 103711"/>
                  <a:gd name="connsiteY2" fmla="*/ 12282 h 229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3711" h="229257">
                    <a:moveTo>
                      <a:pt x="64137" y="221888"/>
                    </a:moveTo>
                    <a:cubicBezTo>
                      <a:pt x="87609" y="193504"/>
                      <a:pt x="108351" y="140011"/>
                      <a:pt x="85425" y="94705"/>
                    </a:cubicBezTo>
                    <a:cubicBezTo>
                      <a:pt x="70688" y="65775"/>
                      <a:pt x="47216" y="36845"/>
                      <a:pt x="12282" y="1228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6" name="Freihandform: Form 183">
                <a:extLst>
                  <a:ext uri="{FF2B5EF4-FFF2-40B4-BE49-F238E27FC236}">
                    <a16:creationId xmlns:a16="http://schemas.microsoft.com/office/drawing/2014/main" id="{4FBFF65C-FB3C-EC76-F17C-E16B054A1B36}"/>
                  </a:ext>
                </a:extLst>
              </p:cNvPr>
              <p:cNvSpPr/>
              <p:nvPr/>
            </p:nvSpPr>
            <p:spPr bwMode="gray">
              <a:xfrm>
                <a:off x="8883582" y="8708575"/>
                <a:ext cx="109170" cy="223799"/>
              </a:xfrm>
              <a:custGeom>
                <a:avLst/>
                <a:gdLst>
                  <a:gd name="connsiteX0" fmla="*/ 97209 w 109170"/>
                  <a:gd name="connsiteY0" fmla="*/ 12282 h 223798"/>
                  <a:gd name="connsiteX1" fmla="*/ 24065 w 109170"/>
                  <a:gd name="connsiteY1" fmla="*/ 94705 h 223798"/>
                  <a:gd name="connsiteX2" fmla="*/ 39895 w 109170"/>
                  <a:gd name="connsiteY2" fmla="*/ 214792 h 223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170" h="223798">
                    <a:moveTo>
                      <a:pt x="97209" y="12282"/>
                    </a:moveTo>
                    <a:cubicBezTo>
                      <a:pt x="61729" y="36845"/>
                      <a:pt x="38803" y="65775"/>
                      <a:pt x="24065" y="94705"/>
                    </a:cubicBezTo>
                    <a:cubicBezTo>
                      <a:pt x="2231" y="136735"/>
                      <a:pt x="12602" y="187500"/>
                      <a:pt x="39895" y="214792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7" name="Freihandform: Form 184">
                <a:extLst>
                  <a:ext uri="{FF2B5EF4-FFF2-40B4-BE49-F238E27FC236}">
                    <a16:creationId xmlns:a16="http://schemas.microsoft.com/office/drawing/2014/main" id="{8C6E00CB-1ED1-241B-EACC-B33DE9B81184}"/>
                  </a:ext>
                </a:extLst>
              </p:cNvPr>
              <p:cNvSpPr/>
              <p:nvPr/>
            </p:nvSpPr>
            <p:spPr bwMode="gray">
              <a:xfrm>
                <a:off x="8920474" y="8619055"/>
                <a:ext cx="349344" cy="114629"/>
              </a:xfrm>
              <a:custGeom>
                <a:avLst/>
                <a:gdLst>
                  <a:gd name="connsiteX0" fmla="*/ 12282 w 349344"/>
                  <a:gd name="connsiteY0" fmla="*/ 107260 h 114628"/>
                  <a:gd name="connsiteX1" fmla="*/ 12282 w 349344"/>
                  <a:gd name="connsiteY1" fmla="*/ 68504 h 114628"/>
                  <a:gd name="connsiteX2" fmla="*/ 68504 w 349344"/>
                  <a:gd name="connsiteY2" fmla="*/ 12282 h 114628"/>
                  <a:gd name="connsiteX3" fmla="*/ 281932 w 349344"/>
                  <a:gd name="connsiteY3" fmla="*/ 12282 h 114628"/>
                  <a:gd name="connsiteX4" fmla="*/ 338155 w 349344"/>
                  <a:gd name="connsiteY4" fmla="*/ 68504 h 114628"/>
                  <a:gd name="connsiteX5" fmla="*/ 338155 w 349344"/>
                  <a:gd name="connsiteY5" fmla="*/ 107260 h 11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9344" h="114628">
                    <a:moveTo>
                      <a:pt x="12282" y="107260"/>
                    </a:moveTo>
                    <a:lnTo>
                      <a:pt x="12282" y="68504"/>
                    </a:lnTo>
                    <a:cubicBezTo>
                      <a:pt x="12282" y="37391"/>
                      <a:pt x="37391" y="12282"/>
                      <a:pt x="68504" y="12282"/>
                    </a:cubicBezTo>
                    <a:lnTo>
                      <a:pt x="281932" y="12282"/>
                    </a:lnTo>
                    <a:cubicBezTo>
                      <a:pt x="313045" y="12282"/>
                      <a:pt x="338155" y="37391"/>
                      <a:pt x="338155" y="68504"/>
                    </a:cubicBezTo>
                    <a:lnTo>
                      <a:pt x="338155" y="107260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8" name="Freihandform: Form 185">
                <a:extLst>
                  <a:ext uri="{FF2B5EF4-FFF2-40B4-BE49-F238E27FC236}">
                    <a16:creationId xmlns:a16="http://schemas.microsoft.com/office/drawing/2014/main" id="{C0FD4CFA-44AF-109A-F6A6-B5DD4EC6FB80}"/>
                  </a:ext>
                </a:extLst>
              </p:cNvPr>
              <p:cNvSpPr/>
              <p:nvPr/>
            </p:nvSpPr>
            <p:spPr bwMode="gray">
              <a:xfrm>
                <a:off x="9030736" y="8525169"/>
                <a:ext cx="81878" cy="81878"/>
              </a:xfrm>
              <a:custGeom>
                <a:avLst/>
                <a:gdLst>
                  <a:gd name="connsiteX0" fmla="*/ 71234 w 81877"/>
                  <a:gd name="connsiteY0" fmla="*/ 41757 h 81877"/>
                  <a:gd name="connsiteX1" fmla="*/ 41758 w 81877"/>
                  <a:gd name="connsiteY1" fmla="*/ 71234 h 81877"/>
                  <a:gd name="connsiteX2" fmla="*/ 12281 w 81877"/>
                  <a:gd name="connsiteY2" fmla="*/ 41757 h 81877"/>
                  <a:gd name="connsiteX3" fmla="*/ 41758 w 81877"/>
                  <a:gd name="connsiteY3" fmla="*/ 12281 h 81877"/>
                  <a:gd name="connsiteX4" fmla="*/ 71234 w 81877"/>
                  <a:gd name="connsiteY4" fmla="*/ 41757 h 81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877" h="81877">
                    <a:moveTo>
                      <a:pt x="71234" y="41757"/>
                    </a:moveTo>
                    <a:cubicBezTo>
                      <a:pt x="71234" y="58036"/>
                      <a:pt x="58037" y="71234"/>
                      <a:pt x="41758" y="71234"/>
                    </a:cubicBezTo>
                    <a:cubicBezTo>
                      <a:pt x="25478" y="71234"/>
                      <a:pt x="12281" y="58037"/>
                      <a:pt x="12281" y="41757"/>
                    </a:cubicBezTo>
                    <a:cubicBezTo>
                      <a:pt x="12281" y="25479"/>
                      <a:pt x="25478" y="12281"/>
                      <a:pt x="41758" y="12281"/>
                    </a:cubicBezTo>
                    <a:cubicBezTo>
                      <a:pt x="58037" y="12281"/>
                      <a:pt x="71234" y="25478"/>
                      <a:pt x="71234" y="41757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59" name="Freihandform: Form 186">
                <a:extLst>
                  <a:ext uri="{FF2B5EF4-FFF2-40B4-BE49-F238E27FC236}">
                    <a16:creationId xmlns:a16="http://schemas.microsoft.com/office/drawing/2014/main" id="{131B7C5F-B3F2-6AC7-752E-5D9FFF694C9F}"/>
                  </a:ext>
                </a:extLst>
              </p:cNvPr>
              <p:cNvSpPr/>
              <p:nvPr/>
            </p:nvSpPr>
            <p:spPr bwMode="gray">
              <a:xfrm>
                <a:off x="9107155" y="8525169"/>
                <a:ext cx="49127" cy="81878"/>
              </a:xfrm>
              <a:custGeom>
                <a:avLst/>
                <a:gdLst>
                  <a:gd name="connsiteX0" fmla="*/ 12282 w 49126"/>
                  <a:gd name="connsiteY0" fmla="*/ 12282 h 81877"/>
                  <a:gd name="connsiteX1" fmla="*/ 41757 w 49126"/>
                  <a:gd name="connsiteY1" fmla="*/ 41758 h 81877"/>
                  <a:gd name="connsiteX2" fmla="*/ 12282 w 49126"/>
                  <a:gd name="connsiteY2" fmla="*/ 71234 h 81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126" h="81877">
                    <a:moveTo>
                      <a:pt x="12282" y="12282"/>
                    </a:moveTo>
                    <a:cubicBezTo>
                      <a:pt x="28657" y="12282"/>
                      <a:pt x="41757" y="25382"/>
                      <a:pt x="41757" y="41758"/>
                    </a:cubicBezTo>
                    <a:cubicBezTo>
                      <a:pt x="41757" y="58133"/>
                      <a:pt x="28657" y="71234"/>
                      <a:pt x="12282" y="71234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60" name="Freihandform: Form 187">
                <a:extLst>
                  <a:ext uri="{FF2B5EF4-FFF2-40B4-BE49-F238E27FC236}">
                    <a16:creationId xmlns:a16="http://schemas.microsoft.com/office/drawing/2014/main" id="{27B08D01-A4E2-B7EE-C6BD-32BB2313D96A}"/>
                  </a:ext>
                </a:extLst>
              </p:cNvPr>
              <p:cNvSpPr/>
              <p:nvPr/>
            </p:nvSpPr>
            <p:spPr bwMode="gray">
              <a:xfrm>
                <a:off x="8971784" y="8668728"/>
                <a:ext cx="245633" cy="21834"/>
              </a:xfrm>
              <a:custGeom>
                <a:avLst/>
                <a:gdLst>
                  <a:gd name="connsiteX0" fmla="*/ 12282 w 245632"/>
                  <a:gd name="connsiteY0" fmla="*/ 12282 h 21834"/>
                  <a:gd name="connsiteX1" fmla="*/ 236080 w 245632"/>
                  <a:gd name="connsiteY1" fmla="*/ 12282 h 2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632" h="21834">
                    <a:moveTo>
                      <a:pt x="12282" y="12282"/>
                    </a:moveTo>
                    <a:lnTo>
                      <a:pt x="236080" y="12282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  <p:grpSp>
          <p:nvGrpSpPr>
            <p:cNvPr id="27" name="Gruppieren 188">
              <a:extLst>
                <a:ext uri="{FF2B5EF4-FFF2-40B4-BE49-F238E27FC236}">
                  <a16:creationId xmlns:a16="http://schemas.microsoft.com/office/drawing/2014/main" id="{E5004FEF-1CB9-75AE-521A-250C7EEA12F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5505450" y="4751731"/>
              <a:ext cx="429848" cy="500110"/>
              <a:chOff x="3034366" y="4089085"/>
              <a:chExt cx="619260" cy="720479"/>
            </a:xfrm>
          </p:grpSpPr>
          <p:sp>
            <p:nvSpPr>
              <p:cNvPr id="28" name="Freihandform: Form 189">
                <a:extLst>
                  <a:ext uri="{FF2B5EF4-FFF2-40B4-BE49-F238E27FC236}">
                    <a16:creationId xmlns:a16="http://schemas.microsoft.com/office/drawing/2014/main" id="{72F8F7BA-E28E-ABA6-B7EB-E63B84C6EAAE}"/>
                  </a:ext>
                </a:extLst>
              </p:cNvPr>
              <p:cNvSpPr/>
              <p:nvPr/>
            </p:nvSpPr>
            <p:spPr bwMode="gray">
              <a:xfrm>
                <a:off x="3136154" y="4089085"/>
                <a:ext cx="420801" cy="420801"/>
              </a:xfrm>
              <a:custGeom>
                <a:avLst/>
                <a:gdLst>
                  <a:gd name="connsiteX0" fmla="*/ 585211 w 602722"/>
                  <a:gd name="connsiteY0" fmla="*/ 301768 h 602722"/>
                  <a:gd name="connsiteX1" fmla="*/ 301768 w 602722"/>
                  <a:gd name="connsiteY1" fmla="*/ 585211 h 602722"/>
                  <a:gd name="connsiteX2" fmla="*/ 18326 w 602722"/>
                  <a:gd name="connsiteY2" fmla="*/ 301768 h 602722"/>
                  <a:gd name="connsiteX3" fmla="*/ 301768 w 602722"/>
                  <a:gd name="connsiteY3" fmla="*/ 18326 h 602722"/>
                  <a:gd name="connsiteX4" fmla="*/ 585211 w 602722"/>
                  <a:gd name="connsiteY4" fmla="*/ 301768 h 602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2722" h="602722">
                    <a:moveTo>
                      <a:pt x="585211" y="301768"/>
                    </a:moveTo>
                    <a:cubicBezTo>
                      <a:pt x="585211" y="458309"/>
                      <a:pt x="458309" y="585211"/>
                      <a:pt x="301768" y="585211"/>
                    </a:cubicBezTo>
                    <a:cubicBezTo>
                      <a:pt x="145228" y="585211"/>
                      <a:pt x="18326" y="458309"/>
                      <a:pt x="18326" y="301768"/>
                    </a:cubicBezTo>
                    <a:cubicBezTo>
                      <a:pt x="18326" y="145227"/>
                      <a:pt x="145228" y="18326"/>
                      <a:pt x="301768" y="18326"/>
                    </a:cubicBezTo>
                    <a:cubicBezTo>
                      <a:pt x="458309" y="18326"/>
                      <a:pt x="585211" y="145227"/>
                      <a:pt x="585211" y="301768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29" name="Freihandform: Form 190">
                <a:extLst>
                  <a:ext uri="{FF2B5EF4-FFF2-40B4-BE49-F238E27FC236}">
                    <a16:creationId xmlns:a16="http://schemas.microsoft.com/office/drawing/2014/main" id="{9CDF5512-B185-06AD-4E3D-8F384B0E58B2}"/>
                  </a:ext>
                </a:extLst>
              </p:cNvPr>
              <p:cNvSpPr/>
              <p:nvPr/>
            </p:nvSpPr>
            <p:spPr bwMode="gray">
              <a:xfrm>
                <a:off x="3334045" y="4130028"/>
                <a:ext cx="181968" cy="181968"/>
              </a:xfrm>
              <a:custGeom>
                <a:avLst/>
                <a:gdLst>
                  <a:gd name="connsiteX0" fmla="*/ 243125 w 260636"/>
                  <a:gd name="connsiteY0" fmla="*/ 243125 h 260636"/>
                  <a:gd name="connsiteX1" fmla="*/ 18326 w 260636"/>
                  <a:gd name="connsiteY1" fmla="*/ 18326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0636" h="260636">
                    <a:moveTo>
                      <a:pt x="243125" y="243125"/>
                    </a:moveTo>
                    <a:cubicBezTo>
                      <a:pt x="243125" y="118508"/>
                      <a:pt x="142128" y="18326"/>
                      <a:pt x="18326" y="18326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0" name="Freihandform: Form 191">
                <a:extLst>
                  <a:ext uri="{FF2B5EF4-FFF2-40B4-BE49-F238E27FC236}">
                    <a16:creationId xmlns:a16="http://schemas.microsoft.com/office/drawing/2014/main" id="{2343172D-0C97-9A4B-1DED-674410A0B3EF}"/>
                  </a:ext>
                </a:extLst>
              </p:cNvPr>
              <p:cNvSpPr/>
              <p:nvPr/>
            </p:nvSpPr>
            <p:spPr bwMode="gray">
              <a:xfrm>
                <a:off x="3305043" y="4484297"/>
                <a:ext cx="79611" cy="96670"/>
              </a:xfrm>
              <a:custGeom>
                <a:avLst/>
                <a:gdLst>
                  <a:gd name="connsiteX0" fmla="*/ 18326 w 114028"/>
                  <a:gd name="connsiteY0" fmla="*/ 18326 h 138463"/>
                  <a:gd name="connsiteX1" fmla="*/ 18326 w 114028"/>
                  <a:gd name="connsiteY1" fmla="*/ 121766 h 138463"/>
                  <a:gd name="connsiteX2" fmla="*/ 100589 w 114028"/>
                  <a:gd name="connsiteY2" fmla="*/ 121766 h 138463"/>
                  <a:gd name="connsiteX3" fmla="*/ 100589 w 114028"/>
                  <a:gd name="connsiteY3" fmla="*/ 18326 h 13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028" h="138463">
                    <a:moveTo>
                      <a:pt x="18326" y="18326"/>
                    </a:moveTo>
                    <a:lnTo>
                      <a:pt x="18326" y="121766"/>
                    </a:lnTo>
                    <a:lnTo>
                      <a:pt x="100589" y="121766"/>
                    </a:lnTo>
                    <a:lnTo>
                      <a:pt x="100589" y="18326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1" name="Freihandform: Form 192">
                <a:extLst>
                  <a:ext uri="{FF2B5EF4-FFF2-40B4-BE49-F238E27FC236}">
                    <a16:creationId xmlns:a16="http://schemas.microsoft.com/office/drawing/2014/main" id="{11CAEDF4-8D33-677C-7EF5-CC7CE800DD32}"/>
                  </a:ext>
                </a:extLst>
              </p:cNvPr>
              <p:cNvSpPr/>
              <p:nvPr/>
            </p:nvSpPr>
            <p:spPr bwMode="gray">
              <a:xfrm>
                <a:off x="3228844" y="4263661"/>
                <a:ext cx="90984" cy="119417"/>
              </a:xfrm>
              <a:custGeom>
                <a:avLst/>
                <a:gdLst>
                  <a:gd name="connsiteX0" fmla="*/ 18326 w 130318"/>
                  <a:gd name="connsiteY0" fmla="*/ 18326 h 171042"/>
                  <a:gd name="connsiteX1" fmla="*/ 118508 w 130318"/>
                  <a:gd name="connsiteY1" fmla="*/ 18326 h 171042"/>
                  <a:gd name="connsiteX2" fmla="*/ 118508 w 130318"/>
                  <a:gd name="connsiteY2" fmla="*/ 153531 h 171042"/>
                  <a:gd name="connsiteX3" fmla="*/ 18326 w 130318"/>
                  <a:gd name="connsiteY3" fmla="*/ 153531 h 17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171042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153531"/>
                    </a:lnTo>
                    <a:lnTo>
                      <a:pt x="18326" y="153531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2" name="Freihandform: Form 193">
                <a:extLst>
                  <a:ext uri="{FF2B5EF4-FFF2-40B4-BE49-F238E27FC236}">
                    <a16:creationId xmlns:a16="http://schemas.microsoft.com/office/drawing/2014/main" id="{F2C9E232-02AA-2DA4-F8F2-6365ABC0F283}"/>
                  </a:ext>
                </a:extLst>
              </p:cNvPr>
              <p:cNvSpPr/>
              <p:nvPr/>
            </p:nvSpPr>
            <p:spPr bwMode="gray">
              <a:xfrm>
                <a:off x="3298788" y="4215325"/>
                <a:ext cx="90984" cy="164909"/>
              </a:xfrm>
              <a:custGeom>
                <a:avLst/>
                <a:gdLst>
                  <a:gd name="connsiteX0" fmla="*/ 18326 w 130318"/>
                  <a:gd name="connsiteY0" fmla="*/ 18326 h 236201"/>
                  <a:gd name="connsiteX1" fmla="*/ 118508 w 130318"/>
                  <a:gd name="connsiteY1" fmla="*/ 18326 h 236201"/>
                  <a:gd name="connsiteX2" fmla="*/ 118508 w 130318"/>
                  <a:gd name="connsiteY2" fmla="*/ 221948 h 236201"/>
                  <a:gd name="connsiteX3" fmla="*/ 18326 w 130318"/>
                  <a:gd name="connsiteY3" fmla="*/ 221948 h 236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236201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221948"/>
                    </a:lnTo>
                    <a:lnTo>
                      <a:pt x="18326" y="221948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3" name="Freihandform: Form 194">
                <a:extLst>
                  <a:ext uri="{FF2B5EF4-FFF2-40B4-BE49-F238E27FC236}">
                    <a16:creationId xmlns:a16="http://schemas.microsoft.com/office/drawing/2014/main" id="{B9FC8572-16EA-F290-574B-6FE2E863EB33}"/>
                  </a:ext>
                </a:extLst>
              </p:cNvPr>
              <p:cNvSpPr/>
              <p:nvPr/>
            </p:nvSpPr>
            <p:spPr bwMode="gray">
              <a:xfrm>
                <a:off x="3368732" y="4263661"/>
                <a:ext cx="90984" cy="119417"/>
              </a:xfrm>
              <a:custGeom>
                <a:avLst/>
                <a:gdLst>
                  <a:gd name="connsiteX0" fmla="*/ 18326 w 130318"/>
                  <a:gd name="connsiteY0" fmla="*/ 18326 h 171042"/>
                  <a:gd name="connsiteX1" fmla="*/ 118508 w 130318"/>
                  <a:gd name="connsiteY1" fmla="*/ 18326 h 171042"/>
                  <a:gd name="connsiteX2" fmla="*/ 118508 w 130318"/>
                  <a:gd name="connsiteY2" fmla="*/ 153531 h 171042"/>
                  <a:gd name="connsiteX3" fmla="*/ 18326 w 130318"/>
                  <a:gd name="connsiteY3" fmla="*/ 153531 h 17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318" h="171042">
                    <a:moveTo>
                      <a:pt x="18326" y="18326"/>
                    </a:moveTo>
                    <a:lnTo>
                      <a:pt x="118508" y="18326"/>
                    </a:lnTo>
                    <a:lnTo>
                      <a:pt x="118508" y="153531"/>
                    </a:lnTo>
                    <a:lnTo>
                      <a:pt x="18326" y="153531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4" name="Freihandform: Form 195">
                <a:extLst>
                  <a:ext uri="{FF2B5EF4-FFF2-40B4-BE49-F238E27FC236}">
                    <a16:creationId xmlns:a16="http://schemas.microsoft.com/office/drawing/2014/main" id="{0900DC53-3944-D6C4-2848-0E08AEBBC72C}"/>
                  </a:ext>
                </a:extLst>
              </p:cNvPr>
              <p:cNvSpPr/>
              <p:nvPr/>
            </p:nvSpPr>
            <p:spPr bwMode="gray">
              <a:xfrm>
                <a:off x="3074740" y="4629302"/>
                <a:ext cx="56865" cy="62552"/>
              </a:xfrm>
              <a:custGeom>
                <a:avLst/>
                <a:gdLst>
                  <a:gd name="connsiteX0" fmla="*/ 69639 w 81448"/>
                  <a:gd name="connsiteY0" fmla="*/ 18326 h 89593"/>
                  <a:gd name="connsiteX1" fmla="*/ 18326 w 81448"/>
                  <a:gd name="connsiteY1" fmla="*/ 72897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69639" y="18326"/>
                    </a:moveTo>
                    <a:lnTo>
                      <a:pt x="18326" y="72897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5" name="Freihandform: Form 196">
                <a:extLst>
                  <a:ext uri="{FF2B5EF4-FFF2-40B4-BE49-F238E27FC236}">
                    <a16:creationId xmlns:a16="http://schemas.microsoft.com/office/drawing/2014/main" id="{EEC04866-8488-C1EF-9757-2E57FF6C13EC}"/>
                  </a:ext>
                </a:extLst>
              </p:cNvPr>
              <p:cNvSpPr/>
              <p:nvPr/>
            </p:nvSpPr>
            <p:spPr bwMode="gray">
              <a:xfrm>
                <a:off x="3143547" y="4629302"/>
                <a:ext cx="56865" cy="62552"/>
              </a:xfrm>
              <a:custGeom>
                <a:avLst/>
                <a:gdLst>
                  <a:gd name="connsiteX0" fmla="*/ 69639 w 81448"/>
                  <a:gd name="connsiteY0" fmla="*/ 72897 h 89593"/>
                  <a:gd name="connsiteX1" fmla="*/ 18326 w 81448"/>
                  <a:gd name="connsiteY1" fmla="*/ 18326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69639" y="72897"/>
                    </a:moveTo>
                    <a:lnTo>
                      <a:pt x="18326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6" name="Freihandform: Form 197">
                <a:extLst>
                  <a:ext uri="{FF2B5EF4-FFF2-40B4-BE49-F238E27FC236}">
                    <a16:creationId xmlns:a16="http://schemas.microsoft.com/office/drawing/2014/main" id="{EADB51F9-8B32-68BF-6426-D6D59E515B47}"/>
                  </a:ext>
                </a:extLst>
              </p:cNvPr>
              <p:cNvSpPr/>
              <p:nvPr/>
            </p:nvSpPr>
            <p:spPr bwMode="gray">
              <a:xfrm>
                <a:off x="3212353" y="4627027"/>
                <a:ext cx="62552" cy="62552"/>
              </a:xfrm>
              <a:custGeom>
                <a:avLst/>
                <a:gdLst>
                  <a:gd name="connsiteX0" fmla="*/ 73711 w 89593"/>
                  <a:gd name="connsiteY0" fmla="*/ 18326 h 89593"/>
                  <a:gd name="connsiteX1" fmla="*/ 18326 w 89593"/>
                  <a:gd name="connsiteY1" fmla="*/ 76155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89593">
                    <a:moveTo>
                      <a:pt x="73711" y="18326"/>
                    </a:moveTo>
                    <a:lnTo>
                      <a:pt x="18326" y="7615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7" name="Freihandform: Form 198">
                <a:extLst>
                  <a:ext uri="{FF2B5EF4-FFF2-40B4-BE49-F238E27FC236}">
                    <a16:creationId xmlns:a16="http://schemas.microsoft.com/office/drawing/2014/main" id="{1EF7EDC9-6770-6D0B-71B1-9E2BE7B5327A}"/>
                  </a:ext>
                </a:extLst>
              </p:cNvPr>
              <p:cNvSpPr/>
              <p:nvPr/>
            </p:nvSpPr>
            <p:spPr bwMode="gray">
              <a:xfrm>
                <a:off x="3034366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4 w 97738"/>
                  <a:gd name="connsiteY1" fmla="*/ 86743 h 97738"/>
                  <a:gd name="connsiteX2" fmla="*/ 18326 w 97738"/>
                  <a:gd name="connsiteY2" fmla="*/ 52535 h 97738"/>
                  <a:gd name="connsiteX3" fmla="*/ 52534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4" y="86743"/>
                    </a:cubicBezTo>
                    <a:cubicBezTo>
                      <a:pt x="33641" y="86743"/>
                      <a:pt x="18326" y="71427"/>
                      <a:pt x="18326" y="52535"/>
                    </a:cubicBezTo>
                    <a:cubicBezTo>
                      <a:pt x="18326" y="33642"/>
                      <a:pt x="33641" y="18326"/>
                      <a:pt x="52534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8" name="Freihandform: Form 199">
                <a:extLst>
                  <a:ext uri="{FF2B5EF4-FFF2-40B4-BE49-F238E27FC236}">
                    <a16:creationId xmlns:a16="http://schemas.microsoft.com/office/drawing/2014/main" id="{C3183271-AB83-07D4-C2E5-E928AE7F49FD}"/>
                  </a:ext>
                </a:extLst>
              </p:cNvPr>
              <p:cNvSpPr/>
              <p:nvPr/>
            </p:nvSpPr>
            <p:spPr bwMode="gray">
              <a:xfrm>
                <a:off x="3103172" y="4588359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39" name="Freihandform: Form 200">
                <a:extLst>
                  <a:ext uri="{FF2B5EF4-FFF2-40B4-BE49-F238E27FC236}">
                    <a16:creationId xmlns:a16="http://schemas.microsoft.com/office/drawing/2014/main" id="{2D9F1285-D86D-07CA-7A2C-6CF98AD820F5}"/>
                  </a:ext>
                </a:extLst>
              </p:cNvPr>
              <p:cNvSpPr/>
              <p:nvPr/>
            </p:nvSpPr>
            <p:spPr bwMode="gray">
              <a:xfrm>
                <a:off x="3172548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18326 h 97738"/>
                  <a:gd name="connsiteX2" fmla="*/ 18326 w 97738"/>
                  <a:gd name="connsiteY2" fmla="*/ 52535 h 97738"/>
                  <a:gd name="connsiteX3" fmla="*/ 52535 w 97738"/>
                  <a:gd name="connsiteY3" fmla="*/ 86743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33801"/>
                      <a:pt x="71268" y="18326"/>
                      <a:pt x="52535" y="18326"/>
                    </a:cubicBezTo>
                    <a:cubicBezTo>
                      <a:pt x="33801" y="18326"/>
                      <a:pt x="18326" y="33801"/>
                      <a:pt x="18326" y="52535"/>
                    </a:cubicBezTo>
                    <a:cubicBezTo>
                      <a:pt x="18326" y="71268"/>
                      <a:pt x="33801" y="86743"/>
                      <a:pt x="52535" y="86743"/>
                    </a:cubicBezTo>
                    <a:cubicBezTo>
                      <a:pt x="71268" y="87558"/>
                      <a:pt x="86743" y="7208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0" name="Freihandform: Form 201">
                <a:extLst>
                  <a:ext uri="{FF2B5EF4-FFF2-40B4-BE49-F238E27FC236}">
                    <a16:creationId xmlns:a16="http://schemas.microsoft.com/office/drawing/2014/main" id="{E646A08B-1033-EBC5-790E-43BA5FCD94EA}"/>
                  </a:ext>
                </a:extLst>
              </p:cNvPr>
              <p:cNvSpPr/>
              <p:nvPr/>
            </p:nvSpPr>
            <p:spPr bwMode="gray">
              <a:xfrm>
                <a:off x="3283434" y="4556515"/>
                <a:ext cx="125103" cy="181968"/>
              </a:xfrm>
              <a:custGeom>
                <a:avLst/>
                <a:gdLst>
                  <a:gd name="connsiteX0" fmla="*/ 162491 w 179187"/>
                  <a:gd name="connsiteY0" fmla="*/ 242311 h 260636"/>
                  <a:gd name="connsiteX1" fmla="*/ 162491 w 179187"/>
                  <a:gd name="connsiteY1" fmla="*/ 44390 h 260636"/>
                  <a:gd name="connsiteX2" fmla="*/ 136427 w 179187"/>
                  <a:gd name="connsiteY2" fmla="*/ 18326 h 260636"/>
                  <a:gd name="connsiteX3" fmla="*/ 44390 w 179187"/>
                  <a:gd name="connsiteY3" fmla="*/ 18326 h 260636"/>
                  <a:gd name="connsiteX4" fmla="*/ 18326 w 179187"/>
                  <a:gd name="connsiteY4" fmla="*/ 44390 h 260636"/>
                  <a:gd name="connsiteX5" fmla="*/ 18326 w 179187"/>
                  <a:gd name="connsiteY5" fmla="*/ 242311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187" h="260636">
                    <a:moveTo>
                      <a:pt x="162491" y="242311"/>
                    </a:moveTo>
                    <a:lnTo>
                      <a:pt x="162491" y="44390"/>
                    </a:lnTo>
                    <a:cubicBezTo>
                      <a:pt x="162491" y="29729"/>
                      <a:pt x="151088" y="18326"/>
                      <a:pt x="136427" y="18326"/>
                    </a:cubicBezTo>
                    <a:lnTo>
                      <a:pt x="44390" y="18326"/>
                    </a:lnTo>
                    <a:cubicBezTo>
                      <a:pt x="29729" y="18326"/>
                      <a:pt x="18326" y="29729"/>
                      <a:pt x="18326" y="44390"/>
                    </a:cubicBezTo>
                    <a:lnTo>
                      <a:pt x="18326" y="242311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1" name="Freihandform: Form 202">
                <a:extLst>
                  <a:ext uri="{FF2B5EF4-FFF2-40B4-BE49-F238E27FC236}">
                    <a16:creationId xmlns:a16="http://schemas.microsoft.com/office/drawing/2014/main" id="{C283D8C7-B5E0-1406-382D-50B18E01D644}"/>
                  </a:ext>
                </a:extLst>
              </p:cNvPr>
              <p:cNvSpPr/>
              <p:nvPr/>
            </p:nvSpPr>
            <p:spPr bwMode="gray">
              <a:xfrm>
                <a:off x="3283434" y="4712894"/>
                <a:ext cx="125103" cy="96670"/>
              </a:xfrm>
              <a:custGeom>
                <a:avLst/>
                <a:gdLst>
                  <a:gd name="connsiteX0" fmla="*/ 18326 w 179187"/>
                  <a:gd name="connsiteY0" fmla="*/ 18326 h 138463"/>
                  <a:gd name="connsiteX1" fmla="*/ 18326 w 179187"/>
                  <a:gd name="connsiteY1" fmla="*/ 99775 h 138463"/>
                  <a:gd name="connsiteX2" fmla="*/ 44390 w 179187"/>
                  <a:gd name="connsiteY2" fmla="*/ 125839 h 138463"/>
                  <a:gd name="connsiteX3" fmla="*/ 136427 w 179187"/>
                  <a:gd name="connsiteY3" fmla="*/ 125839 h 138463"/>
                  <a:gd name="connsiteX4" fmla="*/ 162491 w 179187"/>
                  <a:gd name="connsiteY4" fmla="*/ 99775 h 138463"/>
                  <a:gd name="connsiteX5" fmla="*/ 162491 w 179187"/>
                  <a:gd name="connsiteY5" fmla="*/ 18326 h 13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187" h="138463">
                    <a:moveTo>
                      <a:pt x="18326" y="18326"/>
                    </a:moveTo>
                    <a:lnTo>
                      <a:pt x="18326" y="99775"/>
                    </a:lnTo>
                    <a:cubicBezTo>
                      <a:pt x="18326" y="114436"/>
                      <a:pt x="29729" y="125839"/>
                      <a:pt x="44390" y="125839"/>
                    </a:cubicBezTo>
                    <a:lnTo>
                      <a:pt x="136427" y="125839"/>
                    </a:lnTo>
                    <a:cubicBezTo>
                      <a:pt x="151088" y="125839"/>
                      <a:pt x="162491" y="114436"/>
                      <a:pt x="162491" y="99775"/>
                    </a:cubicBezTo>
                    <a:lnTo>
                      <a:pt x="162491" y="18326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2" name="Freihandform: Form 203">
                <a:extLst>
                  <a:ext uri="{FF2B5EF4-FFF2-40B4-BE49-F238E27FC236}">
                    <a16:creationId xmlns:a16="http://schemas.microsoft.com/office/drawing/2014/main" id="{FA69EA19-FDF8-0603-CDED-9932D7F2EC60}"/>
                  </a:ext>
                </a:extLst>
              </p:cNvPr>
              <p:cNvSpPr/>
              <p:nvPr/>
            </p:nvSpPr>
            <p:spPr bwMode="gray">
              <a:xfrm>
                <a:off x="3556955" y="4629302"/>
                <a:ext cx="56865" cy="62552"/>
              </a:xfrm>
              <a:custGeom>
                <a:avLst/>
                <a:gdLst>
                  <a:gd name="connsiteX0" fmla="*/ 18326 w 81448"/>
                  <a:gd name="connsiteY0" fmla="*/ 18326 h 89593"/>
                  <a:gd name="connsiteX1" fmla="*/ 69639 w 81448"/>
                  <a:gd name="connsiteY1" fmla="*/ 72897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18326" y="18326"/>
                    </a:moveTo>
                    <a:lnTo>
                      <a:pt x="69639" y="72897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3" name="Freihandform: Form 204">
                <a:extLst>
                  <a:ext uri="{FF2B5EF4-FFF2-40B4-BE49-F238E27FC236}">
                    <a16:creationId xmlns:a16="http://schemas.microsoft.com/office/drawing/2014/main" id="{BC03D6E7-D08D-B45C-D28C-7CF8BA03C999}"/>
                  </a:ext>
                </a:extLst>
              </p:cNvPr>
              <p:cNvSpPr/>
              <p:nvPr/>
            </p:nvSpPr>
            <p:spPr bwMode="gray">
              <a:xfrm>
                <a:off x="3488148" y="4629302"/>
                <a:ext cx="56865" cy="62552"/>
              </a:xfrm>
              <a:custGeom>
                <a:avLst/>
                <a:gdLst>
                  <a:gd name="connsiteX0" fmla="*/ 18326 w 81448"/>
                  <a:gd name="connsiteY0" fmla="*/ 72897 h 89593"/>
                  <a:gd name="connsiteX1" fmla="*/ 69639 w 81448"/>
                  <a:gd name="connsiteY1" fmla="*/ 18326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48" h="89593">
                    <a:moveTo>
                      <a:pt x="18326" y="72897"/>
                    </a:moveTo>
                    <a:lnTo>
                      <a:pt x="69639" y="18326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4" name="Freihandform: Form 205">
                <a:extLst>
                  <a:ext uri="{FF2B5EF4-FFF2-40B4-BE49-F238E27FC236}">
                    <a16:creationId xmlns:a16="http://schemas.microsoft.com/office/drawing/2014/main" id="{4AFE3C38-E252-EC11-E2CB-6E0D2B373E55}"/>
                  </a:ext>
                </a:extLst>
              </p:cNvPr>
              <p:cNvSpPr/>
              <p:nvPr/>
            </p:nvSpPr>
            <p:spPr bwMode="gray">
              <a:xfrm>
                <a:off x="3417067" y="4627027"/>
                <a:ext cx="62552" cy="62552"/>
              </a:xfrm>
              <a:custGeom>
                <a:avLst/>
                <a:gdLst>
                  <a:gd name="connsiteX0" fmla="*/ 18326 w 89593"/>
                  <a:gd name="connsiteY0" fmla="*/ 18326 h 89593"/>
                  <a:gd name="connsiteX1" fmla="*/ 72897 w 89593"/>
                  <a:gd name="connsiteY1" fmla="*/ 76155 h 8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93" h="89593">
                    <a:moveTo>
                      <a:pt x="18326" y="18326"/>
                    </a:moveTo>
                    <a:lnTo>
                      <a:pt x="72897" y="76155"/>
                    </a:lnTo>
                  </a:path>
                </a:pathLst>
              </a:custGeom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5" name="Freihandform: Form 206">
                <a:extLst>
                  <a:ext uri="{FF2B5EF4-FFF2-40B4-BE49-F238E27FC236}">
                    <a16:creationId xmlns:a16="http://schemas.microsoft.com/office/drawing/2014/main" id="{FCC2BEEE-CC1F-E8BC-1B4F-F4E9B5949F5E}"/>
                  </a:ext>
                </a:extLst>
              </p:cNvPr>
              <p:cNvSpPr/>
              <p:nvPr/>
            </p:nvSpPr>
            <p:spPr bwMode="gray">
              <a:xfrm>
                <a:off x="3585388" y="4660578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6" name="Freihandform: Form 207">
                <a:extLst>
                  <a:ext uri="{FF2B5EF4-FFF2-40B4-BE49-F238E27FC236}">
                    <a16:creationId xmlns:a16="http://schemas.microsoft.com/office/drawing/2014/main" id="{7A16A5F0-0CCF-3BB3-A0A1-F92A40FA9A73}"/>
                  </a:ext>
                </a:extLst>
              </p:cNvPr>
              <p:cNvSpPr/>
              <p:nvPr/>
            </p:nvSpPr>
            <p:spPr bwMode="gray">
              <a:xfrm>
                <a:off x="3516581" y="4588359"/>
                <a:ext cx="68238" cy="68238"/>
              </a:xfrm>
              <a:custGeom>
                <a:avLst/>
                <a:gdLst>
                  <a:gd name="connsiteX0" fmla="*/ 86743 w 97738"/>
                  <a:gd name="connsiteY0" fmla="*/ 52535 h 97738"/>
                  <a:gd name="connsiteX1" fmla="*/ 52535 w 97738"/>
                  <a:gd name="connsiteY1" fmla="*/ 86743 h 97738"/>
                  <a:gd name="connsiteX2" fmla="*/ 18326 w 97738"/>
                  <a:gd name="connsiteY2" fmla="*/ 52535 h 97738"/>
                  <a:gd name="connsiteX3" fmla="*/ 52535 w 97738"/>
                  <a:gd name="connsiteY3" fmla="*/ 18326 h 97738"/>
                  <a:gd name="connsiteX4" fmla="*/ 86743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86743" y="52535"/>
                    </a:moveTo>
                    <a:cubicBezTo>
                      <a:pt x="86743" y="71427"/>
                      <a:pt x="71427" y="86743"/>
                      <a:pt x="52535" y="86743"/>
                    </a:cubicBezTo>
                    <a:cubicBezTo>
                      <a:pt x="33642" y="86743"/>
                      <a:pt x="18326" y="71427"/>
                      <a:pt x="18326" y="52535"/>
                    </a:cubicBezTo>
                    <a:cubicBezTo>
                      <a:pt x="18326" y="33642"/>
                      <a:pt x="33642" y="18326"/>
                      <a:pt x="52535" y="18326"/>
                    </a:cubicBezTo>
                    <a:cubicBezTo>
                      <a:pt x="71427" y="18326"/>
                      <a:pt x="86743" y="33642"/>
                      <a:pt x="86743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  <p:sp>
            <p:nvSpPr>
              <p:cNvPr id="47" name="Freihandform: Form 208">
                <a:extLst>
                  <a:ext uri="{FF2B5EF4-FFF2-40B4-BE49-F238E27FC236}">
                    <a16:creationId xmlns:a16="http://schemas.microsoft.com/office/drawing/2014/main" id="{353352E0-0648-06D3-1FB2-D72B4219458B}"/>
                  </a:ext>
                </a:extLst>
              </p:cNvPr>
              <p:cNvSpPr/>
              <p:nvPr/>
            </p:nvSpPr>
            <p:spPr bwMode="gray">
              <a:xfrm>
                <a:off x="3447774" y="4660578"/>
                <a:ext cx="68238" cy="68238"/>
              </a:xfrm>
              <a:custGeom>
                <a:avLst/>
                <a:gdLst>
                  <a:gd name="connsiteX0" fmla="*/ 18326 w 97738"/>
                  <a:gd name="connsiteY0" fmla="*/ 52535 h 97738"/>
                  <a:gd name="connsiteX1" fmla="*/ 52535 w 97738"/>
                  <a:gd name="connsiteY1" fmla="*/ 18326 h 97738"/>
                  <a:gd name="connsiteX2" fmla="*/ 86743 w 97738"/>
                  <a:gd name="connsiteY2" fmla="*/ 52535 h 97738"/>
                  <a:gd name="connsiteX3" fmla="*/ 52535 w 97738"/>
                  <a:gd name="connsiteY3" fmla="*/ 86743 h 97738"/>
                  <a:gd name="connsiteX4" fmla="*/ 18326 w 97738"/>
                  <a:gd name="connsiteY4" fmla="*/ 52535 h 9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38" h="97738">
                    <a:moveTo>
                      <a:pt x="18326" y="52535"/>
                    </a:moveTo>
                    <a:cubicBezTo>
                      <a:pt x="18326" y="33801"/>
                      <a:pt x="33801" y="18326"/>
                      <a:pt x="52535" y="18326"/>
                    </a:cubicBezTo>
                    <a:cubicBezTo>
                      <a:pt x="71268" y="18326"/>
                      <a:pt x="86743" y="33801"/>
                      <a:pt x="86743" y="52535"/>
                    </a:cubicBezTo>
                    <a:cubicBezTo>
                      <a:pt x="86743" y="71268"/>
                      <a:pt x="71268" y="86743"/>
                      <a:pt x="52535" y="86743"/>
                    </a:cubicBezTo>
                    <a:cubicBezTo>
                      <a:pt x="32987" y="87558"/>
                      <a:pt x="18326" y="72082"/>
                      <a:pt x="18326" y="5253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514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01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sym typeface="Arial"/>
                </a:endParaRPr>
              </a:p>
            </p:txBody>
          </p:sp>
        </p:grpSp>
      </p:grpSp>
      <p:sp>
        <p:nvSpPr>
          <p:cNvPr id="254" name="Gefaltete Ecke 50">
            <a:extLst>
              <a:ext uri="{FF2B5EF4-FFF2-40B4-BE49-F238E27FC236}">
                <a16:creationId xmlns:a16="http://schemas.microsoft.com/office/drawing/2014/main" id="{CB42A211-8E9A-E190-0313-140DE1F5E18E}"/>
              </a:ext>
            </a:extLst>
          </p:cNvPr>
          <p:cNvSpPr/>
          <p:nvPr/>
        </p:nvSpPr>
        <p:spPr bwMode="gray">
          <a:xfrm rot="21420000">
            <a:off x="7350127" y="1868979"/>
            <a:ext cx="958324" cy="665014"/>
          </a:xfrm>
          <a:prstGeom prst="foldedCorner">
            <a:avLst/>
          </a:prstGeom>
          <a:solidFill>
            <a:srgbClr val="CAC0F6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o is paying? Who is using?</a:t>
            </a:r>
          </a:p>
        </p:txBody>
      </p:sp>
      <p:sp>
        <p:nvSpPr>
          <p:cNvPr id="255" name="Gefaltete Ecke 52">
            <a:extLst>
              <a:ext uri="{FF2B5EF4-FFF2-40B4-BE49-F238E27FC236}">
                <a16:creationId xmlns:a16="http://schemas.microsoft.com/office/drawing/2014/main" id="{6CC2F115-F322-EF8D-9603-0DAEA4B64358}"/>
              </a:ext>
            </a:extLst>
          </p:cNvPr>
          <p:cNvSpPr/>
          <p:nvPr/>
        </p:nvSpPr>
        <p:spPr bwMode="gray">
          <a:xfrm rot="21420000">
            <a:off x="3925681" y="1866306"/>
            <a:ext cx="958324" cy="665014"/>
          </a:xfrm>
          <a:prstGeom prst="foldedCorner">
            <a:avLst/>
          </a:prstGeom>
          <a:solidFill>
            <a:srgbClr val="CAC0F6"/>
          </a:solidFill>
          <a:ln w="127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134937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What you 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2213C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offer to users and paying customers</a:t>
            </a:r>
          </a:p>
        </p:txBody>
      </p:sp>
      <p:sp>
        <p:nvSpPr>
          <p:cNvPr id="144" name="Freeform 7">
            <a:extLst>
              <a:ext uri="{FF2B5EF4-FFF2-40B4-BE49-F238E27FC236}">
                <a16:creationId xmlns:a16="http://schemas.microsoft.com/office/drawing/2014/main" id="{CAC4CE48-5A68-427F-B619-5C71A06CF2BF}"/>
              </a:ext>
            </a:extLst>
          </p:cNvPr>
          <p:cNvSpPr/>
          <p:nvPr/>
        </p:nvSpPr>
        <p:spPr>
          <a:xfrm>
            <a:off x="6110909" y="460258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sp>
        <p:nvSpPr>
          <p:cNvPr id="145" name="Freeform 8">
            <a:extLst>
              <a:ext uri="{FF2B5EF4-FFF2-40B4-BE49-F238E27FC236}">
                <a16:creationId xmlns:a16="http://schemas.microsoft.com/office/drawing/2014/main" id="{3F16EE7E-E38C-48FF-AF57-0F810E6C3AEC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  <p:sp>
        <p:nvSpPr>
          <p:cNvPr id="146" name="Textfeld 145">
            <a:extLst>
              <a:ext uri="{FF2B5EF4-FFF2-40B4-BE49-F238E27FC236}">
                <a16:creationId xmlns:a16="http://schemas.microsoft.com/office/drawing/2014/main" id="{1AEB8B57-6383-4670-85B8-E06F219CF782}"/>
              </a:ext>
            </a:extLst>
          </p:cNvPr>
          <p:cNvSpPr txBox="1"/>
          <p:nvPr/>
        </p:nvSpPr>
        <p:spPr>
          <a:xfrm rot="16200000">
            <a:off x="4396311" y="3883339"/>
            <a:ext cx="351378" cy="3589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4610511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5873999"/>
              </p:ext>
            </p:extLst>
          </p:nvPr>
        </p:nvGraphicFramePr>
        <p:xfrm>
          <a:off x="2844" y="119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1" imgH="298" progId="TCLayout.ActiveDocument.1">
                  <p:embed/>
                </p:oleObj>
              </mc:Choice>
              <mc:Fallback>
                <p:oleObj name="think-cell Folie" r:id="rId4" imgW="301" imgH="29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44" y="119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 vert="horz" lIns="81619" tIns="40809" rIns="81619" bIns="40809" rtlCol="0" anchor="ctr" anchorCtr="0">
            <a:noAutofit/>
          </a:bodyPr>
          <a:lstStyle/>
          <a:p>
            <a:r>
              <a:rPr lang="en-GB" sz="2400" dirty="0">
                <a:solidFill>
                  <a:srgbClr val="282669"/>
                </a:solidFill>
                <a:latin typeface="Titillium Web" panose="00000500000000000000" pitchFamily="2" charset="0"/>
              </a:rPr>
              <a:t>Customers and value proposition</a:t>
            </a:r>
          </a:p>
        </p:txBody>
      </p:sp>
      <p:sp>
        <p:nvSpPr>
          <p:cNvPr id="265" name="Rechteck 23">
            <a:extLst>
              <a:ext uri="{FF2B5EF4-FFF2-40B4-BE49-F238E27FC236}">
                <a16:creationId xmlns:a16="http://schemas.microsoft.com/office/drawing/2014/main" id="{0AA1A580-B441-CC3F-0BBD-EEFFB7CC7E8A}"/>
              </a:ext>
            </a:extLst>
          </p:cNvPr>
          <p:cNvSpPr/>
          <p:nvPr/>
        </p:nvSpPr>
        <p:spPr bwMode="gray">
          <a:xfrm>
            <a:off x="7362526" y="843958"/>
            <a:ext cx="136434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8333" marR="0" lvl="2" indent="0" algn="r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CUSTOMER</a:t>
            </a:r>
          </a:p>
        </p:txBody>
      </p:sp>
      <p:sp>
        <p:nvSpPr>
          <p:cNvPr id="269" name="Rechteck 17">
            <a:extLst>
              <a:ext uri="{FF2B5EF4-FFF2-40B4-BE49-F238E27FC236}">
                <a16:creationId xmlns:a16="http://schemas.microsoft.com/office/drawing/2014/main" id="{4304A9DD-7714-92C0-6B7E-602B5A5729C6}"/>
              </a:ext>
            </a:extLst>
          </p:cNvPr>
          <p:cNvSpPr/>
          <p:nvPr/>
        </p:nvSpPr>
        <p:spPr bwMode="gray">
          <a:xfrm>
            <a:off x="390629" y="854045"/>
            <a:ext cx="125149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8333" marR="0" lvl="2" indent="0" algn="l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rPr>
              <a:t>PRODUCT</a:t>
            </a:r>
          </a:p>
        </p:txBody>
      </p:sp>
      <p:cxnSp>
        <p:nvCxnSpPr>
          <p:cNvPr id="427" name="Gerade Verbindung mit Pfeil 19">
            <a:extLst>
              <a:ext uri="{FF2B5EF4-FFF2-40B4-BE49-F238E27FC236}">
                <a16:creationId xmlns:a16="http://schemas.microsoft.com/office/drawing/2014/main" id="{D55CC65C-EE49-70F1-006E-DB904603C497}"/>
              </a:ext>
            </a:extLst>
          </p:cNvPr>
          <p:cNvCxnSpPr>
            <a:cxnSpLocks/>
          </p:cNvCxnSpPr>
          <p:nvPr/>
        </p:nvCxnSpPr>
        <p:spPr>
          <a:xfrm>
            <a:off x="2519811" y="2628944"/>
            <a:ext cx="2248108" cy="0"/>
          </a:xfrm>
          <a:prstGeom prst="straightConnector1">
            <a:avLst/>
          </a:prstGeom>
          <a:ln w="38100" cap="rnd">
            <a:solidFill>
              <a:schemeClr val="tx1"/>
            </a:solidFill>
            <a:round/>
            <a:headEnd type="none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Gleichschenkliges Dreieck 13">
            <a:extLst>
              <a:ext uri="{FF2B5EF4-FFF2-40B4-BE49-F238E27FC236}">
                <a16:creationId xmlns:a16="http://schemas.microsoft.com/office/drawing/2014/main" id="{A96CFBD5-B7FF-1C50-11B2-41E10576F0C5}"/>
              </a:ext>
            </a:extLst>
          </p:cNvPr>
          <p:cNvSpPr/>
          <p:nvPr/>
        </p:nvSpPr>
        <p:spPr>
          <a:xfrm rot="5400000">
            <a:off x="707574" y="1688215"/>
            <a:ext cx="3033903" cy="1889701"/>
          </a:xfrm>
          <a:prstGeom prst="triangle">
            <a:avLst/>
          </a:prstGeom>
          <a:solidFill>
            <a:srgbClr val="E0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 err="1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429" name="Rechteck: abgerundete Ecken 10">
            <a:extLst>
              <a:ext uri="{FF2B5EF4-FFF2-40B4-BE49-F238E27FC236}">
                <a16:creationId xmlns:a16="http://schemas.microsoft.com/office/drawing/2014/main" id="{46F0D610-AB87-80A0-1431-384DDBD65F4D}"/>
              </a:ext>
            </a:extLst>
          </p:cNvPr>
          <p:cNvSpPr/>
          <p:nvPr/>
        </p:nvSpPr>
        <p:spPr>
          <a:xfrm>
            <a:off x="1282164" y="1084286"/>
            <a:ext cx="3279139" cy="3082892"/>
          </a:xfrm>
          <a:prstGeom prst="roundRect">
            <a:avLst>
              <a:gd name="adj" fmla="val 1529"/>
            </a:avLst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69938" rtlCol="0" anchor="t">
            <a:normAutofit/>
          </a:bodyPr>
          <a:lstStyle/>
          <a:p>
            <a:pPr marL="0" marR="0" lvl="0" indent="0" algn="l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430" name="Ellipse 17">
            <a:extLst>
              <a:ext uri="{FF2B5EF4-FFF2-40B4-BE49-F238E27FC236}">
                <a16:creationId xmlns:a16="http://schemas.microsoft.com/office/drawing/2014/main" id="{B572BAE5-3773-8BEB-E081-E740E30BE9FB}"/>
              </a:ext>
            </a:extLst>
          </p:cNvPr>
          <p:cNvSpPr/>
          <p:nvPr/>
        </p:nvSpPr>
        <p:spPr>
          <a:xfrm>
            <a:off x="5111935" y="1157762"/>
            <a:ext cx="2942364" cy="2942364"/>
          </a:xfrm>
          <a:prstGeom prst="ellipse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69938" rtlCol="0" anchor="t">
            <a:normAutofit/>
          </a:bodyPr>
          <a:lstStyle/>
          <a:p>
            <a:pPr marL="0" marR="0" lvl="0" indent="0" algn="l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 err="1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cs typeface="Calibri" panose="020F0502020204030204" pitchFamily="34" charset="0"/>
              <a:sym typeface="Arial"/>
            </a:endParaRPr>
          </a:p>
        </p:txBody>
      </p:sp>
      <p:pic>
        <p:nvPicPr>
          <p:cNvPr id="431" name="Grafik 27">
            <a:extLst>
              <a:ext uri="{FF2B5EF4-FFF2-40B4-BE49-F238E27FC236}">
                <a16:creationId xmlns:a16="http://schemas.microsoft.com/office/drawing/2014/main" id="{BEBC379E-0745-4CA7-EE37-543414D64B2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4939771" y="1524942"/>
            <a:ext cx="2552332" cy="2208003"/>
          </a:xfrm>
          <a:prstGeom prst="rect">
            <a:avLst/>
          </a:prstGeom>
        </p:spPr>
      </p:pic>
      <p:sp>
        <p:nvSpPr>
          <p:cNvPr id="432" name="Textfeld 35">
            <a:extLst>
              <a:ext uri="{FF2B5EF4-FFF2-40B4-BE49-F238E27FC236}">
                <a16:creationId xmlns:a16="http://schemas.microsoft.com/office/drawing/2014/main" id="{7D211CE2-5A06-D084-5CCD-754C51C8645B}"/>
              </a:ext>
            </a:extLst>
          </p:cNvPr>
          <p:cNvSpPr txBox="1"/>
          <p:nvPr/>
        </p:nvSpPr>
        <p:spPr>
          <a:xfrm>
            <a:off x="2598051" y="1303633"/>
            <a:ext cx="1252734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Gain Creators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6 Describe how your products</a:t>
            </a: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</a:b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and services create </a:t>
            </a: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</a:b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customer gains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350" b="1" i="0" u="none" strike="noStrike" kern="1200" cap="none" spc="0" normalizeH="0" baseline="0" noProof="0" dirty="0" err="1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433" name="Textfeld 36">
            <a:extLst>
              <a:ext uri="{FF2B5EF4-FFF2-40B4-BE49-F238E27FC236}">
                <a16:creationId xmlns:a16="http://schemas.microsoft.com/office/drawing/2014/main" id="{0F32CB26-C970-A420-3142-E5A1EF89705A}"/>
              </a:ext>
            </a:extLst>
          </p:cNvPr>
          <p:cNvSpPr txBox="1"/>
          <p:nvPr/>
        </p:nvSpPr>
        <p:spPr>
          <a:xfrm>
            <a:off x="2519810" y="2973467"/>
            <a:ext cx="1832942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Pain relievers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7 Describe how your products and </a:t>
            </a: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</a:b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services eliminate customer pains, negative emotions or undesired costs and situations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350" b="1" i="0" u="none" strike="noStrike" kern="1200" cap="none" spc="0" normalizeH="0" baseline="0" noProof="0" dirty="0" err="1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434" name="Textfeld 37">
            <a:extLst>
              <a:ext uri="{FF2B5EF4-FFF2-40B4-BE49-F238E27FC236}">
                <a16:creationId xmlns:a16="http://schemas.microsoft.com/office/drawing/2014/main" id="{92D99B45-6868-E666-2EAD-EF6FDD22313D}"/>
              </a:ext>
            </a:extLst>
          </p:cNvPr>
          <p:cNvSpPr txBox="1"/>
          <p:nvPr/>
        </p:nvSpPr>
        <p:spPr>
          <a:xfrm>
            <a:off x="1507291" y="2149431"/>
            <a:ext cx="1252734" cy="12107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Products and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Services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5 List all products and services your value proposition is built around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350" b="1" i="0" u="none" strike="noStrike" kern="1200" cap="none" spc="0" normalizeH="0" baseline="0" noProof="0" dirty="0" err="1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435" name="Textfeld 40">
            <a:extLst>
              <a:ext uri="{FF2B5EF4-FFF2-40B4-BE49-F238E27FC236}">
                <a16:creationId xmlns:a16="http://schemas.microsoft.com/office/drawing/2014/main" id="{9668EEFC-C2DE-AF88-6B1C-E4E008C56E81}"/>
              </a:ext>
            </a:extLst>
          </p:cNvPr>
          <p:cNvSpPr txBox="1"/>
          <p:nvPr/>
        </p:nvSpPr>
        <p:spPr>
          <a:xfrm>
            <a:off x="5360295" y="1591895"/>
            <a:ext cx="1252734" cy="1101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Gains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3 Describe the benefits your customer expects, desires or would be surprised by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350" b="1" i="0" u="none" strike="noStrike" kern="1200" cap="none" spc="0" normalizeH="0" baseline="0" noProof="0" dirty="0" err="1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436" name="Textfeld 45">
            <a:extLst>
              <a:ext uri="{FF2B5EF4-FFF2-40B4-BE49-F238E27FC236}">
                <a16:creationId xmlns:a16="http://schemas.microsoft.com/office/drawing/2014/main" id="{21E12DEE-D1EF-DE9B-1A71-8FA681CF035A}"/>
              </a:ext>
            </a:extLst>
          </p:cNvPr>
          <p:cNvSpPr txBox="1"/>
          <p:nvPr/>
        </p:nvSpPr>
        <p:spPr>
          <a:xfrm>
            <a:off x="5280642" y="2786425"/>
            <a:ext cx="1381147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Pains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4 Describe negative emotions, undesired costs, situations and risks.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350" b="1" i="0" u="none" strike="noStrike" kern="1200" cap="none" spc="0" normalizeH="0" baseline="0" noProof="0" dirty="0" err="1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438" name="Gerade Verbindung mit Pfeil 3">
            <a:extLst>
              <a:ext uri="{FF2B5EF4-FFF2-40B4-BE49-F238E27FC236}">
                <a16:creationId xmlns:a16="http://schemas.microsoft.com/office/drawing/2014/main" id="{A3F82DAE-3E2C-4D15-B149-D3B362742A82}"/>
              </a:ext>
            </a:extLst>
          </p:cNvPr>
          <p:cNvCxnSpPr>
            <a:cxnSpLocks/>
            <a:stCxn id="431" idx="2"/>
          </p:cNvCxnSpPr>
          <p:nvPr/>
        </p:nvCxnSpPr>
        <p:spPr>
          <a:xfrm flipH="1" flipV="1">
            <a:off x="4814689" y="2628944"/>
            <a:ext cx="297246" cy="1"/>
          </a:xfrm>
          <a:prstGeom prst="straightConnector1">
            <a:avLst/>
          </a:prstGeom>
          <a:ln w="38100" cap="rnd">
            <a:solidFill>
              <a:schemeClr val="tx1"/>
            </a:solidFill>
            <a:round/>
            <a:headEnd type="none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9" name="Grafik 7">
            <a:extLst>
              <a:ext uri="{FF2B5EF4-FFF2-40B4-BE49-F238E27FC236}">
                <a16:creationId xmlns:a16="http://schemas.microsoft.com/office/drawing/2014/main" id="{21334D1F-9FEF-178B-0F6A-6CEFBAE9C12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99772" y="1280490"/>
            <a:ext cx="276180" cy="263905"/>
          </a:xfrm>
          <a:prstGeom prst="rect">
            <a:avLst/>
          </a:prstGeom>
        </p:spPr>
      </p:pic>
      <p:pic>
        <p:nvPicPr>
          <p:cNvPr id="440" name="Grafik 9">
            <a:extLst>
              <a:ext uri="{FF2B5EF4-FFF2-40B4-BE49-F238E27FC236}">
                <a16:creationId xmlns:a16="http://schemas.microsoft.com/office/drawing/2014/main" id="{27F47AD5-1BBF-9E07-0BD7-98F189B0F79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99772" y="3708792"/>
            <a:ext cx="276180" cy="282317"/>
          </a:xfrm>
          <a:prstGeom prst="rect">
            <a:avLst/>
          </a:prstGeom>
        </p:spPr>
      </p:pic>
      <p:pic>
        <p:nvPicPr>
          <p:cNvPr id="441" name="Grafik 12">
            <a:extLst>
              <a:ext uri="{FF2B5EF4-FFF2-40B4-BE49-F238E27FC236}">
                <a16:creationId xmlns:a16="http://schemas.microsoft.com/office/drawing/2014/main" id="{892D948C-20EE-318D-1C0B-4724091E41E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13412" y="2472427"/>
            <a:ext cx="227081" cy="282317"/>
          </a:xfrm>
          <a:prstGeom prst="rect">
            <a:avLst/>
          </a:prstGeom>
        </p:spPr>
      </p:pic>
      <p:pic>
        <p:nvPicPr>
          <p:cNvPr id="442" name="Grafik 18">
            <a:extLst>
              <a:ext uri="{FF2B5EF4-FFF2-40B4-BE49-F238E27FC236}">
                <a16:creationId xmlns:a16="http://schemas.microsoft.com/office/drawing/2014/main" id="{5C5B1235-1B72-8C3D-1E34-EBE411E5967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323366" y="2175416"/>
            <a:ext cx="257768" cy="276180"/>
          </a:xfrm>
          <a:prstGeom prst="rect">
            <a:avLst/>
          </a:prstGeom>
        </p:spPr>
      </p:pic>
      <p:pic>
        <p:nvPicPr>
          <p:cNvPr id="443" name="Grafik 21">
            <a:extLst>
              <a:ext uri="{FF2B5EF4-FFF2-40B4-BE49-F238E27FC236}">
                <a16:creationId xmlns:a16="http://schemas.microsoft.com/office/drawing/2014/main" id="{979833E8-0976-E678-DE77-AA57F04CAA4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431398" y="1412892"/>
            <a:ext cx="227081" cy="159571"/>
          </a:xfrm>
          <a:prstGeom prst="rect">
            <a:avLst/>
          </a:prstGeom>
        </p:spPr>
      </p:pic>
      <p:pic>
        <p:nvPicPr>
          <p:cNvPr id="444" name="Grafik 23">
            <a:extLst>
              <a:ext uri="{FF2B5EF4-FFF2-40B4-BE49-F238E27FC236}">
                <a16:creationId xmlns:a16="http://schemas.microsoft.com/office/drawing/2014/main" id="{7D68600A-2261-32E4-4F38-B367FB4F329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385948" y="3622881"/>
            <a:ext cx="227081" cy="128884"/>
          </a:xfrm>
          <a:prstGeom prst="rect">
            <a:avLst/>
          </a:prstGeom>
        </p:spPr>
      </p:pic>
      <p:pic>
        <p:nvPicPr>
          <p:cNvPr id="445" name="Grafik 25">
            <a:extLst>
              <a:ext uri="{FF2B5EF4-FFF2-40B4-BE49-F238E27FC236}">
                <a16:creationId xmlns:a16="http://schemas.microsoft.com/office/drawing/2014/main" id="{586C64C4-D870-58E9-8731-1FF1977F23D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374980" y="1660498"/>
            <a:ext cx="165708" cy="227081"/>
          </a:xfrm>
          <a:prstGeom prst="rect">
            <a:avLst/>
          </a:prstGeom>
        </p:spPr>
      </p:pic>
      <p:pic>
        <p:nvPicPr>
          <p:cNvPr id="446" name="Grafik 41">
            <a:extLst>
              <a:ext uri="{FF2B5EF4-FFF2-40B4-BE49-F238E27FC236}">
                <a16:creationId xmlns:a16="http://schemas.microsoft.com/office/drawing/2014/main" id="{36840CDD-79D6-1616-7673-41FA7DAF568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327901" y="2225894"/>
            <a:ext cx="552360" cy="632145"/>
          </a:xfrm>
          <a:prstGeom prst="rect">
            <a:avLst/>
          </a:prstGeom>
        </p:spPr>
      </p:pic>
      <p:sp>
        <p:nvSpPr>
          <p:cNvPr id="453" name="Textfeld 22">
            <a:extLst>
              <a:ext uri="{FF2B5EF4-FFF2-40B4-BE49-F238E27FC236}">
                <a16:creationId xmlns:a16="http://schemas.microsoft.com/office/drawing/2014/main" id="{830F8098-AA3B-8745-B789-DD340EAC8BBF}"/>
              </a:ext>
            </a:extLst>
          </p:cNvPr>
          <p:cNvSpPr txBox="1"/>
          <p:nvPr/>
        </p:nvSpPr>
        <p:spPr>
          <a:xfrm>
            <a:off x="6880261" y="2064016"/>
            <a:ext cx="1133864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Job to be done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2 Describe what a specific customer segment is trying </a:t>
            </a: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</a:b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to get done</a:t>
            </a:r>
          </a:p>
          <a:p>
            <a:pPr marL="0" marR="0" lvl="0" indent="0" algn="ctr" defTabSz="342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sz="1350" b="1" i="0" u="none" strike="noStrike" kern="1200" cap="none" spc="0" normalizeH="0" baseline="0" noProof="0" dirty="0" err="1">
              <a:ln>
                <a:noFill/>
              </a:ln>
              <a:solidFill>
                <a:srgbClr val="28266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grpSp>
        <p:nvGrpSpPr>
          <p:cNvPr id="456" name="Gruppieren 62">
            <a:extLst>
              <a:ext uri="{FF2B5EF4-FFF2-40B4-BE49-F238E27FC236}">
                <a16:creationId xmlns:a16="http://schemas.microsoft.com/office/drawing/2014/main" id="{7BC6A717-4D30-E709-6D8D-48C0DAC22BD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404061" y="839576"/>
            <a:ext cx="236158" cy="255729"/>
            <a:chOff x="10171113" y="388938"/>
            <a:chExt cx="287337" cy="311150"/>
          </a:xfrm>
          <a:solidFill>
            <a:srgbClr val="15233A"/>
          </a:solidFill>
        </p:grpSpPr>
        <p:sp>
          <p:nvSpPr>
            <p:cNvPr id="457" name="Oval 180">
              <a:extLst>
                <a:ext uri="{FF2B5EF4-FFF2-40B4-BE49-F238E27FC236}">
                  <a16:creationId xmlns:a16="http://schemas.microsoft.com/office/drawing/2014/main" id="{162D5B29-E558-D6C1-42C4-337BB1C9BD7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206038" y="411163"/>
              <a:ext cx="101600" cy="1063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  <p:sp>
          <p:nvSpPr>
            <p:cNvPr id="458" name="Freeform 181">
              <a:extLst>
                <a:ext uri="{FF2B5EF4-FFF2-40B4-BE49-F238E27FC236}">
                  <a16:creationId xmlns:a16="http://schemas.microsoft.com/office/drawing/2014/main" id="{6ED15A28-CD1E-77D0-49E5-C3BD3ED504C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171113" y="522288"/>
              <a:ext cx="171450" cy="177800"/>
            </a:xfrm>
            <a:custGeom>
              <a:avLst/>
              <a:gdLst>
                <a:gd name="T0" fmla="*/ 62 w 68"/>
                <a:gd name="T1" fmla="*/ 20 h 70"/>
                <a:gd name="T2" fmla="*/ 46 w 68"/>
                <a:gd name="T3" fmla="*/ 0 h 70"/>
                <a:gd name="T4" fmla="*/ 22 w 68"/>
                <a:gd name="T5" fmla="*/ 0 h 70"/>
                <a:gd name="T6" fmla="*/ 6 w 68"/>
                <a:gd name="T7" fmla="*/ 20 h 70"/>
                <a:gd name="T8" fmla="*/ 0 w 68"/>
                <a:gd name="T9" fmla="*/ 55 h 70"/>
                <a:gd name="T10" fmla="*/ 20 w 68"/>
                <a:gd name="T11" fmla="*/ 70 h 70"/>
                <a:gd name="T12" fmla="*/ 48 w 68"/>
                <a:gd name="T13" fmla="*/ 70 h 70"/>
                <a:gd name="T14" fmla="*/ 68 w 68"/>
                <a:gd name="T15" fmla="*/ 55 h 70"/>
                <a:gd name="T16" fmla="*/ 62 w 68"/>
                <a:gd name="T17" fmla="*/ 20 h 70"/>
                <a:gd name="T18" fmla="*/ 34 w 68"/>
                <a:gd name="T19" fmla="*/ 60 h 70"/>
                <a:gd name="T20" fmla="*/ 27 w 68"/>
                <a:gd name="T21" fmla="*/ 48 h 70"/>
                <a:gd name="T22" fmla="*/ 31 w 68"/>
                <a:gd name="T23" fmla="*/ 14 h 70"/>
                <a:gd name="T24" fmla="*/ 28 w 68"/>
                <a:gd name="T25" fmla="*/ 5 h 70"/>
                <a:gd name="T26" fmla="*/ 41 w 68"/>
                <a:gd name="T27" fmla="*/ 5 h 70"/>
                <a:gd name="T28" fmla="*/ 39 w 68"/>
                <a:gd name="T29" fmla="*/ 14 h 70"/>
                <a:gd name="T30" fmla="*/ 41 w 68"/>
                <a:gd name="T31" fmla="*/ 48 h 70"/>
                <a:gd name="T32" fmla="*/ 34 w 68"/>
                <a:gd name="T33" fmla="*/ 6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8" h="70">
                  <a:moveTo>
                    <a:pt x="62" y="20"/>
                  </a:moveTo>
                  <a:cubicBezTo>
                    <a:pt x="62" y="9"/>
                    <a:pt x="55" y="0"/>
                    <a:pt x="4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3" y="0"/>
                    <a:pt x="6" y="9"/>
                    <a:pt x="6" y="20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8"/>
                    <a:pt x="9" y="70"/>
                    <a:pt x="20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59" y="70"/>
                    <a:pt x="68" y="68"/>
                    <a:pt x="68" y="55"/>
                  </a:cubicBezTo>
                  <a:lnTo>
                    <a:pt x="62" y="20"/>
                  </a:lnTo>
                  <a:close/>
                  <a:moveTo>
                    <a:pt x="34" y="60"/>
                  </a:moveTo>
                  <a:cubicBezTo>
                    <a:pt x="27" y="48"/>
                    <a:pt x="27" y="48"/>
                    <a:pt x="27" y="4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0" y="13"/>
                    <a:pt x="28" y="12"/>
                    <a:pt x="28" y="5"/>
                  </a:cubicBezTo>
                  <a:cubicBezTo>
                    <a:pt x="28" y="5"/>
                    <a:pt x="35" y="1"/>
                    <a:pt x="41" y="5"/>
                  </a:cubicBezTo>
                  <a:cubicBezTo>
                    <a:pt x="41" y="5"/>
                    <a:pt x="42" y="11"/>
                    <a:pt x="39" y="14"/>
                  </a:cubicBezTo>
                  <a:cubicBezTo>
                    <a:pt x="41" y="48"/>
                    <a:pt x="41" y="48"/>
                    <a:pt x="41" y="48"/>
                  </a:cubicBezTo>
                  <a:lnTo>
                    <a:pt x="3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  <p:sp>
          <p:nvSpPr>
            <p:cNvPr id="459" name="Oval 182">
              <a:extLst>
                <a:ext uri="{FF2B5EF4-FFF2-40B4-BE49-F238E27FC236}">
                  <a16:creationId xmlns:a16="http://schemas.microsoft.com/office/drawing/2014/main" id="{193656EF-C2A7-3577-EE3B-9A99A1F2145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334625" y="388938"/>
              <a:ext cx="93662" cy="936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  <p:sp>
          <p:nvSpPr>
            <p:cNvPr id="460" name="Freeform 183">
              <a:extLst>
                <a:ext uri="{FF2B5EF4-FFF2-40B4-BE49-F238E27FC236}">
                  <a16:creationId xmlns:a16="http://schemas.microsoft.com/office/drawing/2014/main" id="{D107117E-0A67-5318-C528-8897526F6B7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317163" y="487363"/>
              <a:ext cx="141287" cy="158750"/>
            </a:xfrm>
            <a:custGeom>
              <a:avLst/>
              <a:gdLst>
                <a:gd name="T0" fmla="*/ 51 w 56"/>
                <a:gd name="T1" fmla="*/ 18 h 63"/>
                <a:gd name="T2" fmla="*/ 36 w 56"/>
                <a:gd name="T3" fmla="*/ 0 h 63"/>
                <a:gd name="T4" fmla="*/ 15 w 56"/>
                <a:gd name="T5" fmla="*/ 0 h 63"/>
                <a:gd name="T6" fmla="*/ 0 w 56"/>
                <a:gd name="T7" fmla="*/ 14 h 63"/>
                <a:gd name="T8" fmla="*/ 8 w 56"/>
                <a:gd name="T9" fmla="*/ 31 h 63"/>
                <a:gd name="T10" fmla="*/ 13 w 56"/>
                <a:gd name="T11" fmla="*/ 63 h 63"/>
                <a:gd name="T12" fmla="*/ 38 w 56"/>
                <a:gd name="T13" fmla="*/ 63 h 63"/>
                <a:gd name="T14" fmla="*/ 56 w 56"/>
                <a:gd name="T15" fmla="*/ 50 h 63"/>
                <a:gd name="T16" fmla="*/ 51 w 56"/>
                <a:gd name="T17" fmla="*/ 18 h 63"/>
                <a:gd name="T18" fmla="*/ 32 w 56"/>
                <a:gd name="T19" fmla="*/ 43 h 63"/>
                <a:gd name="T20" fmla="*/ 25 w 56"/>
                <a:gd name="T21" fmla="*/ 54 h 63"/>
                <a:gd name="T22" fmla="*/ 19 w 56"/>
                <a:gd name="T23" fmla="*/ 43 h 63"/>
                <a:gd name="T24" fmla="*/ 22 w 56"/>
                <a:gd name="T25" fmla="*/ 12 h 63"/>
                <a:gd name="T26" fmla="*/ 20 w 56"/>
                <a:gd name="T27" fmla="*/ 5 h 63"/>
                <a:gd name="T28" fmla="*/ 32 w 56"/>
                <a:gd name="T29" fmla="*/ 5 h 63"/>
                <a:gd name="T30" fmla="*/ 29 w 56"/>
                <a:gd name="T31" fmla="*/ 12 h 63"/>
                <a:gd name="T32" fmla="*/ 32 w 56"/>
                <a:gd name="T33" fmla="*/ 4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63">
                  <a:moveTo>
                    <a:pt x="51" y="18"/>
                  </a:moveTo>
                  <a:cubicBezTo>
                    <a:pt x="51" y="8"/>
                    <a:pt x="44" y="0"/>
                    <a:pt x="3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8" y="0"/>
                    <a:pt x="2" y="6"/>
                    <a:pt x="0" y="14"/>
                  </a:cubicBezTo>
                  <a:cubicBezTo>
                    <a:pt x="5" y="17"/>
                    <a:pt x="8" y="24"/>
                    <a:pt x="8" y="31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48" y="63"/>
                    <a:pt x="56" y="62"/>
                    <a:pt x="56" y="50"/>
                  </a:cubicBezTo>
                  <a:lnTo>
                    <a:pt x="51" y="18"/>
                  </a:lnTo>
                  <a:close/>
                  <a:moveTo>
                    <a:pt x="32" y="43"/>
                  </a:moveTo>
                  <a:cubicBezTo>
                    <a:pt x="25" y="54"/>
                    <a:pt x="25" y="54"/>
                    <a:pt x="25" y="54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0" y="11"/>
                    <a:pt x="20" y="5"/>
                  </a:cubicBezTo>
                  <a:cubicBezTo>
                    <a:pt x="20" y="5"/>
                    <a:pt x="26" y="1"/>
                    <a:pt x="32" y="5"/>
                  </a:cubicBezTo>
                  <a:cubicBezTo>
                    <a:pt x="32" y="5"/>
                    <a:pt x="32" y="10"/>
                    <a:pt x="29" y="12"/>
                  </a:cubicBezTo>
                  <a:lnTo>
                    <a:pt x="32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42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sym typeface="Arial"/>
              </a:endParaRPr>
            </a:p>
          </p:txBody>
        </p:sp>
      </p:grpSp>
      <p:sp>
        <p:nvSpPr>
          <p:cNvPr id="3" name="CuadroTexto 2">
            <a:extLst>
              <a:ext uri="{FF2B5EF4-FFF2-40B4-BE49-F238E27FC236}">
                <a16:creationId xmlns:a16="http://schemas.microsoft.com/office/drawing/2014/main" id="{1CF1BB79-13FD-1510-912C-81F4AB1726CC}"/>
              </a:ext>
            </a:extLst>
          </p:cNvPr>
          <p:cNvSpPr txBox="1"/>
          <p:nvPr/>
        </p:nvSpPr>
        <p:spPr>
          <a:xfrm>
            <a:off x="6327901" y="2402309"/>
            <a:ext cx="5523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16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de-DE" sz="900" b="1" i="0" u="none" strike="noStrike" kern="1200" cap="none" spc="0" normalizeH="0" baseline="0" noProof="0" dirty="0">
                <a:ln>
                  <a:noFill/>
                </a:ln>
                <a:solidFill>
                  <a:srgbClr val="28266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Client</a:t>
            </a:r>
          </a:p>
        </p:txBody>
      </p:sp>
      <p:sp>
        <p:nvSpPr>
          <p:cNvPr id="33" name="Freeform 8">
            <a:extLst>
              <a:ext uri="{FF2B5EF4-FFF2-40B4-BE49-F238E27FC236}">
                <a16:creationId xmlns:a16="http://schemas.microsoft.com/office/drawing/2014/main" id="{08A2BD2A-B45C-4AAF-BC83-FB1F4CCF0353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24"/>
            <a:stretch>
              <a:fillRect/>
            </a:stretch>
          </a:blipFill>
        </p:spPr>
        <p:txBody>
          <a:bodyPr/>
          <a:lstStyle/>
          <a:p>
            <a:endParaRPr lang="pl-PL" sz="700">
              <a:solidFill>
                <a:srgbClr val="282669"/>
              </a:solidFill>
              <a:latin typeface="Titillium Web" panose="00000500000000000000" pitchFamily="2" charset="0"/>
            </a:endParaRPr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492F7C7D-0919-4790-0A42-E272B68CFC07}"/>
              </a:ext>
            </a:extLst>
          </p:cNvPr>
          <p:cNvSpPr/>
          <p:nvPr/>
        </p:nvSpPr>
        <p:spPr>
          <a:xfrm>
            <a:off x="6110909" y="460258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25"/>
            <a:stretch>
              <a:fillRect/>
            </a:stretch>
          </a:blipFill>
        </p:spPr>
        <p:txBody>
          <a:bodyPr/>
          <a:lstStyle/>
          <a:p>
            <a:endParaRPr lang="pl-PL" sz="700">
              <a:latin typeface="Titillium Web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1884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TZJBRU4uRgX1er6rf_g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lJpCAmqrdL08ydOlE9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5QSwMF2B5TufE71XjB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NWqVJ7QlheMUYotelTu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yWcsSdxpEflLlLQwKpy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ZknbkAVIGWscx3ofxS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sErm_SDksXi2pcvV2hb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v_vWAEEv.omnvWJNIy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YEkYTyV9lAecH7w5_c2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zBSezXHq9kMU3lj7lk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BcFMrwdG42xhbgY0sL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hW6isOTiO_KC1oTGF4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6IKv9NxF.AuUJ9MPfE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wisdiyIDUPxQcvd4kT5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Kh.SlyeZPvIb7Pw6Bc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fusL4BYZMhDNhoI0vFp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UFzRAo8ggJxY4hfIHY_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4RRdJ0dvRm3AHEcsP.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JDVmmh9wnPGw1t.1_Z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nxR.VLwZcpJdjn43mJ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_88.BeCgxj4jEg2j.6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TJYKhCbR3D6jfED5FU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h2jTShLNj.7vtkinFT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hyTdGhPOc1bwiDba7B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nsJ4G4sHoVO.iD5Gw.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21CGjPTaf0E1ef3Sg9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i3sCBzrOQloVMUy0ZZd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bJ6Bn6VTWLmvM3n05Z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jKFCVYc0OZ5JuI4sGI8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J9WbdqTx_whI7ELSWX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HfIP66FHFNYInir47v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3FwUiuDnXmeds4QwqRy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1NSO8GkbbHgQ_YXhQlc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_umz7r_fHgUHParZHz4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ywUL7fJeB.MKtICi4Fp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A0S0gW.3u4PCGDITd9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hFeQpabjCN7hlGsd8M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gdJGAvzslNgeC7MSKt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FIWl9iX1BimqNWpbCq.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PiFfCrim3A9fi.EMhS_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DPUbysDWstEIhNlkdnhQ"/>
</p:tagLst>
</file>

<file path=ppt/theme/theme1.xml><?xml version="1.0" encoding="utf-8"?>
<a:theme xmlns:a="http://schemas.openxmlformats.org/drawingml/2006/main" name="Management System Planner by Slidesgo">
  <a:themeElements>
    <a:clrScheme name="Simple Light">
      <a:dk1>
        <a:srgbClr val="36338C"/>
      </a:dk1>
      <a:lt1>
        <a:srgbClr val="DAE3F2"/>
      </a:lt1>
      <a:dk2>
        <a:srgbClr val="161620"/>
      </a:dk2>
      <a:lt2>
        <a:srgbClr val="FFFFFF"/>
      </a:lt2>
      <a:accent1>
        <a:srgbClr val="C7CEDE"/>
      </a:accent1>
      <a:accent2>
        <a:srgbClr val="7966E4"/>
      </a:accent2>
      <a:accent3>
        <a:srgbClr val="F0F5FD"/>
      </a:accent3>
      <a:accent4>
        <a:srgbClr val="F1F4FD"/>
      </a:accent4>
      <a:accent5>
        <a:srgbClr val="36338C"/>
      </a:accent5>
      <a:accent6>
        <a:srgbClr val="DAE3F2"/>
      </a:accent6>
      <a:hlink>
        <a:srgbClr val="36338C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LLGEMEIN">
  <a:themeElements>
    <a:clrScheme name="Artineo">
      <a:dk1>
        <a:srgbClr val="4B4B4B"/>
      </a:dk1>
      <a:lt1>
        <a:srgbClr val="FFFFFF"/>
      </a:lt1>
      <a:dk2>
        <a:srgbClr val="878787"/>
      </a:dk2>
      <a:lt2>
        <a:srgbClr val="FFFFFF"/>
      </a:lt2>
      <a:accent1>
        <a:srgbClr val="0A73B4"/>
      </a:accent1>
      <a:accent2>
        <a:srgbClr val="37AADC"/>
      </a:accent2>
      <a:accent3>
        <a:srgbClr val="B4C800"/>
      </a:accent3>
      <a:accent4>
        <a:srgbClr val="FFDC05"/>
      </a:accent4>
      <a:accent5>
        <a:srgbClr val="FF7D00"/>
      </a:accent5>
      <a:accent6>
        <a:srgbClr val="B40000"/>
      </a:accent6>
      <a:hlink>
        <a:srgbClr val="0A73B4"/>
      </a:hlink>
      <a:folHlink>
        <a:srgbClr val="37AADC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9E8B00C54E9A4458AA9E89745AF4A9F" ma:contentTypeVersion="12" ma:contentTypeDescription="Ein neues Dokument erstellen." ma:contentTypeScope="" ma:versionID="0ead14d855999cb864b4f6ce39adbb23">
  <xsd:schema xmlns:xsd="http://www.w3.org/2001/XMLSchema" xmlns:xs="http://www.w3.org/2001/XMLSchema" xmlns:p="http://schemas.microsoft.com/office/2006/metadata/properties" xmlns:ns3="c7bc4340-b040-4ab0-9594-09bc24f60c36" xmlns:ns4="dda4a6e4-fa3f-4326-afe4-365fbf8b885d" targetNamespace="http://schemas.microsoft.com/office/2006/metadata/properties" ma:root="true" ma:fieldsID="8cbab6a89706f4e057b1f2344d54adc3" ns3:_="" ns4:_="">
    <xsd:import namespace="c7bc4340-b040-4ab0-9594-09bc24f60c36"/>
    <xsd:import namespace="dda4a6e4-fa3f-4326-afe4-365fbf8b885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bc4340-b040-4ab0-9594-09bc24f60c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a4a6e4-fa3f-4326-afe4-365fbf8b885d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c7bc4340-b040-4ab0-9594-09bc24f60c36" xsi:nil="true"/>
  </documentManagement>
</p:properties>
</file>

<file path=customXml/itemProps1.xml><?xml version="1.0" encoding="utf-8"?>
<ds:datastoreItem xmlns:ds="http://schemas.openxmlformats.org/officeDocument/2006/customXml" ds:itemID="{34CB6277-6BF4-46BE-B8D0-7561AC95FCA0}">
  <ds:schemaRefs>
    <ds:schemaRef ds:uri="c7bc4340-b040-4ab0-9594-09bc24f60c36"/>
    <ds:schemaRef ds:uri="dda4a6e4-fa3f-4326-afe4-365fbf8b885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C6E0E61-7A04-455F-B8DC-BD94EE1E3A0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CD9FD65-AB4C-43E0-B0FA-96C5C64F8B72}">
  <ds:schemaRefs>
    <ds:schemaRef ds:uri="c7bc4340-b040-4ab0-9594-09bc24f60c36"/>
    <ds:schemaRef ds:uri="dda4a6e4-fa3f-4326-afe4-365fbf8b885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93</Words>
  <Application>Microsoft Office PowerPoint</Application>
  <PresentationFormat>Bildschirmpräsentation (16:9)</PresentationFormat>
  <Paragraphs>477</Paragraphs>
  <Slides>28</Slides>
  <Notes>1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8</vt:i4>
      </vt:variant>
    </vt:vector>
  </HeadingPairs>
  <TitlesOfParts>
    <vt:vector size="41" baseType="lpstr">
      <vt:lpstr>Wingdings</vt:lpstr>
      <vt:lpstr>Titillium Web</vt:lpstr>
      <vt:lpstr>Libre Franklin</vt:lpstr>
      <vt:lpstr>Poppins ExtraBold</vt:lpstr>
      <vt:lpstr>Titillium Web Bold</vt:lpstr>
      <vt:lpstr>ars-maquette-web</vt:lpstr>
      <vt:lpstr>Arial</vt:lpstr>
      <vt:lpstr>Calibri</vt:lpstr>
      <vt:lpstr>Raleway Black</vt:lpstr>
      <vt:lpstr>Open Sans</vt:lpstr>
      <vt:lpstr>Management System Planner by Slidesgo</vt:lpstr>
      <vt:lpstr>ALLGEMEI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lf-discovery Session</dc:title>
  <dc:creator>Administrador</dc:creator>
  <cp:lastModifiedBy>Sylwia Sekula-Neuner</cp:lastModifiedBy>
  <cp:revision>53</cp:revision>
  <cp:lastPrinted>2023-06-14T16:31:34Z</cp:lastPrinted>
  <dcterms:modified xsi:type="dcterms:W3CDTF">2025-09-02T13:1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E8B00C54E9A4458AA9E89745AF4A9F</vt:lpwstr>
  </property>
</Properties>
</file>